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8.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 id="2147483714" r:id="rId3"/>
  </p:sldMasterIdLst>
  <p:notesMasterIdLst>
    <p:notesMasterId r:id="rId39"/>
  </p:notesMasterIdLst>
  <p:sldIdLst>
    <p:sldId id="1991" r:id="rId4"/>
    <p:sldId id="327" r:id="rId5"/>
    <p:sldId id="290" r:id="rId6"/>
    <p:sldId id="279" r:id="rId7"/>
    <p:sldId id="266" r:id="rId8"/>
    <p:sldId id="293" r:id="rId9"/>
    <p:sldId id="295" r:id="rId10"/>
    <p:sldId id="273" r:id="rId11"/>
    <p:sldId id="274" r:id="rId12"/>
    <p:sldId id="1990" r:id="rId13"/>
    <p:sldId id="2017" r:id="rId14"/>
    <p:sldId id="277" r:id="rId15"/>
    <p:sldId id="278" r:id="rId16"/>
    <p:sldId id="2016" r:id="rId17"/>
    <p:sldId id="280" r:id="rId18"/>
    <p:sldId id="2005" r:id="rId19"/>
    <p:sldId id="2004" r:id="rId20"/>
    <p:sldId id="283" r:id="rId21"/>
    <p:sldId id="284" r:id="rId22"/>
    <p:sldId id="285" r:id="rId23"/>
    <p:sldId id="2010" r:id="rId24"/>
    <p:sldId id="1988" r:id="rId25"/>
    <p:sldId id="267" r:id="rId26"/>
    <p:sldId id="268" r:id="rId27"/>
    <p:sldId id="296" r:id="rId28"/>
    <p:sldId id="298" r:id="rId29"/>
    <p:sldId id="294" r:id="rId30"/>
    <p:sldId id="2008" r:id="rId31"/>
    <p:sldId id="269" r:id="rId32"/>
    <p:sldId id="281" r:id="rId33"/>
    <p:sldId id="2018" r:id="rId34"/>
    <p:sldId id="2019" r:id="rId35"/>
    <p:sldId id="297" r:id="rId36"/>
    <p:sldId id="1989" r:id="rId37"/>
    <p:sldId id="321" r:id="rId38"/>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323" userDrawn="1">
          <p15:clr>
            <a:srgbClr val="A4A3A4"/>
          </p15:clr>
        </p15:guide>
        <p15:guide id="4" orient="horz" pos="3952" userDrawn="1">
          <p15:clr>
            <a:srgbClr val="A4A3A4"/>
          </p15:clr>
        </p15:guide>
        <p15:guide id="5" pos="438" userDrawn="1">
          <p15:clr>
            <a:srgbClr val="A4A3A4"/>
          </p15:clr>
        </p15:guide>
        <p15:guide id="6" pos="724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EDA1"/>
    <a:srgbClr val="F7F797"/>
    <a:srgbClr val="FFFFFF"/>
    <a:srgbClr val="8968A4"/>
    <a:srgbClr val="FED3D9"/>
    <a:srgbClr val="F2E9DA"/>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89517" autoAdjust="0"/>
  </p:normalViewPr>
  <p:slideViewPr>
    <p:cSldViewPr snapToGrid="0" showGuides="1">
      <p:cViewPr varScale="1">
        <p:scale>
          <a:sx n="65" d="100"/>
          <a:sy n="65" d="100"/>
        </p:scale>
        <p:origin x="900" y="96"/>
      </p:cViewPr>
      <p:guideLst>
        <p:guide orient="horz" pos="2160"/>
        <p:guide pos="3840"/>
        <p:guide orient="horz" pos="323"/>
        <p:guide orient="horz" pos="3952"/>
        <p:guide pos="438"/>
        <p:guide pos="7242"/>
      </p:guideLst>
    </p:cSldViewPr>
  </p:slideViewPr>
  <p:notesTextViewPr>
    <p:cViewPr>
      <p:scale>
        <a:sx n="1" d="1"/>
        <a:sy n="1" d="1"/>
      </p:scale>
      <p:origin x="0" y="0"/>
    </p:cViewPr>
  </p:notesTextViewPr>
  <p:sorterViewPr>
    <p:cViewPr>
      <p:scale>
        <a:sx n="125" d="100"/>
        <a:sy n="12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notesMaster" Target="notesMasters/notesMaster1.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1.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tableStyles" Target="tableStyles.xml"/><Relationship Id="rId8" Type="http://schemas.openxmlformats.org/officeDocument/2006/relationships/slide" Target="slides/slide5.xml"/><Relationship Id="rId3" Type="http://schemas.openxmlformats.org/officeDocument/2006/relationships/slideMaster" Target="slideMasters/slideMaster2.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640AFFA-89DF-481E-8EC5-5E6842C3BA14}" type="datetimeFigureOut">
              <a:rPr lang="zh-CN" altLang="en-US" smtClean="0"/>
              <a:t>2024/2/26</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CF1BEB-6BC5-4A48-9335-B19D2FD161E5}" type="slidenum">
              <a:rPr lang="zh-CN" altLang="en-US" smtClean="0"/>
              <a:t>‹#›</a:t>
            </a:fld>
            <a:endParaRPr lang="zh-CN" altLang="en-US"/>
          </a:p>
        </p:txBody>
      </p:sp>
    </p:spTree>
    <p:extLst>
      <p:ext uri="{BB962C8B-B14F-4D97-AF65-F5344CB8AC3E}">
        <p14:creationId xmlns:p14="http://schemas.microsoft.com/office/powerpoint/2010/main" val="205683367"/>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emplate comes from： https://www.freeppt7.com</a:t>
            </a:r>
          </a:p>
          <a:p>
            <a:endParaRPr lang="en-US" altLang="zh-CN"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emplate comes from： https://www.freeppt7.com</a:t>
            </a:r>
          </a:p>
          <a:p>
            <a:endParaRPr lang="en-US" altLang="zh-CN"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emplate comes from： https://www.freeppt7.com</a:t>
            </a:r>
          </a:p>
          <a:p>
            <a:endParaRPr lang="en-US" altLang="zh-CN"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emplate comes from： https://www.freeppt7.com</a:t>
            </a:r>
          </a:p>
          <a:p>
            <a:endParaRPr lang="en-US" altLang="zh-CN"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emplate comes from： https://www.freeppt7.com</a:t>
            </a:r>
          </a:p>
          <a:p>
            <a:endParaRPr lang="en-US" altLang="zh-CN"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emplate comes from： https://www.freeppt7.com</a:t>
            </a:r>
          </a:p>
          <a:p>
            <a:endParaRPr lang="en-US" altLang="zh-CN" dirty="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emplate comes from： https://www.freeppt7.com</a:t>
            </a:r>
          </a:p>
          <a:p>
            <a:endParaRPr lang="en-US" altLang="zh-CN"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emplate comes from： https://www.freeppt7.com</a:t>
            </a:r>
          </a:p>
          <a:p>
            <a:endParaRPr lang="en-US" altLang="zh-CN"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Template comes from： https://www.freeppt7.com</a:t>
            </a:r>
          </a:p>
          <a:p>
            <a:endParaRPr lang="en-US" altLang="zh-CN"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hyperlink" Target="http://www.1ppt.com/hangye/" TargetMode="External"/><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p>
        </p:txBody>
      </p:sp>
      <p:sp>
        <p:nvSpPr>
          <p:cNvPr id="4" name="日期占位符 3"/>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A48EC8E-4068-4E7A-9E85-48DAD8F96FBE}" type="slidenum">
              <a:rPr lang="zh-CN" altLang="en-US" smtClean="0"/>
              <a:t>‹#›</a:t>
            </a:fld>
            <a:endParaRPr lang="zh-CN" altLang="en-US"/>
          </a:p>
        </p:txBody>
      </p:sp>
    </p:spTree>
  </p:cSld>
  <p:clrMapOvr>
    <a:masterClrMapping/>
  </p:clrMapOvr>
  <p:hf sldNum="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235282495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8374727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4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4371862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4274807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6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806331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7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22821815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5974581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9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6351006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0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5684528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0175631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CA48EC8E-4068-4E7A-9E85-48DAD8F96FBE}" type="slidenum">
              <a:rPr lang="zh-CN" altLang="en-US" smtClean="0"/>
              <a:t>‹#›</a:t>
            </a:fld>
            <a:endParaRPr lang="zh-CN" altLang="en-US"/>
          </a:p>
        </p:txBody>
      </p:sp>
    </p:spTree>
  </p:cSld>
  <p:clrMapOvr>
    <a:masterClrMapping/>
  </p:clrMapOvr>
  <p:hf sldNum="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7543625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40953955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4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2433497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561211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6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40498832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7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277426817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8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1104655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9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6845994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1909091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7397627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CA48EC8E-4068-4E7A-9E85-48DAD8F96FBE}" type="slidenum">
              <a:rPr lang="zh-CN" altLang="en-US" smtClean="0"/>
              <a:t>‹#›</a:t>
            </a:fld>
            <a:endParaRPr lang="zh-CN" altLang="en-US"/>
          </a:p>
        </p:txBody>
      </p:sp>
    </p:spTree>
  </p:cSld>
  <p:clrMapOvr>
    <a:masterClrMapping/>
  </p:clrMapOvr>
  <p:hf sldNum="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3157853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5350858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4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9253447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293397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6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25102863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7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5147560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8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43685176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9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3867720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0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3671118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8370069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Rectangle 2"/>
          <p:cNvSpPr/>
          <p:nvPr userDrawn="1"/>
        </p:nvSpPr>
        <p:spPr>
          <a:xfrm>
            <a:off x="519545" y="450273"/>
            <a:ext cx="11152909" cy="5957454"/>
          </a:xfrm>
          <a:prstGeom prst="rect">
            <a:avLst/>
          </a:prstGeom>
          <a:solidFill>
            <a:schemeClr val="accent1">
              <a:alpha val="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Tree>
  </p:cSld>
  <p:clrMapOvr>
    <a:masterClrMapping/>
  </p:clrMapOvr>
  <p:hf sldNum="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98209183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82623652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4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1392280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22176613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6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21338215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7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6940931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8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40640351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9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427416325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0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89514834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1649636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3_list-Item">
    <p:spTree>
      <p:nvGrpSpPr>
        <p:cNvPr id="1" name=""/>
        <p:cNvGrpSpPr/>
        <p:nvPr/>
      </p:nvGrpSpPr>
      <p:grpSpPr>
        <a:xfrm>
          <a:off x="0" y="0"/>
          <a:ext cx="0" cy="0"/>
          <a:chOff x="0" y="0"/>
          <a:chExt cx="0" cy="0"/>
        </a:xfrm>
      </p:grpSpPr>
    </p:spTree>
  </p:cSld>
  <p:clrMapOvr>
    <a:masterClrMapping/>
  </p:clrMapOvr>
  <p:hf sldNum="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28260350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3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37238791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4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33865399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5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252686950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6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90580430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7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414893108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8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6178392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9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
        <p:nvSpPr>
          <p:cNvPr id="6" name="TextBox 5"/>
          <p:cNvSpPr txBox="1"/>
          <p:nvPr userDrawn="1"/>
        </p:nvSpPr>
        <p:spPr>
          <a:xfrm>
            <a:off x="453650" y="0"/>
            <a:ext cx="540060" cy="123111"/>
          </a:xfrm>
          <a:prstGeom prst="rect">
            <a:avLst/>
          </a:prstGeom>
          <a:noFill/>
        </p:spPr>
        <p:txBody>
          <a:bodyPr wrap="square" rtlCol="0">
            <a:spAutoFit/>
          </a:bodyPr>
          <a:lstStyle/>
          <a:p>
            <a:pPr>
              <a:lnSpc>
                <a:spcPct val="200000"/>
              </a:lnSpc>
            </a:pPr>
            <a:r>
              <a:rPr lang="zh-CN" altLang="en-US" sz="100" dirty="0">
                <a:solidFill>
                  <a:schemeClr val="tx1">
                    <a:alpha val="0"/>
                  </a:schemeClr>
                </a:solidFill>
                <a:latin typeface="微软雅黑" panose="020B0503020204020204" pitchFamily="34" charset="-122"/>
                <a:ea typeface="微软雅黑" panose="020B0503020204020204" pitchFamily="34" charset="-122"/>
                <a:hlinkClick r:id="rId2"/>
              </a:rPr>
              <a:t>行业</a:t>
            </a:r>
            <a:r>
              <a:rPr lang="en-US" altLang="zh-CN" sz="100" dirty="0">
                <a:solidFill>
                  <a:schemeClr val="tx1">
                    <a:alpha val="0"/>
                  </a:schemeClr>
                </a:solidFill>
                <a:latin typeface="微软雅黑" panose="020B0503020204020204" pitchFamily="34" charset="-122"/>
                <a:ea typeface="微软雅黑" panose="020B0503020204020204" pitchFamily="34" charset="-122"/>
                <a:hlinkClick r:id="rId2"/>
              </a:rPr>
              <a:t>PPT</a:t>
            </a:r>
            <a:r>
              <a:rPr lang="zh-CN" altLang="en-US" sz="100" dirty="0">
                <a:solidFill>
                  <a:schemeClr val="tx1">
                    <a:alpha val="0"/>
                  </a:schemeClr>
                </a:solidFill>
                <a:latin typeface="微软雅黑" panose="020B0503020204020204" pitchFamily="34" charset="-122"/>
                <a:ea typeface="微软雅黑" panose="020B0503020204020204" pitchFamily="34" charset="-122"/>
                <a:hlinkClick r:id="rId2"/>
              </a:rPr>
              <a:t>模板</a:t>
            </a:r>
            <a:r>
              <a:rPr lang="en-US" altLang="zh-CN" sz="100" dirty="0">
                <a:solidFill>
                  <a:schemeClr val="tx1">
                    <a:alpha val="0"/>
                  </a:schemeClr>
                </a:solidFill>
                <a:latin typeface="微软雅黑" panose="020B0503020204020204" pitchFamily="34" charset="-122"/>
                <a:ea typeface="微软雅黑" panose="020B0503020204020204" pitchFamily="34" charset="-122"/>
              </a:rPr>
              <a:t>http://www.1ppt.com/hangye/</a:t>
            </a:r>
          </a:p>
        </p:txBody>
      </p:sp>
    </p:spTree>
    <p:extLst>
      <p:ext uri="{BB962C8B-B14F-4D97-AF65-F5344CB8AC3E}">
        <p14:creationId xmlns:p14="http://schemas.microsoft.com/office/powerpoint/2010/main" val="366229413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0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187478501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4059200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1045029" y="838200"/>
            <a:ext cx="3149600" cy="4923971"/>
          </a:xfrm>
          <a:custGeom>
            <a:avLst/>
            <a:gdLst>
              <a:gd name="connsiteX0" fmla="*/ 0 w 3149600"/>
              <a:gd name="connsiteY0" fmla="*/ 0 h 4923971"/>
              <a:gd name="connsiteX1" fmla="*/ 3149600 w 3149600"/>
              <a:gd name="connsiteY1" fmla="*/ 0 h 4923971"/>
              <a:gd name="connsiteX2" fmla="*/ 3149600 w 3149600"/>
              <a:gd name="connsiteY2" fmla="*/ 4923971 h 4923971"/>
              <a:gd name="connsiteX3" fmla="*/ 0 w 3149600"/>
              <a:gd name="connsiteY3" fmla="*/ 4923971 h 4923971"/>
            </a:gdLst>
            <a:ahLst/>
            <a:cxnLst>
              <a:cxn ang="0">
                <a:pos x="connsiteX0" y="connsiteY0"/>
              </a:cxn>
              <a:cxn ang="0">
                <a:pos x="connsiteX1" y="connsiteY1"/>
              </a:cxn>
              <a:cxn ang="0">
                <a:pos x="connsiteX2" y="connsiteY2"/>
              </a:cxn>
              <a:cxn ang="0">
                <a:pos x="connsiteX3" y="connsiteY3"/>
              </a:cxn>
            </a:cxnLst>
            <a:rect l="l" t="t" r="r" b="b"/>
            <a:pathLst>
              <a:path w="3149600" h="4923971">
                <a:moveTo>
                  <a:pt x="0" y="0"/>
                </a:moveTo>
                <a:lnTo>
                  <a:pt x="3149600" y="0"/>
                </a:lnTo>
                <a:lnTo>
                  <a:pt x="3149600" y="4923971"/>
                </a:lnTo>
                <a:lnTo>
                  <a:pt x="0" y="4923971"/>
                </a:lnTo>
                <a:close/>
              </a:path>
            </a:pathLst>
          </a:custGeom>
        </p:spPr>
        <p:txBody>
          <a:bodyPr wrap="square">
            <a:noAutofit/>
          </a:bodyPr>
          <a:lstStyle>
            <a:lvl1pPr marL="0" indent="0">
              <a:buNone/>
              <a:defRPr>
                <a:solidFill>
                  <a:schemeClr val="bg1">
                    <a:lumMod val="75000"/>
                  </a:schemeClr>
                </a:solidFill>
              </a:defRPr>
            </a:lvl1p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nodePh="1">
                                  <p:stCondLst>
                                    <p:cond delay="500"/>
                                  </p:stCondLst>
                                  <p:endCondLst>
                                    <p:cond evt="begin" delay="0">
                                      <p:tn val="5"/>
                                    </p:cond>
                                  </p:end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1000" fill="hold"/>
                                        <p:tgtEl>
                                          <p:spTgt spid="4"/>
                                        </p:tgtEl>
                                        <p:attrNameLst>
                                          <p:attrName>ppt_x</p:attrName>
                                        </p:attrNameLst>
                                      </p:cBhvr>
                                      <p:tavLst>
                                        <p:tav tm="0">
                                          <p:val>
                                            <p:strVal val="0-#ppt_w/2"/>
                                          </p:val>
                                        </p:tav>
                                        <p:tav tm="100000">
                                          <p:val>
                                            <p:strVal val="#ppt_x"/>
                                          </p:val>
                                        </p:tav>
                                      </p:tavLst>
                                    </p:anim>
                                    <p:anim calcmode="lin" valueType="num">
                                      <p:cBhvr additive="base">
                                        <p:cTn id="8" dur="1000" fill="hold"/>
                                        <p:tgtEl>
                                          <p:spTgt spid="4"/>
                                        </p:tgtEl>
                                        <p:attrNameLst>
                                          <p:attrName>ppt_y</p:attrName>
                                        </p:attrNameLst>
                                      </p:cBhvr>
                                      <p:tavLst>
                                        <p:tav tm="0">
                                          <p:val>
                                            <p:strVal val="#ppt_y"/>
                                          </p:val>
                                        </p:tav>
                                        <p:tav tm="100000">
                                          <p:val>
                                            <p:strVal val="#ppt_y"/>
                                          </p:val>
                                        </p:tav>
                                      </p:tavLst>
                                    </p:anim>
                                  </p:childTnLst>
                                </p:cTn>
                              </p:par>
                              <p:par>
                                <p:cTn id="9" presetID="53" presetClass="entr" presetSubtype="16" fill="hold" grpId="1" nodeType="withEffect" nodePh="1">
                                  <p:stCondLst>
                                    <p:cond delay="500"/>
                                  </p:stCondLst>
                                  <p:endCondLst>
                                    <p:cond evt="begin" delay="0">
                                      <p:tn val="9"/>
                                    </p:cond>
                                  </p:endCondLst>
                                  <p:childTnLst>
                                    <p:set>
                                      <p:cBhvr>
                                        <p:cTn id="10" dur="1" fill="hold">
                                          <p:stCondLst>
                                            <p:cond delay="0"/>
                                          </p:stCondLst>
                                        </p:cTn>
                                        <p:tgtEl>
                                          <p:spTgt spid="4"/>
                                        </p:tgtEl>
                                        <p:attrNameLst>
                                          <p:attrName>style.visibility</p:attrName>
                                        </p:attrNameLst>
                                      </p:cBhvr>
                                      <p:to>
                                        <p:strVal val="visible"/>
                                      </p:to>
                                    </p:set>
                                    <p:anim calcmode="lin" valueType="num">
                                      <p:cBhvr>
                                        <p:cTn id="11" dur="1000" fill="hold"/>
                                        <p:tgtEl>
                                          <p:spTgt spid="4"/>
                                        </p:tgtEl>
                                        <p:attrNameLst>
                                          <p:attrName>ppt_w</p:attrName>
                                        </p:attrNameLst>
                                      </p:cBhvr>
                                      <p:tavLst>
                                        <p:tav tm="0">
                                          <p:val>
                                            <p:fltVal val="0"/>
                                          </p:val>
                                        </p:tav>
                                        <p:tav tm="100000">
                                          <p:val>
                                            <p:strVal val="#ppt_w"/>
                                          </p:val>
                                        </p:tav>
                                      </p:tavLst>
                                    </p:anim>
                                    <p:anim calcmode="lin" valueType="num">
                                      <p:cBhvr>
                                        <p:cTn id="12" dur="1000" fill="hold"/>
                                        <p:tgtEl>
                                          <p:spTgt spid="4"/>
                                        </p:tgtEl>
                                        <p:attrNameLst>
                                          <p:attrName>ppt_h</p:attrName>
                                        </p:attrNameLst>
                                      </p:cBhvr>
                                      <p:tavLst>
                                        <p:tav tm="0">
                                          <p:val>
                                            <p:fltVal val="0"/>
                                          </p:val>
                                        </p:tav>
                                        <p:tav tm="100000">
                                          <p:val>
                                            <p:strVal val="#ppt_h"/>
                                          </p:val>
                                        </p:tav>
                                      </p:tavLst>
                                    </p:anim>
                                    <p:animEffect transition="in" filter="fade">
                                      <p:cBhvr>
                                        <p:cTn id="13" dur="1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hf sldNum="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2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411031101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31_Title Slide">
    <p:spTree>
      <p:nvGrpSpPr>
        <p:cNvPr id="1" name=""/>
        <p:cNvGrpSpPr/>
        <p:nvPr/>
      </p:nvGrpSpPr>
      <p:grpSpPr>
        <a:xfrm>
          <a:off x="0" y="0"/>
          <a:ext cx="0" cy="0"/>
          <a:chOff x="0" y="0"/>
          <a:chExt cx="0" cy="0"/>
        </a:xfrm>
      </p:grpSpPr>
      <p:sp>
        <p:nvSpPr>
          <p:cNvPr id="2" name="Oval 1"/>
          <p:cNvSpPr/>
          <p:nvPr userDrawn="1"/>
        </p:nvSpPr>
        <p:spPr>
          <a:xfrm>
            <a:off x="1866900" y="-800100"/>
            <a:ext cx="8458200" cy="8458200"/>
          </a:xfrm>
          <a:prstGeom prst="ellipse">
            <a:avLst/>
          </a:prstGeom>
          <a:gradFill>
            <a:gsLst>
              <a:gs pos="0">
                <a:schemeClr val="accent1">
                  <a:alpha val="0"/>
                </a:schemeClr>
              </a:gs>
              <a:gs pos="100000">
                <a:schemeClr val="accent2"/>
              </a:gs>
            </a:gsLst>
            <a:lin ang="8100000" scaled="1"/>
          </a:gra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p:cNvSpPr/>
          <p:nvPr userDrawn="1"/>
        </p:nvSpPr>
        <p:spPr>
          <a:xfrm>
            <a:off x="0" y="0"/>
            <a:ext cx="12192000"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userDrawn="1"/>
        </p:nvSpPr>
        <p:spPr>
          <a:xfrm rot="10800000" flipV="1">
            <a:off x="10670384" y="6300400"/>
            <a:ext cx="1132040" cy="276999"/>
          </a:xfrm>
          <a:prstGeom prst="rect">
            <a:avLst/>
          </a:prstGeom>
          <a:noFill/>
        </p:spPr>
        <p:txBody>
          <a:bodyPr wrap="square" rtlCol="0">
            <a:spAutoFit/>
          </a:bodyPr>
          <a:lstStyle/>
          <a:p>
            <a:pPr algn="r"/>
            <a:r>
              <a:rPr lang="en-US" sz="1200" i="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Page</a:t>
            </a:r>
            <a:r>
              <a:rPr lang="en-US" sz="1200" b="1" i="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 </a:t>
            </a:r>
            <a:fld id="{260E2A6B-A809-4840-BF14-8648BC0BDF87}" type="slidenum">
              <a:rPr lang="id-ID" sz="1200" b="1" i="0" smtClean="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a:t>
            </a:fld>
            <a:endParaRPr lang="id-ID" sz="1200" i="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 name="Picture Placeholder 14"/>
          <p:cNvSpPr>
            <a:spLocks noGrp="1"/>
          </p:cNvSpPr>
          <p:nvPr>
            <p:ph type="pic" sz="quarter" idx="10"/>
          </p:nvPr>
        </p:nvSpPr>
        <p:spPr>
          <a:xfrm>
            <a:off x="9411146" y="838200"/>
            <a:ext cx="1866454" cy="5143500"/>
          </a:xfrm>
          <a:custGeom>
            <a:avLst/>
            <a:gdLst>
              <a:gd name="connsiteX0" fmla="*/ 0 w 1866454"/>
              <a:gd name="connsiteY0" fmla="*/ 0 h 5143500"/>
              <a:gd name="connsiteX1" fmla="*/ 1866454 w 1866454"/>
              <a:gd name="connsiteY1" fmla="*/ 0 h 5143500"/>
              <a:gd name="connsiteX2" fmla="*/ 1866454 w 1866454"/>
              <a:gd name="connsiteY2" fmla="*/ 5143500 h 5143500"/>
              <a:gd name="connsiteX3" fmla="*/ 0 w 1866454"/>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1866454" h="5143500">
                <a:moveTo>
                  <a:pt x="0" y="0"/>
                </a:moveTo>
                <a:lnTo>
                  <a:pt x="1866454" y="0"/>
                </a:lnTo>
                <a:lnTo>
                  <a:pt x="1866454" y="5143500"/>
                </a:lnTo>
                <a:lnTo>
                  <a:pt x="0" y="5143500"/>
                </a:lnTo>
                <a:close/>
              </a:path>
            </a:pathLst>
          </a:custGeom>
        </p:spPr>
        <p:txBody>
          <a:bodyPr wrap="square">
            <a:noAutofit/>
          </a:bodyPr>
          <a:lstStyle>
            <a:lvl1pPr marL="0" indent="0">
              <a:buNone/>
              <a:defRPr>
                <a:solidFill>
                  <a:schemeClr val="bg1">
                    <a:lumMod val="75000"/>
                  </a:schemeClr>
                </a:solidFill>
              </a:defRPr>
            </a:lvl1p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grpId="0" nodeType="withEffect">
                                  <p:stCondLst>
                                    <p:cond delay="0"/>
                                  </p:stCondLst>
                                  <p:childTnLst>
                                    <p:animRot by="21600000">
                                      <p:cBhvr>
                                        <p:cTn id="6" dur="6000" fill="hold"/>
                                        <p:tgtEl>
                                          <p:spTgt spid="2"/>
                                        </p:tgtEl>
                                        <p:attrNameLst>
                                          <p:attrName>r</p:attrName>
                                        </p:attrNameLst>
                                      </p:cBhvr>
                                    </p:animRot>
                                  </p:childTnLst>
                                </p:cTn>
                              </p:par>
                              <p:par>
                                <p:cTn id="7" presetID="47" presetClass="entr" presetSubtype="0" fill="hold" grpId="0" nodeType="withEffect" nodePh="1">
                                  <p:stCondLst>
                                    <p:cond delay="0"/>
                                  </p:stCondLst>
                                  <p:endCondLst>
                                    <p:cond evt="begin" delay="0">
                                      <p:tn val="7"/>
                                    </p:cond>
                                  </p:endCondLst>
                                  <p:childTnLst>
                                    <p:set>
                                      <p:cBhvr>
                                        <p:cTn id="8" dur="1" fill="hold">
                                          <p:stCondLst>
                                            <p:cond delay="0"/>
                                          </p:stCondLst>
                                        </p:cTn>
                                        <p:tgtEl>
                                          <p:spTgt spid="15"/>
                                        </p:tgtEl>
                                        <p:attrNameLst>
                                          <p:attrName>style.visibility</p:attrName>
                                        </p:attrNameLst>
                                      </p:cBhvr>
                                      <p:to>
                                        <p:strVal val="visible"/>
                                      </p:to>
                                    </p:set>
                                    <p:animEffect transition="in" filter="fade">
                                      <p:cBhvr>
                                        <p:cTn id="9" dur="1000"/>
                                        <p:tgtEl>
                                          <p:spTgt spid="15"/>
                                        </p:tgtEl>
                                      </p:cBhvr>
                                    </p:animEffect>
                                    <p:anim calcmode="lin" valueType="num">
                                      <p:cBhvr>
                                        <p:cTn id="10" dur="1000" fill="hold"/>
                                        <p:tgtEl>
                                          <p:spTgt spid="15"/>
                                        </p:tgtEl>
                                        <p:attrNameLst>
                                          <p:attrName>ppt_x</p:attrName>
                                        </p:attrNameLst>
                                      </p:cBhvr>
                                      <p:tavLst>
                                        <p:tav tm="0">
                                          <p:val>
                                            <p:strVal val="#ppt_x"/>
                                          </p:val>
                                        </p:tav>
                                        <p:tav tm="100000">
                                          <p:val>
                                            <p:strVal val="#ppt_x"/>
                                          </p:val>
                                        </p:tav>
                                      </p:tavLst>
                                    </p:anim>
                                    <p:anim calcmode="lin" valueType="num">
                                      <p:cBhvr>
                                        <p:cTn id="1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p:bldLst>
  </p:timing>
  <p:hf sldNum="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7_Title Slide">
    <p:spTree>
      <p:nvGrpSpPr>
        <p:cNvPr id="1" name=""/>
        <p:cNvGrpSpPr/>
        <p:nvPr/>
      </p:nvGrpSpPr>
      <p:grpSpPr>
        <a:xfrm>
          <a:off x="0" y="0"/>
          <a:ext cx="0" cy="0"/>
          <a:chOff x="0" y="0"/>
          <a:chExt cx="0" cy="0"/>
        </a:xfrm>
      </p:grpSpPr>
      <p:sp>
        <p:nvSpPr>
          <p:cNvPr id="4" name="TextBox 3"/>
          <p:cNvSpPr txBox="1"/>
          <p:nvPr userDrawn="1"/>
        </p:nvSpPr>
        <p:spPr>
          <a:xfrm rot="10800000" flipV="1">
            <a:off x="10670384" y="6300400"/>
            <a:ext cx="1132040" cy="276999"/>
          </a:xfrm>
          <a:prstGeom prst="rect">
            <a:avLst/>
          </a:prstGeom>
          <a:noFill/>
        </p:spPr>
        <p:txBody>
          <a:bodyPr wrap="square" rtlCol="0">
            <a:spAutoFit/>
          </a:bodyPr>
          <a:lstStyle/>
          <a:p>
            <a:pPr algn="r"/>
            <a:r>
              <a:rPr lang="en-US" sz="1200" i="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Page</a:t>
            </a:r>
            <a:r>
              <a:rPr lang="en-US" sz="1200" b="1" i="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 </a:t>
            </a:r>
            <a:fld id="{260E2A6B-A809-4840-BF14-8648BC0BDF87}" type="slidenum">
              <a:rPr lang="id-ID" sz="1200" b="1" i="0" smtClean="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rPr>
              <a:t>‹#›</a:t>
            </a:fld>
            <a:endParaRPr lang="id-ID" sz="1200" i="0" dirty="0">
              <a:solidFill>
                <a:schemeClr val="tx1">
                  <a:lumMod val="85000"/>
                  <a:lumOff val="1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5" name="Group 4"/>
          <p:cNvGrpSpPr/>
          <p:nvPr userDrawn="1"/>
        </p:nvGrpSpPr>
        <p:grpSpPr>
          <a:xfrm>
            <a:off x="285338" y="5958437"/>
            <a:ext cx="93351" cy="585077"/>
            <a:chOff x="18426112" y="8593271"/>
            <a:chExt cx="233767" cy="1465129"/>
          </a:xfrm>
          <a:solidFill>
            <a:schemeClr val="bg1">
              <a:lumMod val="95000"/>
            </a:schemeClr>
          </a:solidFill>
        </p:grpSpPr>
        <p:sp>
          <p:nvSpPr>
            <p:cNvPr id="6" name="Freeform 23"/>
            <p:cNvSpPr>
              <a:spLocks noEditPoints="1"/>
            </p:cNvSpPr>
            <p:nvPr/>
          </p:nvSpPr>
          <p:spPr bwMode="auto">
            <a:xfrm>
              <a:off x="18427938" y="9213846"/>
              <a:ext cx="230115" cy="230115"/>
            </a:xfrm>
            <a:custGeom>
              <a:avLst/>
              <a:gdLst>
                <a:gd name="T0" fmla="*/ 212725 w 62"/>
                <a:gd name="T1" fmla="*/ 174983 h 62"/>
                <a:gd name="T2" fmla="*/ 174983 w 62"/>
                <a:gd name="T3" fmla="*/ 212725 h 62"/>
                <a:gd name="T4" fmla="*/ 41173 w 62"/>
                <a:gd name="T5" fmla="*/ 212725 h 62"/>
                <a:gd name="T6" fmla="*/ 0 w 62"/>
                <a:gd name="T7" fmla="*/ 174983 h 62"/>
                <a:gd name="T8" fmla="*/ 0 w 62"/>
                <a:gd name="T9" fmla="*/ 41173 h 62"/>
                <a:gd name="T10" fmla="*/ 41173 w 62"/>
                <a:gd name="T11" fmla="*/ 0 h 62"/>
                <a:gd name="T12" fmla="*/ 174983 w 62"/>
                <a:gd name="T13" fmla="*/ 0 h 62"/>
                <a:gd name="T14" fmla="*/ 212725 w 62"/>
                <a:gd name="T15" fmla="*/ 41173 h 62"/>
                <a:gd name="T16" fmla="*/ 212725 w 62"/>
                <a:gd name="T17" fmla="*/ 174983 h 62"/>
                <a:gd name="T18" fmla="*/ 161259 w 62"/>
                <a:gd name="T19" fmla="*/ 72052 h 62"/>
                <a:gd name="T20" fmla="*/ 174983 w 62"/>
                <a:gd name="T21" fmla="*/ 54897 h 62"/>
                <a:gd name="T22" fmla="*/ 154397 w 62"/>
                <a:gd name="T23" fmla="*/ 65190 h 62"/>
                <a:gd name="T24" fmla="*/ 133811 w 62"/>
                <a:gd name="T25" fmla="*/ 54897 h 62"/>
                <a:gd name="T26" fmla="*/ 106363 w 62"/>
                <a:gd name="T27" fmla="*/ 82345 h 62"/>
                <a:gd name="T28" fmla="*/ 106363 w 62"/>
                <a:gd name="T29" fmla="*/ 89207 h 62"/>
                <a:gd name="T30" fmla="*/ 48035 w 62"/>
                <a:gd name="T31" fmla="*/ 58328 h 62"/>
                <a:gd name="T32" fmla="*/ 41173 w 62"/>
                <a:gd name="T33" fmla="*/ 75483 h 62"/>
                <a:gd name="T34" fmla="*/ 54897 w 62"/>
                <a:gd name="T35" fmla="*/ 99500 h 62"/>
                <a:gd name="T36" fmla="*/ 41173 w 62"/>
                <a:gd name="T37" fmla="*/ 96069 h 62"/>
                <a:gd name="T38" fmla="*/ 41173 w 62"/>
                <a:gd name="T39" fmla="*/ 96069 h 62"/>
                <a:gd name="T40" fmla="*/ 65190 w 62"/>
                <a:gd name="T41" fmla="*/ 123518 h 62"/>
                <a:gd name="T42" fmla="*/ 58328 w 62"/>
                <a:gd name="T43" fmla="*/ 123518 h 62"/>
                <a:gd name="T44" fmla="*/ 51466 w 62"/>
                <a:gd name="T45" fmla="*/ 123518 h 62"/>
                <a:gd name="T46" fmla="*/ 78914 w 62"/>
                <a:gd name="T47" fmla="*/ 144104 h 62"/>
                <a:gd name="T48" fmla="*/ 44604 w 62"/>
                <a:gd name="T49" fmla="*/ 157828 h 62"/>
                <a:gd name="T50" fmla="*/ 37742 w 62"/>
                <a:gd name="T51" fmla="*/ 157828 h 62"/>
                <a:gd name="T52" fmla="*/ 82345 w 62"/>
                <a:gd name="T53" fmla="*/ 168121 h 62"/>
                <a:gd name="T54" fmla="*/ 164690 w 62"/>
                <a:gd name="T55" fmla="*/ 85776 h 62"/>
                <a:gd name="T56" fmla="*/ 164690 w 62"/>
                <a:gd name="T57" fmla="*/ 82345 h 62"/>
                <a:gd name="T58" fmla="*/ 178415 w 62"/>
                <a:gd name="T59" fmla="*/ 68621 h 62"/>
                <a:gd name="T60" fmla="*/ 161259 w 62"/>
                <a:gd name="T61" fmla="*/ 72052 h 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62" h="62">
                  <a:moveTo>
                    <a:pt x="62" y="51"/>
                  </a:moveTo>
                  <a:cubicBezTo>
                    <a:pt x="62" y="57"/>
                    <a:pt x="57" y="62"/>
                    <a:pt x="51" y="62"/>
                  </a:cubicBezTo>
                  <a:cubicBezTo>
                    <a:pt x="12" y="62"/>
                    <a:pt x="12" y="62"/>
                    <a:pt x="12" y="62"/>
                  </a:cubicBezTo>
                  <a:cubicBezTo>
                    <a:pt x="6" y="62"/>
                    <a:pt x="0" y="57"/>
                    <a:pt x="0" y="51"/>
                  </a:cubicBezTo>
                  <a:cubicBezTo>
                    <a:pt x="0" y="12"/>
                    <a:pt x="0" y="12"/>
                    <a:pt x="0" y="12"/>
                  </a:cubicBezTo>
                  <a:cubicBezTo>
                    <a:pt x="0" y="6"/>
                    <a:pt x="6" y="0"/>
                    <a:pt x="12" y="0"/>
                  </a:cubicBezTo>
                  <a:cubicBezTo>
                    <a:pt x="51" y="0"/>
                    <a:pt x="51" y="0"/>
                    <a:pt x="51" y="0"/>
                  </a:cubicBezTo>
                  <a:cubicBezTo>
                    <a:pt x="57" y="0"/>
                    <a:pt x="62" y="6"/>
                    <a:pt x="62" y="12"/>
                  </a:cubicBezTo>
                  <a:lnTo>
                    <a:pt x="62" y="51"/>
                  </a:lnTo>
                  <a:close/>
                  <a:moveTo>
                    <a:pt x="47" y="21"/>
                  </a:moveTo>
                  <a:cubicBezTo>
                    <a:pt x="49" y="20"/>
                    <a:pt x="50" y="18"/>
                    <a:pt x="51" y="16"/>
                  </a:cubicBezTo>
                  <a:cubicBezTo>
                    <a:pt x="49" y="17"/>
                    <a:pt x="47" y="18"/>
                    <a:pt x="45" y="19"/>
                  </a:cubicBezTo>
                  <a:cubicBezTo>
                    <a:pt x="44" y="17"/>
                    <a:pt x="42" y="16"/>
                    <a:pt x="39" y="16"/>
                  </a:cubicBezTo>
                  <a:cubicBezTo>
                    <a:pt x="35" y="16"/>
                    <a:pt x="31" y="20"/>
                    <a:pt x="31" y="24"/>
                  </a:cubicBezTo>
                  <a:cubicBezTo>
                    <a:pt x="31" y="25"/>
                    <a:pt x="31" y="26"/>
                    <a:pt x="31" y="26"/>
                  </a:cubicBezTo>
                  <a:cubicBezTo>
                    <a:pt x="24" y="26"/>
                    <a:pt x="18" y="23"/>
                    <a:pt x="14" y="17"/>
                  </a:cubicBezTo>
                  <a:cubicBezTo>
                    <a:pt x="13" y="19"/>
                    <a:pt x="12" y="20"/>
                    <a:pt x="12" y="22"/>
                  </a:cubicBezTo>
                  <a:cubicBezTo>
                    <a:pt x="12" y="25"/>
                    <a:pt x="14" y="27"/>
                    <a:pt x="16" y="29"/>
                  </a:cubicBezTo>
                  <a:cubicBezTo>
                    <a:pt x="15" y="29"/>
                    <a:pt x="13" y="28"/>
                    <a:pt x="12" y="28"/>
                  </a:cubicBezTo>
                  <a:cubicBezTo>
                    <a:pt x="12" y="28"/>
                    <a:pt x="12" y="28"/>
                    <a:pt x="12" y="28"/>
                  </a:cubicBezTo>
                  <a:cubicBezTo>
                    <a:pt x="12" y="32"/>
                    <a:pt x="15" y="35"/>
                    <a:pt x="19" y="36"/>
                  </a:cubicBezTo>
                  <a:cubicBezTo>
                    <a:pt x="18" y="36"/>
                    <a:pt x="18" y="36"/>
                    <a:pt x="17" y="36"/>
                  </a:cubicBezTo>
                  <a:cubicBezTo>
                    <a:pt x="16" y="36"/>
                    <a:pt x="16" y="36"/>
                    <a:pt x="15" y="36"/>
                  </a:cubicBezTo>
                  <a:cubicBezTo>
                    <a:pt x="16" y="39"/>
                    <a:pt x="20" y="42"/>
                    <a:pt x="23" y="42"/>
                  </a:cubicBezTo>
                  <a:cubicBezTo>
                    <a:pt x="20" y="44"/>
                    <a:pt x="17" y="46"/>
                    <a:pt x="13" y="46"/>
                  </a:cubicBezTo>
                  <a:cubicBezTo>
                    <a:pt x="12" y="46"/>
                    <a:pt x="11" y="46"/>
                    <a:pt x="11" y="46"/>
                  </a:cubicBezTo>
                  <a:cubicBezTo>
                    <a:pt x="14" y="48"/>
                    <a:pt x="19" y="49"/>
                    <a:pt x="24" y="49"/>
                  </a:cubicBezTo>
                  <a:cubicBezTo>
                    <a:pt x="39" y="49"/>
                    <a:pt x="48" y="36"/>
                    <a:pt x="48" y="25"/>
                  </a:cubicBezTo>
                  <a:cubicBezTo>
                    <a:pt x="48" y="25"/>
                    <a:pt x="48" y="25"/>
                    <a:pt x="48" y="24"/>
                  </a:cubicBezTo>
                  <a:cubicBezTo>
                    <a:pt x="49" y="23"/>
                    <a:pt x="51" y="22"/>
                    <a:pt x="52" y="20"/>
                  </a:cubicBezTo>
                  <a:cubicBezTo>
                    <a:pt x="50" y="20"/>
                    <a:pt x="49" y="21"/>
                    <a:pt x="47" y="21"/>
                  </a:cubicBezTo>
                  <a:close/>
                </a:path>
              </a:pathLst>
            </a:custGeom>
            <a:grpFill/>
            <a:ln>
              <a:noFill/>
            </a:ln>
          </p:spPr>
          <p:txBody>
            <a:bodyPr/>
            <a:lstStyle/>
            <a:p>
              <a:endParaRPr lang="en-US" dirty="0">
                <a:solidFill>
                  <a:schemeClr val="tx1">
                    <a:lumMod val="85000"/>
                    <a:lumOff val="15000"/>
                  </a:schemeClr>
                </a:solidFill>
              </a:endParaRPr>
            </a:p>
          </p:txBody>
        </p:sp>
        <p:sp>
          <p:nvSpPr>
            <p:cNvPr id="7" name="Freeform 129"/>
            <p:cNvSpPr>
              <a:spLocks noEditPoints="1"/>
            </p:cNvSpPr>
            <p:nvPr/>
          </p:nvSpPr>
          <p:spPr bwMode="auto">
            <a:xfrm>
              <a:off x="18429655" y="8593271"/>
              <a:ext cx="226680" cy="230115"/>
            </a:xfrm>
            <a:custGeom>
              <a:avLst/>
              <a:gdLst>
                <a:gd name="T0" fmla="*/ 209550 w 61"/>
                <a:gd name="T1" fmla="*/ 174983 h 62"/>
                <a:gd name="T2" fmla="*/ 171762 w 61"/>
                <a:gd name="T3" fmla="*/ 212725 h 62"/>
                <a:gd name="T4" fmla="*/ 37788 w 61"/>
                <a:gd name="T5" fmla="*/ 212725 h 62"/>
                <a:gd name="T6" fmla="*/ 0 w 61"/>
                <a:gd name="T7" fmla="*/ 174983 h 62"/>
                <a:gd name="T8" fmla="*/ 0 w 61"/>
                <a:gd name="T9" fmla="*/ 41173 h 62"/>
                <a:gd name="T10" fmla="*/ 37788 w 61"/>
                <a:gd name="T11" fmla="*/ 0 h 62"/>
                <a:gd name="T12" fmla="*/ 171762 w 61"/>
                <a:gd name="T13" fmla="*/ 0 h 62"/>
                <a:gd name="T14" fmla="*/ 209550 w 61"/>
                <a:gd name="T15" fmla="*/ 41173 h 62"/>
                <a:gd name="T16" fmla="*/ 209550 w 61"/>
                <a:gd name="T17" fmla="*/ 174983 h 62"/>
                <a:gd name="T18" fmla="*/ 37788 w 61"/>
                <a:gd name="T19" fmla="*/ 41173 h 62"/>
                <a:gd name="T20" fmla="*/ 34352 w 61"/>
                <a:gd name="T21" fmla="*/ 41173 h 62"/>
                <a:gd name="T22" fmla="*/ 34352 w 61"/>
                <a:gd name="T23" fmla="*/ 44604 h 62"/>
                <a:gd name="T24" fmla="*/ 34352 w 61"/>
                <a:gd name="T25" fmla="*/ 61759 h 62"/>
                <a:gd name="T26" fmla="*/ 37788 w 61"/>
                <a:gd name="T27" fmla="*/ 68621 h 62"/>
                <a:gd name="T28" fmla="*/ 144280 w 61"/>
                <a:gd name="T29" fmla="*/ 174983 h 62"/>
                <a:gd name="T30" fmla="*/ 147716 w 61"/>
                <a:gd name="T31" fmla="*/ 178415 h 62"/>
                <a:gd name="T32" fmla="*/ 168327 w 61"/>
                <a:gd name="T33" fmla="*/ 178415 h 62"/>
                <a:gd name="T34" fmla="*/ 168327 w 61"/>
                <a:gd name="T35" fmla="*/ 174983 h 62"/>
                <a:gd name="T36" fmla="*/ 171762 w 61"/>
                <a:gd name="T37" fmla="*/ 174983 h 62"/>
                <a:gd name="T38" fmla="*/ 37788 w 61"/>
                <a:gd name="T39" fmla="*/ 41173 h 62"/>
                <a:gd name="T40" fmla="*/ 37788 w 61"/>
                <a:gd name="T41" fmla="*/ 92638 h 62"/>
                <a:gd name="T42" fmla="*/ 34352 w 61"/>
                <a:gd name="T43" fmla="*/ 96069 h 62"/>
                <a:gd name="T44" fmla="*/ 34352 w 61"/>
                <a:gd name="T45" fmla="*/ 99500 h 62"/>
                <a:gd name="T46" fmla="*/ 34352 w 61"/>
                <a:gd name="T47" fmla="*/ 116656 h 62"/>
                <a:gd name="T48" fmla="*/ 37788 w 61"/>
                <a:gd name="T49" fmla="*/ 120087 h 62"/>
                <a:gd name="T50" fmla="*/ 92752 w 61"/>
                <a:gd name="T51" fmla="*/ 174983 h 62"/>
                <a:gd name="T52" fmla="*/ 96187 w 61"/>
                <a:gd name="T53" fmla="*/ 178415 h 62"/>
                <a:gd name="T54" fmla="*/ 113363 w 61"/>
                <a:gd name="T55" fmla="*/ 178415 h 62"/>
                <a:gd name="T56" fmla="*/ 116798 w 61"/>
                <a:gd name="T57" fmla="*/ 174983 h 62"/>
                <a:gd name="T58" fmla="*/ 116798 w 61"/>
                <a:gd name="T59" fmla="*/ 171552 h 62"/>
                <a:gd name="T60" fmla="*/ 37788 w 61"/>
                <a:gd name="T61" fmla="*/ 92638 h 62"/>
                <a:gd name="T62" fmla="*/ 51529 w 61"/>
                <a:gd name="T63" fmla="*/ 144104 h 62"/>
                <a:gd name="T64" fmla="*/ 34352 w 61"/>
                <a:gd name="T65" fmla="*/ 161259 h 62"/>
                <a:gd name="T66" fmla="*/ 51529 w 61"/>
                <a:gd name="T67" fmla="*/ 178415 h 62"/>
                <a:gd name="T68" fmla="*/ 68705 w 61"/>
                <a:gd name="T69" fmla="*/ 161259 h 62"/>
                <a:gd name="T70" fmla="*/ 51529 w 61"/>
                <a:gd name="T71" fmla="*/ 144104 h 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61" h="62">
                  <a:moveTo>
                    <a:pt x="61" y="51"/>
                  </a:moveTo>
                  <a:cubicBezTo>
                    <a:pt x="61" y="57"/>
                    <a:pt x="56" y="62"/>
                    <a:pt x="50" y="62"/>
                  </a:cubicBezTo>
                  <a:cubicBezTo>
                    <a:pt x="11" y="62"/>
                    <a:pt x="11" y="62"/>
                    <a:pt x="11" y="62"/>
                  </a:cubicBezTo>
                  <a:cubicBezTo>
                    <a:pt x="5" y="62"/>
                    <a:pt x="0" y="57"/>
                    <a:pt x="0" y="51"/>
                  </a:cubicBezTo>
                  <a:cubicBezTo>
                    <a:pt x="0" y="12"/>
                    <a:pt x="0" y="12"/>
                    <a:pt x="0" y="12"/>
                  </a:cubicBezTo>
                  <a:cubicBezTo>
                    <a:pt x="0" y="6"/>
                    <a:pt x="5" y="0"/>
                    <a:pt x="11" y="0"/>
                  </a:cubicBezTo>
                  <a:cubicBezTo>
                    <a:pt x="50" y="0"/>
                    <a:pt x="50" y="0"/>
                    <a:pt x="50" y="0"/>
                  </a:cubicBezTo>
                  <a:cubicBezTo>
                    <a:pt x="56" y="0"/>
                    <a:pt x="61" y="6"/>
                    <a:pt x="61" y="12"/>
                  </a:cubicBezTo>
                  <a:lnTo>
                    <a:pt x="61" y="51"/>
                  </a:lnTo>
                  <a:close/>
                  <a:moveTo>
                    <a:pt x="11" y="12"/>
                  </a:moveTo>
                  <a:cubicBezTo>
                    <a:pt x="11" y="12"/>
                    <a:pt x="11" y="12"/>
                    <a:pt x="10" y="12"/>
                  </a:cubicBezTo>
                  <a:cubicBezTo>
                    <a:pt x="10" y="13"/>
                    <a:pt x="10" y="13"/>
                    <a:pt x="10" y="13"/>
                  </a:cubicBezTo>
                  <a:cubicBezTo>
                    <a:pt x="10" y="18"/>
                    <a:pt x="10" y="18"/>
                    <a:pt x="10" y="18"/>
                  </a:cubicBezTo>
                  <a:cubicBezTo>
                    <a:pt x="10" y="19"/>
                    <a:pt x="11" y="20"/>
                    <a:pt x="11" y="20"/>
                  </a:cubicBezTo>
                  <a:cubicBezTo>
                    <a:pt x="28" y="20"/>
                    <a:pt x="42" y="34"/>
                    <a:pt x="42" y="51"/>
                  </a:cubicBezTo>
                  <a:cubicBezTo>
                    <a:pt x="42" y="51"/>
                    <a:pt x="43" y="52"/>
                    <a:pt x="43" y="52"/>
                  </a:cubicBezTo>
                  <a:cubicBezTo>
                    <a:pt x="49" y="52"/>
                    <a:pt x="49" y="52"/>
                    <a:pt x="49" y="52"/>
                  </a:cubicBezTo>
                  <a:cubicBezTo>
                    <a:pt x="49" y="52"/>
                    <a:pt x="49" y="52"/>
                    <a:pt x="49" y="51"/>
                  </a:cubicBezTo>
                  <a:cubicBezTo>
                    <a:pt x="50" y="51"/>
                    <a:pt x="50" y="51"/>
                    <a:pt x="50" y="51"/>
                  </a:cubicBezTo>
                  <a:cubicBezTo>
                    <a:pt x="49" y="30"/>
                    <a:pt x="32" y="13"/>
                    <a:pt x="11" y="12"/>
                  </a:cubicBezTo>
                  <a:close/>
                  <a:moveTo>
                    <a:pt x="11" y="27"/>
                  </a:moveTo>
                  <a:cubicBezTo>
                    <a:pt x="11" y="27"/>
                    <a:pt x="11" y="28"/>
                    <a:pt x="10" y="28"/>
                  </a:cubicBezTo>
                  <a:cubicBezTo>
                    <a:pt x="10" y="28"/>
                    <a:pt x="10" y="28"/>
                    <a:pt x="10" y="29"/>
                  </a:cubicBezTo>
                  <a:cubicBezTo>
                    <a:pt x="10" y="34"/>
                    <a:pt x="10" y="34"/>
                    <a:pt x="10" y="34"/>
                  </a:cubicBezTo>
                  <a:cubicBezTo>
                    <a:pt x="10" y="35"/>
                    <a:pt x="11" y="35"/>
                    <a:pt x="11" y="35"/>
                  </a:cubicBezTo>
                  <a:cubicBezTo>
                    <a:pt x="19" y="36"/>
                    <a:pt x="26" y="42"/>
                    <a:pt x="27" y="51"/>
                  </a:cubicBezTo>
                  <a:cubicBezTo>
                    <a:pt x="27" y="51"/>
                    <a:pt x="27" y="52"/>
                    <a:pt x="28" y="52"/>
                  </a:cubicBezTo>
                  <a:cubicBezTo>
                    <a:pt x="33" y="52"/>
                    <a:pt x="33" y="52"/>
                    <a:pt x="33" y="52"/>
                  </a:cubicBezTo>
                  <a:cubicBezTo>
                    <a:pt x="33" y="52"/>
                    <a:pt x="34" y="52"/>
                    <a:pt x="34" y="51"/>
                  </a:cubicBezTo>
                  <a:cubicBezTo>
                    <a:pt x="34" y="51"/>
                    <a:pt x="34" y="51"/>
                    <a:pt x="34" y="50"/>
                  </a:cubicBezTo>
                  <a:cubicBezTo>
                    <a:pt x="34" y="38"/>
                    <a:pt x="24" y="28"/>
                    <a:pt x="11" y="27"/>
                  </a:cubicBezTo>
                  <a:close/>
                  <a:moveTo>
                    <a:pt x="15" y="42"/>
                  </a:moveTo>
                  <a:cubicBezTo>
                    <a:pt x="12" y="42"/>
                    <a:pt x="10" y="44"/>
                    <a:pt x="10" y="47"/>
                  </a:cubicBezTo>
                  <a:cubicBezTo>
                    <a:pt x="10" y="50"/>
                    <a:pt x="12" y="52"/>
                    <a:pt x="15" y="52"/>
                  </a:cubicBezTo>
                  <a:cubicBezTo>
                    <a:pt x="18" y="52"/>
                    <a:pt x="20" y="50"/>
                    <a:pt x="20" y="47"/>
                  </a:cubicBezTo>
                  <a:cubicBezTo>
                    <a:pt x="20" y="44"/>
                    <a:pt x="18" y="42"/>
                    <a:pt x="15" y="42"/>
                  </a:cubicBezTo>
                  <a:close/>
                </a:path>
              </a:pathLst>
            </a:custGeom>
            <a:grpFill/>
            <a:ln>
              <a:noFill/>
            </a:ln>
          </p:spPr>
          <p:txBody>
            <a:bodyPr/>
            <a:lstStyle/>
            <a:p>
              <a:endParaRPr lang="en-US" dirty="0">
                <a:solidFill>
                  <a:schemeClr val="tx1">
                    <a:lumMod val="85000"/>
                    <a:lumOff val="15000"/>
                  </a:schemeClr>
                </a:solidFill>
              </a:endParaRPr>
            </a:p>
          </p:txBody>
        </p:sp>
        <p:sp>
          <p:nvSpPr>
            <p:cNvPr id="8" name="Freeform 188"/>
            <p:cNvSpPr/>
            <p:nvPr/>
          </p:nvSpPr>
          <p:spPr bwMode="auto">
            <a:xfrm>
              <a:off x="18426112" y="9828285"/>
              <a:ext cx="233767" cy="230115"/>
            </a:xfrm>
            <a:custGeom>
              <a:avLst/>
              <a:gdLst>
                <a:gd name="T0" fmla="*/ 165315 w 59"/>
                <a:gd name="T1" fmla="*/ 200025 h 58"/>
                <a:gd name="T2" fmla="*/ 141207 w 59"/>
                <a:gd name="T3" fmla="*/ 200025 h 58"/>
                <a:gd name="T4" fmla="*/ 141207 w 59"/>
                <a:gd name="T5" fmla="*/ 120705 h 58"/>
                <a:gd name="T6" fmla="*/ 165315 w 59"/>
                <a:gd name="T7" fmla="*/ 120705 h 58"/>
                <a:gd name="T8" fmla="*/ 168759 w 59"/>
                <a:gd name="T9" fmla="*/ 89666 h 58"/>
                <a:gd name="T10" fmla="*/ 141207 w 59"/>
                <a:gd name="T11" fmla="*/ 89666 h 58"/>
                <a:gd name="T12" fmla="*/ 141207 w 59"/>
                <a:gd name="T13" fmla="*/ 72423 h 58"/>
                <a:gd name="T14" fmla="*/ 154983 w 59"/>
                <a:gd name="T15" fmla="*/ 58628 h 58"/>
                <a:gd name="T16" fmla="*/ 172203 w 59"/>
                <a:gd name="T17" fmla="*/ 58628 h 58"/>
                <a:gd name="T18" fmla="*/ 172203 w 59"/>
                <a:gd name="T19" fmla="*/ 31038 h 58"/>
                <a:gd name="T20" fmla="*/ 148095 w 59"/>
                <a:gd name="T21" fmla="*/ 27590 h 58"/>
                <a:gd name="T22" fmla="*/ 110210 w 59"/>
                <a:gd name="T23" fmla="*/ 68974 h 58"/>
                <a:gd name="T24" fmla="*/ 110210 w 59"/>
                <a:gd name="T25" fmla="*/ 89666 h 58"/>
                <a:gd name="T26" fmla="*/ 82658 w 59"/>
                <a:gd name="T27" fmla="*/ 89666 h 58"/>
                <a:gd name="T28" fmla="*/ 82658 w 59"/>
                <a:gd name="T29" fmla="*/ 120705 h 58"/>
                <a:gd name="T30" fmla="*/ 110210 w 59"/>
                <a:gd name="T31" fmla="*/ 120705 h 58"/>
                <a:gd name="T32" fmla="*/ 110210 w 59"/>
                <a:gd name="T33" fmla="*/ 200025 h 58"/>
                <a:gd name="T34" fmla="*/ 37885 w 59"/>
                <a:gd name="T35" fmla="*/ 200025 h 58"/>
                <a:gd name="T36" fmla="*/ 0 w 59"/>
                <a:gd name="T37" fmla="*/ 162089 h 58"/>
                <a:gd name="T38" fmla="*/ 0 w 59"/>
                <a:gd name="T39" fmla="*/ 34487 h 58"/>
                <a:gd name="T40" fmla="*/ 37885 w 59"/>
                <a:gd name="T41" fmla="*/ 0 h 58"/>
                <a:gd name="T42" fmla="*/ 165315 w 59"/>
                <a:gd name="T43" fmla="*/ 0 h 58"/>
                <a:gd name="T44" fmla="*/ 203200 w 59"/>
                <a:gd name="T45" fmla="*/ 34487 h 58"/>
                <a:gd name="T46" fmla="*/ 203200 w 59"/>
                <a:gd name="T47" fmla="*/ 162089 h 58"/>
                <a:gd name="T48" fmla="*/ 165315 w 59"/>
                <a:gd name="T49" fmla="*/ 200025 h 5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58">
                  <a:moveTo>
                    <a:pt x="48" y="58"/>
                  </a:moveTo>
                  <a:cubicBezTo>
                    <a:pt x="41" y="58"/>
                    <a:pt x="41" y="58"/>
                    <a:pt x="41" y="58"/>
                  </a:cubicBezTo>
                  <a:cubicBezTo>
                    <a:pt x="41" y="35"/>
                    <a:pt x="41" y="35"/>
                    <a:pt x="41" y="35"/>
                  </a:cubicBezTo>
                  <a:cubicBezTo>
                    <a:pt x="48" y="35"/>
                    <a:pt x="48" y="35"/>
                    <a:pt x="48" y="35"/>
                  </a:cubicBezTo>
                  <a:cubicBezTo>
                    <a:pt x="49" y="26"/>
                    <a:pt x="49" y="26"/>
                    <a:pt x="49" y="26"/>
                  </a:cubicBezTo>
                  <a:cubicBezTo>
                    <a:pt x="41" y="26"/>
                    <a:pt x="41" y="26"/>
                    <a:pt x="41" y="26"/>
                  </a:cubicBezTo>
                  <a:cubicBezTo>
                    <a:pt x="41" y="21"/>
                    <a:pt x="41" y="21"/>
                    <a:pt x="41" y="21"/>
                  </a:cubicBezTo>
                  <a:cubicBezTo>
                    <a:pt x="41" y="18"/>
                    <a:pt x="42" y="17"/>
                    <a:pt x="45" y="17"/>
                  </a:cubicBezTo>
                  <a:cubicBezTo>
                    <a:pt x="50" y="17"/>
                    <a:pt x="50" y="17"/>
                    <a:pt x="50" y="17"/>
                  </a:cubicBezTo>
                  <a:cubicBezTo>
                    <a:pt x="50" y="9"/>
                    <a:pt x="50" y="9"/>
                    <a:pt x="50" y="9"/>
                  </a:cubicBezTo>
                  <a:cubicBezTo>
                    <a:pt x="49" y="9"/>
                    <a:pt x="47" y="8"/>
                    <a:pt x="43" y="8"/>
                  </a:cubicBezTo>
                  <a:cubicBezTo>
                    <a:pt x="37" y="8"/>
                    <a:pt x="32" y="12"/>
                    <a:pt x="32" y="20"/>
                  </a:cubicBezTo>
                  <a:cubicBezTo>
                    <a:pt x="32" y="26"/>
                    <a:pt x="32" y="26"/>
                    <a:pt x="32" y="26"/>
                  </a:cubicBezTo>
                  <a:cubicBezTo>
                    <a:pt x="24" y="26"/>
                    <a:pt x="24" y="26"/>
                    <a:pt x="24" y="26"/>
                  </a:cubicBezTo>
                  <a:cubicBezTo>
                    <a:pt x="24" y="35"/>
                    <a:pt x="24" y="35"/>
                    <a:pt x="24" y="35"/>
                  </a:cubicBezTo>
                  <a:cubicBezTo>
                    <a:pt x="32" y="35"/>
                    <a:pt x="32" y="35"/>
                    <a:pt x="32" y="35"/>
                  </a:cubicBezTo>
                  <a:cubicBezTo>
                    <a:pt x="32" y="58"/>
                    <a:pt x="32" y="58"/>
                    <a:pt x="32" y="58"/>
                  </a:cubicBezTo>
                  <a:cubicBezTo>
                    <a:pt x="11" y="58"/>
                    <a:pt x="11" y="58"/>
                    <a:pt x="11" y="58"/>
                  </a:cubicBezTo>
                  <a:cubicBezTo>
                    <a:pt x="5" y="58"/>
                    <a:pt x="0" y="53"/>
                    <a:pt x="0" y="47"/>
                  </a:cubicBezTo>
                  <a:cubicBezTo>
                    <a:pt x="0" y="10"/>
                    <a:pt x="0" y="10"/>
                    <a:pt x="0" y="10"/>
                  </a:cubicBezTo>
                  <a:cubicBezTo>
                    <a:pt x="0" y="4"/>
                    <a:pt x="5" y="0"/>
                    <a:pt x="11" y="0"/>
                  </a:cubicBezTo>
                  <a:cubicBezTo>
                    <a:pt x="48" y="0"/>
                    <a:pt x="48" y="0"/>
                    <a:pt x="48" y="0"/>
                  </a:cubicBezTo>
                  <a:cubicBezTo>
                    <a:pt x="54" y="0"/>
                    <a:pt x="59" y="4"/>
                    <a:pt x="59" y="10"/>
                  </a:cubicBezTo>
                  <a:cubicBezTo>
                    <a:pt x="59" y="47"/>
                    <a:pt x="59" y="47"/>
                    <a:pt x="59" y="47"/>
                  </a:cubicBezTo>
                  <a:cubicBezTo>
                    <a:pt x="59" y="53"/>
                    <a:pt x="54" y="58"/>
                    <a:pt x="48" y="58"/>
                  </a:cubicBezTo>
                  <a:close/>
                </a:path>
              </a:pathLst>
            </a:custGeom>
            <a:grpFill/>
            <a:ln>
              <a:noFill/>
            </a:ln>
          </p:spPr>
          <p:txBody>
            <a:bodyPr/>
            <a:lstStyle/>
            <a:p>
              <a:endParaRPr lang="en-US" dirty="0">
                <a:solidFill>
                  <a:schemeClr val="tx1">
                    <a:lumMod val="85000"/>
                    <a:lumOff val="15000"/>
                  </a:schemeClr>
                </a:solidFill>
              </a:endParaRPr>
            </a:p>
          </p:txBody>
        </p:sp>
      </p:grpSp>
      <p:sp>
        <p:nvSpPr>
          <p:cNvPr id="13" name="Picture Placeholder 12"/>
          <p:cNvSpPr>
            <a:spLocks noGrp="1"/>
          </p:cNvSpPr>
          <p:nvPr>
            <p:ph type="pic" sz="quarter" idx="10"/>
          </p:nvPr>
        </p:nvSpPr>
        <p:spPr>
          <a:xfrm>
            <a:off x="838200" y="1371600"/>
            <a:ext cx="8439150" cy="3954135"/>
          </a:xfrm>
          <a:custGeom>
            <a:avLst/>
            <a:gdLst>
              <a:gd name="connsiteX0" fmla="*/ 0 w 8035224"/>
              <a:gd name="connsiteY0" fmla="*/ 0 h 5639289"/>
              <a:gd name="connsiteX1" fmla="*/ 8035224 w 8035224"/>
              <a:gd name="connsiteY1" fmla="*/ 0 h 5639289"/>
              <a:gd name="connsiteX2" fmla="*/ 8035224 w 8035224"/>
              <a:gd name="connsiteY2" fmla="*/ 5639289 h 5639289"/>
              <a:gd name="connsiteX3" fmla="*/ 0 w 8035224"/>
              <a:gd name="connsiteY3" fmla="*/ 5639289 h 5639289"/>
            </a:gdLst>
            <a:ahLst/>
            <a:cxnLst>
              <a:cxn ang="0">
                <a:pos x="connsiteX0" y="connsiteY0"/>
              </a:cxn>
              <a:cxn ang="0">
                <a:pos x="connsiteX1" y="connsiteY1"/>
              </a:cxn>
              <a:cxn ang="0">
                <a:pos x="connsiteX2" y="connsiteY2"/>
              </a:cxn>
              <a:cxn ang="0">
                <a:pos x="connsiteX3" y="connsiteY3"/>
              </a:cxn>
            </a:cxnLst>
            <a:rect l="l" t="t" r="r" b="b"/>
            <a:pathLst>
              <a:path w="8035224" h="5639289">
                <a:moveTo>
                  <a:pt x="0" y="0"/>
                </a:moveTo>
                <a:lnTo>
                  <a:pt x="8035224" y="0"/>
                </a:lnTo>
                <a:lnTo>
                  <a:pt x="8035224" y="5639289"/>
                </a:lnTo>
                <a:lnTo>
                  <a:pt x="0" y="5639289"/>
                </a:lnTo>
                <a:close/>
              </a:path>
            </a:pathLst>
          </a:custGeom>
        </p:spPr>
        <p:txBody>
          <a:bodyPr wrap="square">
            <a:noAutofit/>
          </a:bodyPr>
          <a:lstStyle>
            <a:lvl1pPr marL="0" indent="0">
              <a:buNone/>
              <a:defRPr>
                <a:solidFill>
                  <a:schemeClr val="bg1">
                    <a:lumMod val="75000"/>
                  </a:schemeClr>
                </a:solidFill>
              </a:defRPr>
            </a:lvl1pPr>
          </a:lstStyle>
          <a:p>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1000" fill="hold"/>
                                        <p:tgtEl>
                                          <p:spTgt spid="13"/>
                                        </p:tgtEl>
                                        <p:attrNameLst>
                                          <p:attrName>ppt_x</p:attrName>
                                        </p:attrNameLst>
                                      </p:cBhvr>
                                      <p:tavLst>
                                        <p:tav tm="0">
                                          <p:val>
                                            <p:strVal val="1+#ppt_w/2"/>
                                          </p:val>
                                        </p:tav>
                                        <p:tav tm="100000">
                                          <p:val>
                                            <p:strVal val="#ppt_x"/>
                                          </p:val>
                                        </p:tav>
                                      </p:tavLst>
                                    </p:anim>
                                    <p:anim calcmode="lin" valueType="num">
                                      <p:cBhvr additive="base">
                                        <p:cTn id="8" dur="1000" fill="hold"/>
                                        <p:tgtEl>
                                          <p:spTgt spid="13"/>
                                        </p:tgtEl>
                                        <p:attrNameLst>
                                          <p:attrName>ppt_y</p:attrName>
                                        </p:attrNameLst>
                                      </p:cBhvr>
                                      <p:tavLst>
                                        <p:tav tm="0">
                                          <p:val>
                                            <p:strVal val="#ppt_y"/>
                                          </p:val>
                                        </p:tav>
                                        <p:tav tm="100000">
                                          <p:val>
                                            <p:strVal val="#ppt_y"/>
                                          </p:val>
                                        </p:tav>
                                      </p:tavLst>
                                    </p:anim>
                                  </p:childTnLst>
                                </p:cTn>
                              </p:par>
                              <p:par>
                                <p:cTn id="9" presetID="53" presetClass="entr" presetSubtype="16" fill="hold" grpId="1" nodeType="withEffect" nodePh="1">
                                  <p:stCondLst>
                                    <p:cond delay="0"/>
                                  </p:stCondLst>
                                  <p:endCondLst>
                                    <p:cond evt="begin" delay="0">
                                      <p:tn val="9"/>
                                    </p:cond>
                                  </p:endCondLst>
                                  <p:childTnLst>
                                    <p:set>
                                      <p:cBhvr>
                                        <p:cTn id="10" dur="1" fill="hold">
                                          <p:stCondLst>
                                            <p:cond delay="0"/>
                                          </p:stCondLst>
                                        </p:cTn>
                                        <p:tgtEl>
                                          <p:spTgt spid="13"/>
                                        </p:tgtEl>
                                        <p:attrNameLst>
                                          <p:attrName>style.visibility</p:attrName>
                                        </p:attrNameLst>
                                      </p:cBhvr>
                                      <p:to>
                                        <p:strVal val="visible"/>
                                      </p:to>
                                    </p:set>
                                    <p:anim calcmode="lin" valueType="num">
                                      <p:cBhvr>
                                        <p:cTn id="11" dur="1000" fill="hold"/>
                                        <p:tgtEl>
                                          <p:spTgt spid="13"/>
                                        </p:tgtEl>
                                        <p:attrNameLst>
                                          <p:attrName>ppt_w</p:attrName>
                                        </p:attrNameLst>
                                      </p:cBhvr>
                                      <p:tavLst>
                                        <p:tav tm="0">
                                          <p:val>
                                            <p:fltVal val="0"/>
                                          </p:val>
                                        </p:tav>
                                        <p:tav tm="100000">
                                          <p:val>
                                            <p:strVal val="#ppt_w"/>
                                          </p:val>
                                        </p:tav>
                                      </p:tavLst>
                                    </p:anim>
                                    <p:anim calcmode="lin" valueType="num">
                                      <p:cBhvr>
                                        <p:cTn id="12" dur="1000" fill="hold"/>
                                        <p:tgtEl>
                                          <p:spTgt spid="13"/>
                                        </p:tgtEl>
                                        <p:attrNameLst>
                                          <p:attrName>ppt_h</p:attrName>
                                        </p:attrNameLst>
                                      </p:cBhvr>
                                      <p:tavLst>
                                        <p:tav tm="0">
                                          <p:val>
                                            <p:fltVal val="0"/>
                                          </p:val>
                                        </p:tav>
                                        <p:tav tm="100000">
                                          <p:val>
                                            <p:strVal val="#ppt_h"/>
                                          </p:val>
                                        </p:tav>
                                      </p:tavLst>
                                    </p:anim>
                                    <p:animEffect transition="in" filter="fade">
                                      <p:cBhvr>
                                        <p:cTn id="13"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hf sldNum="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ryptonary Template - 1">
    <p:spTree>
      <p:nvGrpSpPr>
        <p:cNvPr id="1" name=""/>
        <p:cNvGrpSpPr/>
        <p:nvPr/>
      </p:nvGrpSpPr>
      <p:grpSpPr>
        <a:xfrm>
          <a:off x="0" y="0"/>
          <a:ext cx="0" cy="0"/>
          <a:chOff x="0" y="0"/>
          <a:chExt cx="0" cy="0"/>
        </a:xfrm>
      </p:grpSpPr>
    </p:spTree>
  </p:cSld>
  <p:clrMapOvr>
    <a:masterClrMapping/>
  </p:clrMapOvr>
  <p:hf sldNum="0" ftr="0" dt="0"/>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6_Title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804483" y="-3212"/>
            <a:ext cx="3896349" cy="6858000"/>
          </a:xfrm>
          <a:custGeom>
            <a:avLst/>
            <a:gdLst>
              <a:gd name="connsiteX0" fmla="*/ 0 w 3693758"/>
              <a:gd name="connsiteY0" fmla="*/ 0 h 6858000"/>
              <a:gd name="connsiteX1" fmla="*/ 3693758 w 3693758"/>
              <a:gd name="connsiteY1" fmla="*/ 0 h 6858000"/>
              <a:gd name="connsiteX2" fmla="*/ 3693758 w 3693758"/>
              <a:gd name="connsiteY2" fmla="*/ 6858000 h 6858000"/>
              <a:gd name="connsiteX3" fmla="*/ 0 w 369375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93758" h="6858000">
                <a:moveTo>
                  <a:pt x="0" y="0"/>
                </a:moveTo>
                <a:lnTo>
                  <a:pt x="3693758" y="0"/>
                </a:lnTo>
                <a:lnTo>
                  <a:pt x="3693758" y="6858000"/>
                </a:lnTo>
                <a:lnTo>
                  <a:pt x="0" y="6858000"/>
                </a:lnTo>
                <a:close/>
              </a:path>
            </a:pathLst>
          </a:custGeom>
          <a:solidFill>
            <a:schemeClr val="bg1">
              <a:lumMod val="85000"/>
            </a:schemeClr>
          </a:solidFill>
        </p:spPr>
        <p:txBody>
          <a:bodyPr wrap="square">
            <a:noAutofit/>
          </a:bodyPr>
          <a:lstStyle/>
          <a:p>
            <a:endParaRPr lang="en-US"/>
          </a:p>
        </p:txBody>
      </p:sp>
    </p:spTree>
  </p:cSld>
  <p:clrMapOvr>
    <a:masterClrMapping/>
  </p:clrMapOvr>
  <p:hf sldNum="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15_Title Slide">
    <p:spTree>
      <p:nvGrpSpPr>
        <p:cNvPr id="1" name=""/>
        <p:cNvGrpSpPr/>
        <p:nvPr/>
      </p:nvGrpSpPr>
      <p:grpSpPr>
        <a:xfrm>
          <a:off x="0" y="0"/>
          <a:ext cx="0" cy="0"/>
          <a:chOff x="0" y="0"/>
          <a:chExt cx="0" cy="0"/>
        </a:xfrm>
      </p:grpSpPr>
      <p:sp>
        <p:nvSpPr>
          <p:cNvPr id="9" name="Picture Placeholder 3"/>
          <p:cNvSpPr>
            <a:spLocks noGrp="1"/>
          </p:cNvSpPr>
          <p:nvPr>
            <p:ph type="pic" sz="quarter" idx="14"/>
          </p:nvPr>
        </p:nvSpPr>
        <p:spPr>
          <a:xfrm>
            <a:off x="0" y="1"/>
            <a:ext cx="12192001" cy="6858000"/>
          </a:xfrm>
          <a:custGeom>
            <a:avLst/>
            <a:gdLst>
              <a:gd name="connsiteX0" fmla="*/ 0 w 10618839"/>
              <a:gd name="connsiteY0" fmla="*/ 0 h 5810865"/>
              <a:gd name="connsiteX1" fmla="*/ 10618839 w 10618839"/>
              <a:gd name="connsiteY1" fmla="*/ 0 h 5810865"/>
              <a:gd name="connsiteX2" fmla="*/ 10618839 w 10618839"/>
              <a:gd name="connsiteY2" fmla="*/ 5810865 h 5810865"/>
              <a:gd name="connsiteX3" fmla="*/ 0 w 10618839"/>
              <a:gd name="connsiteY3" fmla="*/ 5810865 h 5810865"/>
            </a:gdLst>
            <a:ahLst/>
            <a:cxnLst>
              <a:cxn ang="0">
                <a:pos x="connsiteX0" y="connsiteY0"/>
              </a:cxn>
              <a:cxn ang="0">
                <a:pos x="connsiteX1" y="connsiteY1"/>
              </a:cxn>
              <a:cxn ang="0">
                <a:pos x="connsiteX2" y="connsiteY2"/>
              </a:cxn>
              <a:cxn ang="0">
                <a:pos x="connsiteX3" y="connsiteY3"/>
              </a:cxn>
            </a:cxnLst>
            <a:rect l="l" t="t" r="r" b="b"/>
            <a:pathLst>
              <a:path w="10618839" h="5810865">
                <a:moveTo>
                  <a:pt x="0" y="0"/>
                </a:moveTo>
                <a:lnTo>
                  <a:pt x="10618839" y="0"/>
                </a:lnTo>
                <a:lnTo>
                  <a:pt x="10618839" y="5810865"/>
                </a:lnTo>
                <a:lnTo>
                  <a:pt x="0" y="5810865"/>
                </a:lnTo>
                <a:close/>
              </a:path>
            </a:pathLst>
          </a:custGeom>
          <a:noFill/>
        </p:spPr>
        <p:txBody>
          <a:bodyPr wrap="square">
            <a:noAutofit/>
          </a:bodyPr>
          <a:lstStyle>
            <a:lvl1pPr marL="0" indent="0" algn="ctr">
              <a:buNone/>
              <a:defRPr sz="1200">
                <a:solidFill>
                  <a:schemeClr val="bg1"/>
                </a:solidFill>
              </a:defRPr>
            </a:lvl1pPr>
          </a:lstStyle>
          <a:p>
            <a:endParaRPr lang="id-ID"/>
          </a:p>
        </p:txBody>
      </p:sp>
      <p:sp>
        <p:nvSpPr>
          <p:cNvPr id="2" name="Picture Placeholder 3"/>
          <p:cNvSpPr>
            <a:spLocks noGrp="1"/>
          </p:cNvSpPr>
          <p:nvPr>
            <p:ph type="pic" sz="quarter" idx="15"/>
          </p:nvPr>
        </p:nvSpPr>
        <p:spPr>
          <a:xfrm>
            <a:off x="1059543" y="1002890"/>
            <a:ext cx="4998357" cy="5855110"/>
          </a:xfrm>
          <a:custGeom>
            <a:avLst/>
            <a:gdLst>
              <a:gd name="connsiteX0" fmla="*/ 0 w 10618839"/>
              <a:gd name="connsiteY0" fmla="*/ 0 h 5810865"/>
              <a:gd name="connsiteX1" fmla="*/ 10618839 w 10618839"/>
              <a:gd name="connsiteY1" fmla="*/ 0 h 5810865"/>
              <a:gd name="connsiteX2" fmla="*/ 10618839 w 10618839"/>
              <a:gd name="connsiteY2" fmla="*/ 5810865 h 5810865"/>
              <a:gd name="connsiteX3" fmla="*/ 0 w 10618839"/>
              <a:gd name="connsiteY3" fmla="*/ 5810865 h 5810865"/>
            </a:gdLst>
            <a:ahLst/>
            <a:cxnLst>
              <a:cxn ang="0">
                <a:pos x="connsiteX0" y="connsiteY0"/>
              </a:cxn>
              <a:cxn ang="0">
                <a:pos x="connsiteX1" y="connsiteY1"/>
              </a:cxn>
              <a:cxn ang="0">
                <a:pos x="connsiteX2" y="connsiteY2"/>
              </a:cxn>
              <a:cxn ang="0">
                <a:pos x="connsiteX3" y="connsiteY3"/>
              </a:cxn>
            </a:cxnLst>
            <a:rect l="l" t="t" r="r" b="b"/>
            <a:pathLst>
              <a:path w="10618839" h="5810865">
                <a:moveTo>
                  <a:pt x="0" y="0"/>
                </a:moveTo>
                <a:lnTo>
                  <a:pt x="10618839" y="0"/>
                </a:lnTo>
                <a:lnTo>
                  <a:pt x="10618839" y="5810865"/>
                </a:lnTo>
                <a:lnTo>
                  <a:pt x="0" y="5810865"/>
                </a:lnTo>
                <a:close/>
              </a:path>
            </a:pathLst>
          </a:custGeom>
          <a:noFill/>
          <a:effectLst>
            <a:outerShdw blurRad="1270000" dist="1524000" sx="80000" sy="80000" algn="l" rotWithShape="0">
              <a:prstClr val="black">
                <a:alpha val="40000"/>
              </a:prstClr>
            </a:outerShdw>
          </a:effectLst>
        </p:spPr>
        <p:txBody>
          <a:bodyPr wrap="square">
            <a:noAutofit/>
          </a:bodyPr>
          <a:lstStyle>
            <a:lvl1pPr marL="0" indent="0" algn="ctr">
              <a:buNone/>
              <a:defRPr sz="1200">
                <a:solidFill>
                  <a:schemeClr val="bg1"/>
                </a:solidFill>
              </a:defRPr>
            </a:lvl1pPr>
          </a:lstStyle>
          <a:p>
            <a:endParaRPr lang="id-ID"/>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nodePh="1">
                                  <p:stCondLst>
                                    <p:cond delay="1000"/>
                                  </p:stCondLst>
                                  <p:endCondLst>
                                    <p:cond evt="begin" delay="0">
                                      <p:tn val="5"/>
                                    </p:cond>
                                  </p:end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53" presetClass="entr" presetSubtype="16" fill="hold" grpId="1" nodeType="withEffect" nodePh="1">
                                  <p:stCondLst>
                                    <p:cond delay="1000"/>
                                  </p:stCondLst>
                                  <p:endCondLst>
                                    <p:cond evt="begin" delay="0">
                                      <p:tn val="9"/>
                                    </p:cond>
                                  </p:endCondLst>
                                  <p:childTnLst>
                                    <p:set>
                                      <p:cBhvr>
                                        <p:cTn id="10" dur="1" fill="hold">
                                          <p:stCondLst>
                                            <p:cond delay="0"/>
                                          </p:stCondLst>
                                        </p:cTn>
                                        <p:tgtEl>
                                          <p:spTgt spid="2"/>
                                        </p:tgtEl>
                                        <p:attrNameLst>
                                          <p:attrName>style.visibility</p:attrName>
                                        </p:attrNameLst>
                                      </p:cBhvr>
                                      <p:to>
                                        <p:strVal val="visible"/>
                                      </p:to>
                                    </p:set>
                                    <p:anim calcmode="lin" valueType="num">
                                      <p:cBhvr>
                                        <p:cTn id="11" dur="1000" fill="hold"/>
                                        <p:tgtEl>
                                          <p:spTgt spid="2"/>
                                        </p:tgtEl>
                                        <p:attrNameLst>
                                          <p:attrName>ppt_w</p:attrName>
                                        </p:attrNameLst>
                                      </p:cBhvr>
                                      <p:tavLst>
                                        <p:tav tm="0">
                                          <p:val>
                                            <p:fltVal val="0"/>
                                          </p:val>
                                        </p:tav>
                                        <p:tav tm="100000">
                                          <p:val>
                                            <p:strVal val="#ppt_w"/>
                                          </p:val>
                                        </p:tav>
                                      </p:tavLst>
                                    </p:anim>
                                    <p:anim calcmode="lin" valueType="num">
                                      <p:cBhvr>
                                        <p:cTn id="12" dur="1000" fill="hold"/>
                                        <p:tgtEl>
                                          <p:spTgt spid="2"/>
                                        </p:tgtEl>
                                        <p:attrNameLst>
                                          <p:attrName>ppt_h</p:attrName>
                                        </p:attrNameLst>
                                      </p:cBhvr>
                                      <p:tavLst>
                                        <p:tav tm="0">
                                          <p:val>
                                            <p:fltVal val="0"/>
                                          </p:val>
                                        </p:tav>
                                        <p:tav tm="100000">
                                          <p:val>
                                            <p:strVal val="#ppt_h"/>
                                          </p:val>
                                        </p:tav>
                                      </p:tavLst>
                                    </p:anim>
                                    <p:animEffect transition="in" filter="fade">
                                      <p:cBhvr>
                                        <p:cTn id="13" dur="1000"/>
                                        <p:tgtEl>
                                          <p:spTgt spid="2"/>
                                        </p:tgtEl>
                                      </p:cBhvr>
                                    </p:animEffect>
                                  </p:childTnLst>
                                </p:cTn>
                              </p:par>
                              <p:par>
                                <p:cTn id="14" presetID="10" presetClass="entr" presetSubtype="0" fill="hold" grpId="0" nodeType="withEffect" nodePh="1">
                                  <p:stCondLst>
                                    <p:cond delay="1000"/>
                                  </p:stCondLst>
                                  <p:endCondLst>
                                    <p:cond evt="begin" delay="0">
                                      <p:tn val="14"/>
                                    </p:cond>
                                  </p:end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2" grpId="0"/>
      <p:bldP spid="2" grpId="1"/>
    </p:bldLst>
  </p:timing>
  <p:hf sldNum="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EE11ECF-D4C8-74D4-A731-3B62D4500845}"/>
              </a:ext>
            </a:extLst>
          </p:cNvPr>
          <p:cNvSpPr>
            <a:spLocks noGrp="1"/>
          </p:cNvSpPr>
          <p:nvPr>
            <p:ph type="dt" sz="half" idx="10"/>
          </p:nvPr>
        </p:nvSpPr>
        <p:spPr/>
        <p:txBody>
          <a:bodyPr/>
          <a:lstStyle/>
          <a:p>
            <a:fld id="{C1E9624D-FE2D-4597-B311-55080AF42397}" type="datetimeFigureOut">
              <a:rPr lang="en-US" smtClean="0"/>
              <a:t>2/26/2024</a:t>
            </a:fld>
            <a:endParaRPr lang="en-US"/>
          </a:p>
        </p:txBody>
      </p:sp>
      <p:sp>
        <p:nvSpPr>
          <p:cNvPr id="4" name="Footer Placeholder 3">
            <a:extLst>
              <a:ext uri="{FF2B5EF4-FFF2-40B4-BE49-F238E27FC236}">
                <a16:creationId xmlns:a16="http://schemas.microsoft.com/office/drawing/2014/main" id="{DB85B175-83FF-DAAA-E479-2028076C073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6CACBA-1D1C-50B8-579A-DFC0D210CF62}"/>
              </a:ext>
            </a:extLst>
          </p:cNvPr>
          <p:cNvSpPr>
            <a:spLocks noGrp="1"/>
          </p:cNvSpPr>
          <p:nvPr>
            <p:ph type="sldNum" sz="quarter" idx="12"/>
          </p:nvPr>
        </p:nvSpPr>
        <p:spPr/>
        <p:txBody>
          <a:bodyPr/>
          <a:lstStyle/>
          <a:p>
            <a:fld id="{ED4EED9A-F093-4465-B20F-8EFB89AAADCA}" type="slidenum">
              <a:rPr lang="en-US" smtClean="0"/>
              <a:t>‹#›</a:t>
            </a:fld>
            <a:endParaRPr lang="en-US"/>
          </a:p>
        </p:txBody>
      </p:sp>
    </p:spTree>
    <p:extLst>
      <p:ext uri="{BB962C8B-B14F-4D97-AF65-F5344CB8AC3E}">
        <p14:creationId xmlns:p14="http://schemas.microsoft.com/office/powerpoint/2010/main" val="13369358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609600" y="274638"/>
            <a:ext cx="10972800" cy="114300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609600" y="1600201"/>
            <a:ext cx="10972800" cy="4525963"/>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1"/>
            <a:ext cx="2844800" cy="365125"/>
          </a:xfrm>
          <a:prstGeom prst="rect">
            <a:avLst/>
          </a:prstGeom>
        </p:spPr>
        <p:txBody>
          <a:bodyPr/>
          <a:lstStyle/>
          <a:p>
            <a:fld id="{2E3AAC11-D570-4EA9-AFC0-30FB72BA45EB}" type="datetimeFigureOut">
              <a:rPr lang="zh-CN" altLang="en-US" smtClean="0">
                <a:solidFill>
                  <a:prstClr val="black"/>
                </a:solidFill>
              </a:rPr>
              <a:pPr/>
              <a:t>2024/2/26</a:t>
            </a:fld>
            <a:endParaRPr lang="zh-CN" altLang="en-US">
              <a:solidFill>
                <a:prstClr val="black"/>
              </a:solidFill>
            </a:endParaRPr>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endParaRPr lang="zh-CN" altLang="en-US">
              <a:solidFill>
                <a:prstClr val="black"/>
              </a:solidFill>
            </a:endParaRPr>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fld id="{55ECCFAA-F4FB-487C-9F1E-C8836D0C3DC9}"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1243796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839200" y="274639"/>
            <a:ext cx="2743200" cy="5851525"/>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609600" y="274639"/>
            <a:ext cx="8026400" cy="5851525"/>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609600" y="6356351"/>
            <a:ext cx="2844800" cy="365125"/>
          </a:xfrm>
          <a:prstGeom prst="rect">
            <a:avLst/>
          </a:prstGeom>
        </p:spPr>
        <p:txBody>
          <a:bodyPr/>
          <a:lstStyle/>
          <a:p>
            <a:fld id="{2E3AAC11-D570-4EA9-AFC0-30FB72BA45EB}" type="datetimeFigureOut">
              <a:rPr lang="zh-CN" altLang="en-US" smtClean="0">
                <a:solidFill>
                  <a:prstClr val="black"/>
                </a:solidFill>
              </a:rPr>
              <a:pPr/>
              <a:t>2024/2/26</a:t>
            </a:fld>
            <a:endParaRPr lang="zh-CN" altLang="en-US">
              <a:solidFill>
                <a:prstClr val="black"/>
              </a:solidFill>
            </a:endParaRPr>
          </a:p>
        </p:txBody>
      </p:sp>
      <p:sp>
        <p:nvSpPr>
          <p:cNvPr id="5" name="页脚占位符 4"/>
          <p:cNvSpPr>
            <a:spLocks noGrp="1"/>
          </p:cNvSpPr>
          <p:nvPr>
            <p:ph type="ftr" sz="quarter" idx="11"/>
          </p:nvPr>
        </p:nvSpPr>
        <p:spPr>
          <a:xfrm>
            <a:off x="4165600" y="6356351"/>
            <a:ext cx="3860800" cy="365125"/>
          </a:xfrm>
          <a:prstGeom prst="rect">
            <a:avLst/>
          </a:prstGeom>
        </p:spPr>
        <p:txBody>
          <a:bodyPr/>
          <a:lstStyle/>
          <a:p>
            <a:endParaRPr lang="zh-CN" altLang="en-US">
              <a:solidFill>
                <a:prstClr val="black"/>
              </a:solidFill>
            </a:endParaRPr>
          </a:p>
        </p:txBody>
      </p:sp>
      <p:sp>
        <p:nvSpPr>
          <p:cNvPr id="6" name="灯片编号占位符 5"/>
          <p:cNvSpPr>
            <a:spLocks noGrp="1"/>
          </p:cNvSpPr>
          <p:nvPr>
            <p:ph type="sldNum" sz="quarter" idx="12"/>
          </p:nvPr>
        </p:nvSpPr>
        <p:spPr>
          <a:xfrm>
            <a:off x="8737600" y="6356351"/>
            <a:ext cx="2844800" cy="365125"/>
          </a:xfrm>
          <a:prstGeom prst="rect">
            <a:avLst/>
          </a:prstGeom>
        </p:spPr>
        <p:txBody>
          <a:bodyPr/>
          <a:lstStyle/>
          <a:p>
            <a:fld id="{55ECCFAA-F4FB-487C-9F1E-C8836D0C3DC9}" type="slidenum">
              <a:rPr lang="zh-CN" altLang="en-US" smtClean="0">
                <a:solidFill>
                  <a:prstClr val="black"/>
                </a:solidFill>
              </a:rPr>
              <a:pPr/>
              <a:t>‹#›</a:t>
            </a:fld>
            <a:endParaRPr lang="zh-CN" altLang="en-US">
              <a:solidFill>
                <a:prstClr val="black"/>
              </a:solidFill>
            </a:endParaRPr>
          </a:p>
        </p:txBody>
      </p:sp>
    </p:spTree>
    <p:extLst>
      <p:ext uri="{BB962C8B-B14F-4D97-AF65-F5344CB8AC3E}">
        <p14:creationId xmlns:p14="http://schemas.microsoft.com/office/powerpoint/2010/main" val="28127721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5885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1_Custom Layout">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4079875" y="1363662"/>
            <a:ext cx="4056062" cy="4130675"/>
          </a:xfrm>
          <a:prstGeom prst="rect">
            <a:avLst/>
          </a:prstGeom>
        </p:spPr>
        <p:txBody>
          <a:bodyPr/>
          <a:lstStyle/>
          <a:p>
            <a:endParaRPr lang="vi-VN"/>
          </a:p>
        </p:txBody>
      </p:sp>
    </p:spTree>
  </p:cSld>
  <p:clrMapOvr>
    <a:masterClrMapping/>
  </p:clrMapOvr>
  <p:hf sldNum="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9934056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自定义版式">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E1E1389D-4455-49FF-9029-D9E16D60B08A}" type="datetimeFigureOut">
              <a:rPr lang="zh-CN" altLang="en-US" smtClean="0"/>
              <a:t>2024/2/26</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CA48EC8E-4068-4E7A-9E85-48DAD8F96FBE}" type="slidenum">
              <a:rPr lang="zh-CN" altLang="en-US" smtClean="0"/>
              <a:t>‹#›</a:t>
            </a:fld>
            <a:endParaRPr lang="zh-CN" altLang="en-US"/>
          </a:p>
        </p:txBody>
      </p:sp>
    </p:spTree>
    <p:extLst>
      <p:ext uri="{BB962C8B-B14F-4D97-AF65-F5344CB8AC3E}">
        <p14:creationId xmlns:p14="http://schemas.microsoft.com/office/powerpoint/2010/main" val="400951260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69.xml"/><Relationship Id="rId2" Type="http://schemas.openxmlformats.org/officeDocument/2006/relationships/slideLayout" Target="../slideLayouts/slideLayout68.xml"/><Relationship Id="rId1" Type="http://schemas.openxmlformats.org/officeDocument/2006/relationships/slideLayout" Target="../slideLayouts/slideLayout67.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1E1389D-4455-49FF-9029-D9E16D60B08A}" type="datetimeFigureOut">
              <a:rPr lang="zh-CN" altLang="en-US" smtClean="0"/>
              <a:t>2024/2/26</a:t>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A48EC8E-4068-4E7A-9E85-48DAD8F96FBE}"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61" r:id="rId8"/>
    <p:sldLayoutId id="2147483662"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674" r:id="rId21"/>
    <p:sldLayoutId id="2147483675" r:id="rId22"/>
    <p:sldLayoutId id="2147483676" r:id="rId23"/>
    <p:sldLayoutId id="2147483677" r:id="rId24"/>
    <p:sldLayoutId id="2147483678" r:id="rId25"/>
    <p:sldLayoutId id="2147483679" r:id="rId26"/>
    <p:sldLayoutId id="2147483680" r:id="rId27"/>
    <p:sldLayoutId id="2147483681" r:id="rId28"/>
    <p:sldLayoutId id="2147483682" r:id="rId29"/>
    <p:sldLayoutId id="2147483683" r:id="rId30"/>
    <p:sldLayoutId id="2147483684" r:id="rId31"/>
    <p:sldLayoutId id="2147483685" r:id="rId32"/>
    <p:sldLayoutId id="2147483686" r:id="rId33"/>
    <p:sldLayoutId id="2147483687" r:id="rId34"/>
    <p:sldLayoutId id="2147483688" r:id="rId35"/>
    <p:sldLayoutId id="2147483689" r:id="rId36"/>
    <p:sldLayoutId id="2147483690" r:id="rId37"/>
    <p:sldLayoutId id="2147483691" r:id="rId38"/>
    <p:sldLayoutId id="2147483692" r:id="rId39"/>
    <p:sldLayoutId id="2147483693" r:id="rId40"/>
    <p:sldLayoutId id="2147483694" r:id="rId41"/>
    <p:sldLayoutId id="2147483695" r:id="rId42"/>
    <p:sldLayoutId id="2147483696" r:id="rId43"/>
    <p:sldLayoutId id="2147483697" r:id="rId44"/>
    <p:sldLayoutId id="2147483698" r:id="rId45"/>
    <p:sldLayoutId id="2147483699" r:id="rId46"/>
    <p:sldLayoutId id="2147483700" r:id="rId47"/>
    <p:sldLayoutId id="2147483701" r:id="rId48"/>
    <p:sldLayoutId id="2147483702" r:id="rId49"/>
    <p:sldLayoutId id="2147483703" r:id="rId50"/>
    <p:sldLayoutId id="2147483704" r:id="rId51"/>
    <p:sldLayoutId id="2147483705" r:id="rId52"/>
    <p:sldLayoutId id="2147483706" r:id="rId53"/>
    <p:sldLayoutId id="2147483707" r:id="rId54"/>
    <p:sldLayoutId id="2147483708" r:id="rId55"/>
    <p:sldLayoutId id="2147483709" r:id="rId56"/>
    <p:sldLayoutId id="2147483710" r:id="rId57"/>
    <p:sldLayoutId id="2147483711" r:id="rId58"/>
    <p:sldLayoutId id="2147483712" r:id="rId59"/>
    <p:sldLayoutId id="2147483713" r:id="rId60"/>
    <p:sldLayoutId id="2147483656" r:id="rId61"/>
    <p:sldLayoutId id="2147483657" r:id="rId62"/>
    <p:sldLayoutId id="2147483658" r:id="rId63"/>
    <p:sldLayoutId id="2147483659" r:id="rId64"/>
    <p:sldLayoutId id="2147483660" r:id="rId65"/>
    <p:sldLayoutId id="2147483718" r:id="rId66"/>
  </p:sldLayoutIdLst>
  <p:hf sldNum="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666017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hyperlink" Target="https://www.freeppt7.com/" TargetMode="External"/><Relationship Id="rId2" Type="http://schemas.openxmlformats.org/officeDocument/2006/relationships/image" Target="../media/image1.png"/><Relationship Id="rId1" Type="http://schemas.openxmlformats.org/officeDocument/2006/relationships/slideLayout" Target="../slideLayouts/slideLayout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8.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7.png"/><Relationship Id="rId5" Type="http://schemas.openxmlformats.org/officeDocument/2006/relationships/notesSlide" Target="../notesSlides/notesSlide8.xml"/><Relationship Id="rId4"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0.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9.png"/><Relationship Id="rId5" Type="http://schemas.openxmlformats.org/officeDocument/2006/relationships/notesSlide" Target="../notesSlides/notesSlide9.xml"/><Relationship Id="rId4" Type="http://schemas.openxmlformats.org/officeDocument/2006/relationships/slideLayout" Target="../slideLayouts/slideLayout61.xml"/></Relationships>
</file>

<file path=ppt/slides/_rels/slide1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32.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1.png"/><Relationship Id="rId5" Type="http://schemas.openxmlformats.org/officeDocument/2006/relationships/notesSlide" Target="../notesSlides/notesSlide10.xml"/><Relationship Id="rId4" Type="http://schemas.openxmlformats.org/officeDocument/2006/relationships/slideLayout" Target="../slideLayouts/slideLayout61.xml"/></Relationships>
</file>

<file path=ppt/slides/_rels/slide1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34.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3.png"/><Relationship Id="rId5" Type="http://schemas.openxmlformats.org/officeDocument/2006/relationships/notesSlide" Target="../notesSlides/notesSlide11.xml"/><Relationship Id="rId4"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3.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2.xml"/><Relationship Id="rId1" Type="http://schemas.openxmlformats.org/officeDocument/2006/relationships/slideLayout" Target="../slideLayouts/slideLayout65.xml"/><Relationship Id="rId5" Type="http://schemas.openxmlformats.org/officeDocument/2006/relationships/image" Target="../media/image43.jpeg"/><Relationship Id="rId4" Type="http://schemas.openxmlformats.org/officeDocument/2006/relationships/image" Target="../media/image42.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image" Target="../media/image46.svg"/></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4.xml"/><Relationship Id="rId1" Type="http://schemas.openxmlformats.org/officeDocument/2006/relationships/slideLayout" Target="../slideLayouts/slideLayout4.xml"/><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64.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28.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62.xml"/><Relationship Id="rId6" Type="http://schemas.openxmlformats.org/officeDocument/2006/relationships/image" Target="../media/image57.png"/><Relationship Id="rId5" Type="http://schemas.openxmlformats.org/officeDocument/2006/relationships/image" Target="../media/image54.png"/><Relationship Id="rId4" Type="http://schemas.openxmlformats.org/officeDocument/2006/relationships/image" Target="../media/image5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53.png"/><Relationship Id="rId4" Type="http://schemas.openxmlformats.org/officeDocument/2006/relationships/image" Target="../media/image58.png"/></Relationships>
</file>

<file path=ppt/slides/_rels/slide3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8" Type="http://schemas.openxmlformats.org/officeDocument/2006/relationships/hyperlink" Target="https://twitter.com/freeppt7_com" TargetMode="External"/><Relationship Id="rId13" Type="http://schemas.openxmlformats.org/officeDocument/2006/relationships/hyperlink" Target="https://www.freeppt7.com/" TargetMode="External"/><Relationship Id="rId3" Type="http://schemas.openxmlformats.org/officeDocument/2006/relationships/image" Target="../media/image61.png"/><Relationship Id="rId7" Type="http://schemas.openxmlformats.org/officeDocument/2006/relationships/image" Target="../media/image63.png"/><Relationship Id="rId12" Type="http://schemas.openxmlformats.org/officeDocument/2006/relationships/hyperlink" Target="https://www.freeppt7.com/ggslide-school/" TargetMode="External"/><Relationship Id="rId2" Type="http://schemas.openxmlformats.org/officeDocument/2006/relationships/hyperlink" Target="https://www.facebook.com/freeppt7/" TargetMode="External"/><Relationship Id="rId1" Type="http://schemas.openxmlformats.org/officeDocument/2006/relationships/slideLayout" Target="../slideLayouts/slideLayout66.xml"/><Relationship Id="rId6" Type="http://schemas.openxmlformats.org/officeDocument/2006/relationships/hyperlink" Target="https://www.youtube.com/@Slidestemplatesfree" TargetMode="External"/><Relationship Id="rId11" Type="http://schemas.openxmlformats.org/officeDocument/2006/relationships/image" Target="../media/image65.png"/><Relationship Id="rId5" Type="http://schemas.openxmlformats.org/officeDocument/2006/relationships/image" Target="../media/image62.png"/><Relationship Id="rId10" Type="http://schemas.openxmlformats.org/officeDocument/2006/relationships/hyperlink" Target="https://www.linkedin.com/in/liu-kaiwei-b180991a9/" TargetMode="External"/><Relationship Id="rId4" Type="http://schemas.openxmlformats.org/officeDocument/2006/relationships/hyperlink" Target="https://www.instagram.com/slidesfree/" TargetMode="External"/><Relationship Id="rId9" Type="http://schemas.openxmlformats.org/officeDocument/2006/relationships/image" Target="../media/image64.png"/><Relationship Id="rId14" Type="http://schemas.openxmlformats.org/officeDocument/2006/relationships/hyperlink" Target="http://www.freeppt7.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3.xml"/><Relationship Id="rId4" Type="http://schemas.openxmlformats.org/officeDocument/2006/relationships/hyperlink" Target="https://www.freeppt7.com/"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18.png"/><Relationship Id="rId5" Type="http://schemas.openxmlformats.org/officeDocument/2006/relationships/image" Target="../media/image24.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978130" y="-1433735"/>
            <a:ext cx="8398413" cy="8398413"/>
          </a:xfrm>
          <a:prstGeom prst="ellipse">
            <a:avLst/>
          </a:prstGeom>
          <a:solidFill>
            <a:schemeClr val="accent6">
              <a:alpha val="2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3" name="椭圆 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096000" y="-244966"/>
            <a:ext cx="6243710" cy="6243710"/>
          </a:xfrm>
          <a:prstGeom prst="ellipse">
            <a:avLst/>
          </a:prstGeom>
          <a:solidFill>
            <a:schemeClr val="accent5">
              <a:alpha val="29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6" name="Freeform: Shape 7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162675" y="1701569"/>
            <a:ext cx="6029325" cy="5156430"/>
          </a:xfrm>
          <a:custGeom>
            <a:avLst/>
            <a:gdLst>
              <a:gd name="connsiteX0" fmla="*/ 4889646 w 6863283"/>
              <a:gd name="connsiteY0" fmla="*/ 777 h 5869652"/>
              <a:gd name="connsiteX1" fmla="*/ 6329151 w 6863283"/>
              <a:gd name="connsiteY1" fmla="*/ 305501 h 5869652"/>
              <a:gd name="connsiteX2" fmla="*/ 6817152 w 6863283"/>
              <a:gd name="connsiteY2" fmla="*/ 304283 h 5869652"/>
              <a:gd name="connsiteX3" fmla="*/ 6863283 w 6863283"/>
              <a:gd name="connsiteY3" fmla="*/ 298138 h 5869652"/>
              <a:gd name="connsiteX4" fmla="*/ 6863283 w 6863283"/>
              <a:gd name="connsiteY4" fmla="*/ 5869652 h 5869652"/>
              <a:gd name="connsiteX5" fmla="*/ 0 w 6863283"/>
              <a:gd name="connsiteY5" fmla="*/ 5869652 h 5869652"/>
              <a:gd name="connsiteX6" fmla="*/ 42660 w 6863283"/>
              <a:gd name="connsiteY6" fmla="*/ 5527482 h 5869652"/>
              <a:gd name="connsiteX7" fmla="*/ 974673 w 6863283"/>
              <a:gd name="connsiteY7" fmla="*/ 3999970 h 5869652"/>
              <a:gd name="connsiteX8" fmla="*/ 2395119 w 6863283"/>
              <a:gd name="connsiteY8" fmla="*/ 3680205 h 5869652"/>
              <a:gd name="connsiteX9" fmla="*/ 3406686 w 6863283"/>
              <a:gd name="connsiteY9" fmla="*/ 3921742 h 5869652"/>
              <a:gd name="connsiteX10" fmla="*/ 4357869 w 6863283"/>
              <a:gd name="connsiteY10" fmla="*/ 3002493 h 5869652"/>
              <a:gd name="connsiteX11" fmla="*/ 4039278 w 6863283"/>
              <a:gd name="connsiteY11" fmla="*/ 2399168 h 5869652"/>
              <a:gd name="connsiteX12" fmla="*/ 3760975 w 6863283"/>
              <a:gd name="connsiteY12" fmla="*/ 1093551 h 5869652"/>
              <a:gd name="connsiteX13" fmla="*/ 4546844 w 6863283"/>
              <a:gd name="connsiteY13" fmla="*/ 65683 h 5869652"/>
              <a:gd name="connsiteX14" fmla="*/ 4889646 w 6863283"/>
              <a:gd name="connsiteY14" fmla="*/ 777 h 586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63283" h="5869652">
                <a:moveTo>
                  <a:pt x="4889646" y="777"/>
                </a:moveTo>
                <a:cubicBezTo>
                  <a:pt x="5377612" y="-16445"/>
                  <a:pt x="5838736" y="258066"/>
                  <a:pt x="6329151" y="305501"/>
                </a:cubicBezTo>
                <a:cubicBezTo>
                  <a:pt x="6491688" y="321273"/>
                  <a:pt x="6654954" y="319464"/>
                  <a:pt x="6817152" y="304283"/>
                </a:cubicBezTo>
                <a:lnTo>
                  <a:pt x="6863283" y="298138"/>
                </a:lnTo>
                <a:lnTo>
                  <a:pt x="6863283" y="5869652"/>
                </a:lnTo>
                <a:lnTo>
                  <a:pt x="0" y="5869652"/>
                </a:lnTo>
                <a:lnTo>
                  <a:pt x="42660" y="5527482"/>
                </a:lnTo>
                <a:cubicBezTo>
                  <a:pt x="156123" y="4918769"/>
                  <a:pt x="456343" y="4347990"/>
                  <a:pt x="974673" y="3999970"/>
                </a:cubicBezTo>
                <a:cubicBezTo>
                  <a:pt x="1386944" y="3723235"/>
                  <a:pt x="1903920" y="3606750"/>
                  <a:pt x="2395119" y="3680205"/>
                </a:cubicBezTo>
                <a:cubicBezTo>
                  <a:pt x="2738368" y="3731516"/>
                  <a:pt x="3063683" y="3870617"/>
                  <a:pt x="3406686" y="3921742"/>
                </a:cubicBezTo>
                <a:cubicBezTo>
                  <a:pt x="4024378" y="4013948"/>
                  <a:pt x="4613912" y="3698968"/>
                  <a:pt x="4357869" y="3002493"/>
                </a:cubicBezTo>
                <a:cubicBezTo>
                  <a:pt x="4279320" y="2788717"/>
                  <a:pt x="4147957" y="2599171"/>
                  <a:pt x="4039278" y="2399168"/>
                </a:cubicBezTo>
                <a:cubicBezTo>
                  <a:pt x="3822897" y="2001225"/>
                  <a:pt x="3693142" y="1541357"/>
                  <a:pt x="3760975" y="1093551"/>
                </a:cubicBezTo>
                <a:cubicBezTo>
                  <a:pt x="3828808" y="645747"/>
                  <a:pt x="4120092" y="217816"/>
                  <a:pt x="4546844" y="65683"/>
                </a:cubicBezTo>
                <a:cubicBezTo>
                  <a:pt x="4663001" y="24261"/>
                  <a:pt x="4777038" y="4751"/>
                  <a:pt x="4889646" y="777"/>
                </a:cubicBezTo>
                <a:close/>
              </a:path>
            </a:pathLst>
          </a:custGeom>
          <a:gradFill>
            <a:gsLst>
              <a:gs pos="16000">
                <a:schemeClr val="accent6">
                  <a:alpha val="21000"/>
                </a:schemeClr>
              </a:gs>
              <a:gs pos="100000">
                <a:schemeClr val="bg1">
                  <a:alpha val="700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Calibri"/>
              <a:ea typeface="微软雅黑"/>
              <a:sym typeface="Calibri"/>
            </a:endParaRPr>
          </a:p>
        </p:txBody>
      </p:sp>
      <p:sp>
        <p:nvSpPr>
          <p:cNvPr id="7" name="Freeform: Shape 7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471138" y="3369258"/>
            <a:ext cx="5720861" cy="3488741"/>
          </a:xfrm>
          <a:custGeom>
            <a:avLst/>
            <a:gdLst>
              <a:gd name="connsiteX0" fmla="*/ 5227202 w 5227202"/>
              <a:gd name="connsiteY0" fmla="*/ 0 h 3187694"/>
              <a:gd name="connsiteX1" fmla="*/ 5227202 w 5227202"/>
              <a:gd name="connsiteY1" fmla="*/ 3187694 h 3187694"/>
              <a:gd name="connsiteX2" fmla="*/ 0 w 5227202"/>
              <a:gd name="connsiteY2" fmla="*/ 3187694 h 3187694"/>
              <a:gd name="connsiteX3" fmla="*/ 9238 w 5227202"/>
              <a:gd name="connsiteY3" fmla="*/ 3171079 h 3187694"/>
              <a:gd name="connsiteX4" fmla="*/ 999604 w 5227202"/>
              <a:gd name="connsiteY4" fmla="*/ 2385361 h 3187694"/>
              <a:gd name="connsiteX5" fmla="*/ 3508692 w 5227202"/>
              <a:gd name="connsiteY5" fmla="*/ 2372090 h 3187694"/>
              <a:gd name="connsiteX6" fmla="*/ 5003645 w 5227202"/>
              <a:gd name="connsiteY6" fmla="*/ 345940 h 3187694"/>
              <a:gd name="connsiteX7" fmla="*/ 5121138 w 5227202"/>
              <a:gd name="connsiteY7" fmla="*/ 151990 h 318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7202" h="3187694">
                <a:moveTo>
                  <a:pt x="5227202" y="0"/>
                </a:moveTo>
                <a:lnTo>
                  <a:pt x="5227202" y="3187694"/>
                </a:lnTo>
                <a:lnTo>
                  <a:pt x="0" y="3187694"/>
                </a:lnTo>
                <a:lnTo>
                  <a:pt x="9238" y="3171079"/>
                </a:lnTo>
                <a:cubicBezTo>
                  <a:pt x="241446" y="2795115"/>
                  <a:pt x="584311" y="2511538"/>
                  <a:pt x="999604" y="2385361"/>
                </a:cubicBezTo>
                <a:cubicBezTo>
                  <a:pt x="1816327" y="2137318"/>
                  <a:pt x="2686002" y="2567896"/>
                  <a:pt x="3508692" y="2372090"/>
                </a:cubicBezTo>
                <a:cubicBezTo>
                  <a:pt x="4422630" y="2154677"/>
                  <a:pt x="4557634" y="1144080"/>
                  <a:pt x="5003645" y="345940"/>
                </a:cubicBezTo>
                <a:cubicBezTo>
                  <a:pt x="5040168" y="280609"/>
                  <a:pt x="5079542" y="215760"/>
                  <a:pt x="5121138" y="151990"/>
                </a:cubicBezTo>
                <a:close/>
              </a:path>
            </a:pathLst>
          </a:custGeom>
          <a:gradFill flip="none" rotWithShape="1">
            <a:gsLst>
              <a:gs pos="0">
                <a:schemeClr val="accent4">
                  <a:lumMod val="60000"/>
                  <a:lumOff val="40000"/>
                  <a:alpha val="0"/>
                </a:schemeClr>
              </a:gs>
              <a:gs pos="80000">
                <a:schemeClr val="accent4">
                  <a:alpha val="3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Calibri"/>
              <a:ea typeface="微软雅黑"/>
              <a:sym typeface="Calibri"/>
            </a:endParaRPr>
          </a:p>
        </p:txBody>
      </p:sp>
      <p:pic>
        <p:nvPicPr>
          <p:cNvPr id="8" name="图片 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a:stretch>
            <a:fillRect/>
          </a:stretch>
        </p:blipFill>
        <p:spPr>
          <a:xfrm flipH="1">
            <a:off x="5153482" y="154240"/>
            <a:ext cx="6382758" cy="6382758"/>
          </a:xfrm>
          <a:prstGeom prst="rect">
            <a:avLst/>
          </a:prstGeom>
          <a:effectLst>
            <a:outerShdw blurRad="304800" dir="18900000" sy="23000" kx="-1200000" algn="bl" rotWithShape="0">
              <a:prstClr val="black">
                <a:alpha val="20000"/>
              </a:prstClr>
            </a:outerShdw>
          </a:effectLst>
        </p:spPr>
      </p:pic>
      <p:sp>
        <p:nvSpPr>
          <p:cNvPr id="10" name="矩形: 圆角 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64942" y="154745"/>
            <a:ext cx="11662116" cy="534572"/>
          </a:xfrm>
          <a:prstGeom prst="roundRect">
            <a:avLst/>
          </a:prstGeom>
          <a:solidFill>
            <a:srgbClr val="F2E9DA">
              <a:alpha val="27059"/>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Calibri"/>
              <a:ea typeface="微软雅黑"/>
              <a:sym typeface="Calibri"/>
            </a:endParaRPr>
          </a:p>
        </p:txBody>
      </p:sp>
      <p:grpSp>
        <p:nvGrpSpPr>
          <p:cNvPr id="11" name="组合 1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384598" y="333328"/>
            <a:ext cx="5876040" cy="261610"/>
            <a:chOff x="6027473" y="260675"/>
            <a:chExt cx="5876040" cy="261610"/>
          </a:xfrm>
        </p:grpSpPr>
        <p:sp>
          <p:nvSpPr>
            <p:cNvPr id="12" name="TextBox 22"/>
            <p:cNvSpPr txBox="1"/>
            <p:nvPr/>
          </p:nvSpPr>
          <p:spPr>
            <a:xfrm>
              <a:off x="6027473" y="260675"/>
              <a:ext cx="578028"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ALL</a:t>
              </a:r>
            </a:p>
          </p:txBody>
        </p:sp>
        <p:sp>
          <p:nvSpPr>
            <p:cNvPr id="13" name="TextBox 29"/>
            <p:cNvSpPr txBox="1"/>
            <p:nvPr/>
          </p:nvSpPr>
          <p:spPr>
            <a:xfrm>
              <a:off x="6670009" y="260675"/>
              <a:ext cx="135789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WEB DESIGN</a:t>
              </a:r>
            </a:p>
          </p:txBody>
        </p:sp>
        <p:sp>
          <p:nvSpPr>
            <p:cNvPr id="14" name="TextBox 35"/>
            <p:cNvSpPr txBox="1"/>
            <p:nvPr/>
          </p:nvSpPr>
          <p:spPr>
            <a:xfrm>
              <a:off x="8093049" y="260675"/>
              <a:ext cx="114135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GRAPHICS</a:t>
              </a:r>
            </a:p>
          </p:txBody>
        </p:sp>
        <p:sp>
          <p:nvSpPr>
            <p:cNvPr id="15" name="TextBox 37"/>
            <p:cNvSpPr txBox="1"/>
            <p:nvPr/>
          </p:nvSpPr>
          <p:spPr>
            <a:xfrm>
              <a:off x="9298318" y="260675"/>
              <a:ext cx="95843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BRANDS</a:t>
              </a:r>
            </a:p>
          </p:txBody>
        </p:sp>
        <p:sp>
          <p:nvSpPr>
            <p:cNvPr id="16" name="TextBox 39"/>
            <p:cNvSpPr txBox="1"/>
            <p:nvPr/>
          </p:nvSpPr>
          <p:spPr>
            <a:xfrm>
              <a:off x="10299559" y="260675"/>
              <a:ext cx="160395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USER INTERFACE</a:t>
              </a:r>
            </a:p>
          </p:txBody>
        </p:sp>
      </p:grpSp>
      <p:sp>
        <p:nvSpPr>
          <p:cNvPr id="17" name="文本框 1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332485" y="1449205"/>
            <a:ext cx="6801728" cy="2554545"/>
          </a:xfrm>
          <a:prstGeom prst="rect">
            <a:avLst/>
          </a:prstGeom>
          <a:noFill/>
        </p:spPr>
        <p:txBody>
          <a:bodyPr wrap="square">
            <a:spAutoFit/>
          </a:bodyPr>
          <a:lstStyle/>
          <a:p>
            <a:r>
              <a:rPr lang="en-US" altLang="zh-CN" sz="7800" b="1" dirty="0">
                <a:solidFill>
                  <a:schemeClr val="tx1">
                    <a:lumMod val="75000"/>
                    <a:lumOff val="25000"/>
                  </a:schemeClr>
                </a:solidFill>
                <a:effectLst>
                  <a:outerShdw blurRad="88900" dist="127000" dir="2700000" algn="tl">
                    <a:srgbClr val="000000">
                      <a:alpha val="35000"/>
                    </a:srgbClr>
                  </a:outerShdw>
                </a:effectLst>
                <a:latin typeface="Calibri"/>
                <a:ea typeface="微软雅黑"/>
                <a:sym typeface="Calibri"/>
              </a:rPr>
              <a:t>Free </a:t>
            </a:r>
          </a:p>
          <a:p>
            <a:r>
              <a:rPr lang="en-US" altLang="zh-CN" sz="7800" b="1" dirty="0">
                <a:solidFill>
                  <a:schemeClr val="tx1">
                    <a:lumMod val="75000"/>
                    <a:lumOff val="25000"/>
                  </a:schemeClr>
                </a:solidFill>
                <a:effectLst>
                  <a:outerShdw blurRad="88900" dist="127000" dir="2700000" algn="tl">
                    <a:srgbClr val="000000">
                      <a:alpha val="35000"/>
                    </a:srgbClr>
                  </a:outerShdw>
                </a:effectLst>
                <a:latin typeface="Calibri"/>
                <a:ea typeface="微软雅黑"/>
                <a:sym typeface="Calibri"/>
              </a:rPr>
              <a:t>PPT Templates</a:t>
            </a:r>
            <a:endParaRPr lang="zh-CN" altLang="en-US" sz="7800" b="1" dirty="0">
              <a:solidFill>
                <a:schemeClr val="tx1">
                  <a:lumMod val="75000"/>
                  <a:lumOff val="25000"/>
                </a:schemeClr>
              </a:solidFill>
              <a:latin typeface="Calibri"/>
              <a:ea typeface="微软雅黑"/>
              <a:sym typeface="Calibri"/>
            </a:endParaRPr>
          </a:p>
        </p:txBody>
      </p:sp>
      <p:sp>
        <p:nvSpPr>
          <p:cNvPr id="18" name="TextBox 1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395903" y="3824671"/>
            <a:ext cx="4997466" cy="276422"/>
          </a:xfrm>
          <a:prstGeom prst="rect">
            <a:avLst/>
          </a:prstGeom>
          <a:ln w="12700">
            <a:miter lim="400000"/>
          </a:ln>
          <a:effectLst/>
        </p:spPr>
        <p:txBody>
          <a:bodyPr wrap="square" lIns="25400" tIns="25400" rIns="25400" bIns="25400">
            <a:spAutoFit/>
          </a:bodyPr>
          <a:lstStyle>
            <a:defPPr>
              <a:defRPr lang="zh-CN"/>
            </a:defPPr>
            <a:lvl1pPr algn="ctr">
              <a:lnSpc>
                <a:spcPct val="110000"/>
              </a:lnSpc>
              <a:defRPr sz="9600">
                <a:solidFill>
                  <a:schemeClr val="bg1"/>
                </a:solidFill>
                <a:effectLst>
                  <a:outerShdw blurRad="88900" dist="127000" dir="2700000" algn="tl">
                    <a:srgbClr val="000000">
                      <a:alpha val="35000"/>
                    </a:srgbClr>
                  </a:outerShdw>
                </a:effectLst>
                <a:latin typeface="Poppins SemiBold" panose="02000000000000000000"/>
                <a:ea typeface="Poppins SemiBold" panose="02000000000000000000"/>
                <a:cs typeface="Poppins SemiBold" panose="020000000000000000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a:r>
              <a:rPr lang="en-US" sz="1400" dirty="0">
                <a:solidFill>
                  <a:schemeClr val="tx1">
                    <a:lumMod val="75000"/>
                    <a:lumOff val="25000"/>
                  </a:schemeClr>
                </a:solidFill>
                <a:latin typeface="Calibri"/>
                <a:ea typeface="微软雅黑"/>
                <a:sym typeface="Calibri"/>
              </a:rPr>
              <a:t>Business Presentation  template.</a:t>
            </a:r>
          </a:p>
        </p:txBody>
      </p:sp>
      <p:sp>
        <p:nvSpPr>
          <p:cNvPr id="19" name="缺角矩形 1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978683" y="1015659"/>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20" name="缺角矩形 1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691024" y="4387605"/>
            <a:ext cx="576775" cy="576776"/>
          </a:xfrm>
          <a:prstGeom prst="plaque">
            <a:avLst>
              <a:gd name="adj" fmla="val 50000"/>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21" name="缺角矩形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772464" y="2372275"/>
            <a:ext cx="400093" cy="400094"/>
          </a:xfrm>
          <a:prstGeom prst="plaque">
            <a:avLst>
              <a:gd name="adj" fmla="val 50000"/>
            </a:avLst>
          </a:prstGeom>
          <a:solidFill>
            <a:srgbClr val="F7F797"/>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pic>
        <p:nvPicPr>
          <p:cNvPr id="5" name="图片 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48793" y="785442"/>
            <a:ext cx="1595161" cy="1595161"/>
          </a:xfrm>
          <a:prstGeom prst="rect">
            <a:avLst/>
          </a:prstGeom>
        </p:spPr>
      </p:pic>
      <p:pic>
        <p:nvPicPr>
          <p:cNvPr id="23" name="图片 2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799345" y="476210"/>
            <a:ext cx="618464" cy="618464"/>
          </a:xfrm>
          <a:prstGeom prst="rect">
            <a:avLst/>
          </a:prstGeom>
        </p:spPr>
      </p:pic>
      <p:pic>
        <p:nvPicPr>
          <p:cNvPr id="25" name="图片 2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rot="17852697">
            <a:off x="5541650" y="1174270"/>
            <a:ext cx="1132817" cy="1132817"/>
          </a:xfrm>
          <a:prstGeom prst="rect">
            <a:avLst/>
          </a:prstGeom>
        </p:spPr>
      </p:pic>
      <p:pic>
        <p:nvPicPr>
          <p:cNvPr id="27" name="图片 2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rot="3239266">
            <a:off x="5536847" y="5012696"/>
            <a:ext cx="851005" cy="851005"/>
          </a:xfrm>
          <a:prstGeom prst="rect">
            <a:avLst/>
          </a:prstGeom>
        </p:spPr>
      </p:pic>
      <p:sp>
        <p:nvSpPr>
          <p:cNvPr id="30" name="Rectangle: Rounded Corners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03576" y="4681204"/>
            <a:ext cx="1456010" cy="426189"/>
          </a:xfrm>
          <a:prstGeom prst="roundRect">
            <a:avLst>
              <a:gd name="adj" fmla="val 1424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alibri"/>
                <a:ea typeface="微软雅黑"/>
                <a:sym typeface="Calibri"/>
              </a:rPr>
              <a:t>Choose service</a:t>
            </a:r>
          </a:p>
        </p:txBody>
      </p:sp>
      <p:sp>
        <p:nvSpPr>
          <p:cNvPr id="31" name="Rectangle: Rounded Corners 4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289295" y="4681204"/>
            <a:ext cx="1531135" cy="426189"/>
          </a:xfrm>
          <a:prstGeom prst="roundRect">
            <a:avLst>
              <a:gd name="adj" fmla="val 14241"/>
            </a:avLst>
          </a:prstGeom>
          <a:solidFill>
            <a:schemeClr val="accent1">
              <a:alpha val="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1">
                    <a:lumMod val="75000"/>
                  </a:schemeClr>
                </a:solidFill>
                <a:latin typeface="Calibri"/>
                <a:ea typeface="微软雅黑"/>
                <a:sym typeface="Calibri"/>
              </a:rPr>
              <a:t>More info</a:t>
            </a:r>
          </a:p>
        </p:txBody>
      </p:sp>
      <p:sp>
        <p:nvSpPr>
          <p:cNvPr id="32" name="Freeform 6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a:spLocks noEditPoints="1"/>
          </p:cNvSpPr>
          <p:nvPr/>
        </p:nvSpPr>
        <p:spPr bwMode="auto">
          <a:xfrm>
            <a:off x="382441" y="6460951"/>
            <a:ext cx="137450" cy="135137"/>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tx1">
              <a:lumMod val="75000"/>
              <a:lumOff val="25000"/>
            </a:schemeClr>
          </a:solidFill>
          <a:ln>
            <a:noFill/>
          </a:ln>
        </p:spPr>
        <p:txBody>
          <a:bodyPr/>
          <a:lstStyle/>
          <a:p>
            <a:pPr algn="l"/>
            <a:endParaRPr lang="en-US" sz="1000" dirty="0">
              <a:solidFill>
                <a:schemeClr val="bg1"/>
              </a:solidFill>
              <a:latin typeface="Calibri"/>
              <a:ea typeface="微软雅黑"/>
              <a:sym typeface="Calibri"/>
            </a:endParaRPr>
          </a:p>
        </p:txBody>
      </p:sp>
      <p:sp>
        <p:nvSpPr>
          <p:cNvPr id="33" name="TextBox 4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622350" y="6401561"/>
            <a:ext cx="1866217" cy="246221"/>
          </a:xfrm>
          <a:prstGeom prst="rect">
            <a:avLst/>
          </a:prstGeom>
          <a:noFill/>
        </p:spPr>
        <p:txBody>
          <a:bodyPr wrap="none" rtlCol="0">
            <a:spAutoFit/>
          </a:bodyPr>
          <a:lstStyle/>
          <a:p>
            <a:pPr algn="ctr"/>
            <a:r>
              <a:rPr lang="en-US" altLang="zh-CN" sz="1000" dirty="0">
                <a:solidFill>
                  <a:schemeClr val="bg1">
                    <a:lumMod val="50000"/>
                  </a:schemeClr>
                </a:solidFill>
                <a:cs typeface="Arial" panose="020B0604020202020204" pitchFamily="34" charset="0"/>
                <a:hlinkClick r:id="rId7"/>
              </a:rPr>
              <a:t>https://www.freeppt7.com</a:t>
            </a:r>
            <a:endParaRPr lang="ko-KR" altLang="en-US" sz="1000" dirty="0">
              <a:solidFill>
                <a:schemeClr val="bg1">
                  <a:lumMod val="50000"/>
                </a:schemeClr>
              </a:solidFill>
              <a:cs typeface="Arial" panose="020B0604020202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978130" y="-1433735"/>
            <a:ext cx="8398413" cy="8398413"/>
          </a:xfrm>
          <a:prstGeom prst="ellipse">
            <a:avLst/>
          </a:prstGeom>
          <a:solidFill>
            <a:schemeClr val="accent6">
              <a:alpha val="6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3" name="椭圆 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096000" y="-244966"/>
            <a:ext cx="6243710" cy="6243710"/>
          </a:xfrm>
          <a:prstGeom prst="ellipse">
            <a:avLst/>
          </a:prstGeom>
          <a:solidFill>
            <a:schemeClr val="accent5">
              <a:alpha val="79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6" name="Freeform: Shape 7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162675" y="1701569"/>
            <a:ext cx="6029325" cy="5156430"/>
          </a:xfrm>
          <a:custGeom>
            <a:avLst/>
            <a:gdLst>
              <a:gd name="connsiteX0" fmla="*/ 4889646 w 6863283"/>
              <a:gd name="connsiteY0" fmla="*/ 777 h 5869652"/>
              <a:gd name="connsiteX1" fmla="*/ 6329151 w 6863283"/>
              <a:gd name="connsiteY1" fmla="*/ 305501 h 5869652"/>
              <a:gd name="connsiteX2" fmla="*/ 6817152 w 6863283"/>
              <a:gd name="connsiteY2" fmla="*/ 304283 h 5869652"/>
              <a:gd name="connsiteX3" fmla="*/ 6863283 w 6863283"/>
              <a:gd name="connsiteY3" fmla="*/ 298138 h 5869652"/>
              <a:gd name="connsiteX4" fmla="*/ 6863283 w 6863283"/>
              <a:gd name="connsiteY4" fmla="*/ 5869652 h 5869652"/>
              <a:gd name="connsiteX5" fmla="*/ 0 w 6863283"/>
              <a:gd name="connsiteY5" fmla="*/ 5869652 h 5869652"/>
              <a:gd name="connsiteX6" fmla="*/ 42660 w 6863283"/>
              <a:gd name="connsiteY6" fmla="*/ 5527482 h 5869652"/>
              <a:gd name="connsiteX7" fmla="*/ 974673 w 6863283"/>
              <a:gd name="connsiteY7" fmla="*/ 3999970 h 5869652"/>
              <a:gd name="connsiteX8" fmla="*/ 2395119 w 6863283"/>
              <a:gd name="connsiteY8" fmla="*/ 3680205 h 5869652"/>
              <a:gd name="connsiteX9" fmla="*/ 3406686 w 6863283"/>
              <a:gd name="connsiteY9" fmla="*/ 3921742 h 5869652"/>
              <a:gd name="connsiteX10" fmla="*/ 4357869 w 6863283"/>
              <a:gd name="connsiteY10" fmla="*/ 3002493 h 5869652"/>
              <a:gd name="connsiteX11" fmla="*/ 4039278 w 6863283"/>
              <a:gd name="connsiteY11" fmla="*/ 2399168 h 5869652"/>
              <a:gd name="connsiteX12" fmla="*/ 3760975 w 6863283"/>
              <a:gd name="connsiteY12" fmla="*/ 1093551 h 5869652"/>
              <a:gd name="connsiteX13" fmla="*/ 4546844 w 6863283"/>
              <a:gd name="connsiteY13" fmla="*/ 65683 h 5869652"/>
              <a:gd name="connsiteX14" fmla="*/ 4889646 w 6863283"/>
              <a:gd name="connsiteY14" fmla="*/ 777 h 586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63283" h="5869652">
                <a:moveTo>
                  <a:pt x="4889646" y="777"/>
                </a:moveTo>
                <a:cubicBezTo>
                  <a:pt x="5377612" y="-16445"/>
                  <a:pt x="5838736" y="258066"/>
                  <a:pt x="6329151" y="305501"/>
                </a:cubicBezTo>
                <a:cubicBezTo>
                  <a:pt x="6491688" y="321273"/>
                  <a:pt x="6654954" y="319464"/>
                  <a:pt x="6817152" y="304283"/>
                </a:cubicBezTo>
                <a:lnTo>
                  <a:pt x="6863283" y="298138"/>
                </a:lnTo>
                <a:lnTo>
                  <a:pt x="6863283" y="5869652"/>
                </a:lnTo>
                <a:lnTo>
                  <a:pt x="0" y="5869652"/>
                </a:lnTo>
                <a:lnTo>
                  <a:pt x="42660" y="5527482"/>
                </a:lnTo>
                <a:cubicBezTo>
                  <a:pt x="156123" y="4918769"/>
                  <a:pt x="456343" y="4347990"/>
                  <a:pt x="974673" y="3999970"/>
                </a:cubicBezTo>
                <a:cubicBezTo>
                  <a:pt x="1386944" y="3723235"/>
                  <a:pt x="1903920" y="3606750"/>
                  <a:pt x="2395119" y="3680205"/>
                </a:cubicBezTo>
                <a:cubicBezTo>
                  <a:pt x="2738368" y="3731516"/>
                  <a:pt x="3063683" y="3870617"/>
                  <a:pt x="3406686" y="3921742"/>
                </a:cubicBezTo>
                <a:cubicBezTo>
                  <a:pt x="4024378" y="4013948"/>
                  <a:pt x="4613912" y="3698968"/>
                  <a:pt x="4357869" y="3002493"/>
                </a:cubicBezTo>
                <a:cubicBezTo>
                  <a:pt x="4279320" y="2788717"/>
                  <a:pt x="4147957" y="2599171"/>
                  <a:pt x="4039278" y="2399168"/>
                </a:cubicBezTo>
                <a:cubicBezTo>
                  <a:pt x="3822897" y="2001225"/>
                  <a:pt x="3693142" y="1541357"/>
                  <a:pt x="3760975" y="1093551"/>
                </a:cubicBezTo>
                <a:cubicBezTo>
                  <a:pt x="3828808" y="645747"/>
                  <a:pt x="4120092" y="217816"/>
                  <a:pt x="4546844" y="65683"/>
                </a:cubicBezTo>
                <a:cubicBezTo>
                  <a:pt x="4663001" y="24261"/>
                  <a:pt x="4777038" y="4751"/>
                  <a:pt x="4889646" y="777"/>
                </a:cubicBezTo>
                <a:close/>
              </a:path>
            </a:pathLst>
          </a:custGeom>
          <a:gradFill>
            <a:gsLst>
              <a:gs pos="16000">
                <a:schemeClr val="accent6">
                  <a:alpha val="21000"/>
                </a:schemeClr>
              </a:gs>
              <a:gs pos="100000">
                <a:schemeClr val="bg1">
                  <a:alpha val="700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Calibri"/>
              <a:ea typeface="微软雅黑"/>
              <a:sym typeface="Calibri"/>
            </a:endParaRPr>
          </a:p>
        </p:txBody>
      </p:sp>
      <p:sp>
        <p:nvSpPr>
          <p:cNvPr id="7" name="Freeform: Shape 7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471138" y="3369258"/>
            <a:ext cx="5720861" cy="3488741"/>
          </a:xfrm>
          <a:custGeom>
            <a:avLst/>
            <a:gdLst>
              <a:gd name="connsiteX0" fmla="*/ 5227202 w 5227202"/>
              <a:gd name="connsiteY0" fmla="*/ 0 h 3187694"/>
              <a:gd name="connsiteX1" fmla="*/ 5227202 w 5227202"/>
              <a:gd name="connsiteY1" fmla="*/ 3187694 h 3187694"/>
              <a:gd name="connsiteX2" fmla="*/ 0 w 5227202"/>
              <a:gd name="connsiteY2" fmla="*/ 3187694 h 3187694"/>
              <a:gd name="connsiteX3" fmla="*/ 9238 w 5227202"/>
              <a:gd name="connsiteY3" fmla="*/ 3171079 h 3187694"/>
              <a:gd name="connsiteX4" fmla="*/ 999604 w 5227202"/>
              <a:gd name="connsiteY4" fmla="*/ 2385361 h 3187694"/>
              <a:gd name="connsiteX5" fmla="*/ 3508692 w 5227202"/>
              <a:gd name="connsiteY5" fmla="*/ 2372090 h 3187694"/>
              <a:gd name="connsiteX6" fmla="*/ 5003645 w 5227202"/>
              <a:gd name="connsiteY6" fmla="*/ 345940 h 3187694"/>
              <a:gd name="connsiteX7" fmla="*/ 5121138 w 5227202"/>
              <a:gd name="connsiteY7" fmla="*/ 151990 h 318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7202" h="3187694">
                <a:moveTo>
                  <a:pt x="5227202" y="0"/>
                </a:moveTo>
                <a:lnTo>
                  <a:pt x="5227202" y="3187694"/>
                </a:lnTo>
                <a:lnTo>
                  <a:pt x="0" y="3187694"/>
                </a:lnTo>
                <a:lnTo>
                  <a:pt x="9238" y="3171079"/>
                </a:lnTo>
                <a:cubicBezTo>
                  <a:pt x="241446" y="2795115"/>
                  <a:pt x="584311" y="2511538"/>
                  <a:pt x="999604" y="2385361"/>
                </a:cubicBezTo>
                <a:cubicBezTo>
                  <a:pt x="1816327" y="2137318"/>
                  <a:pt x="2686002" y="2567896"/>
                  <a:pt x="3508692" y="2372090"/>
                </a:cubicBezTo>
                <a:cubicBezTo>
                  <a:pt x="4422630" y="2154677"/>
                  <a:pt x="4557634" y="1144080"/>
                  <a:pt x="5003645" y="345940"/>
                </a:cubicBezTo>
                <a:cubicBezTo>
                  <a:pt x="5040168" y="280609"/>
                  <a:pt x="5079542" y="215760"/>
                  <a:pt x="5121138" y="151990"/>
                </a:cubicBezTo>
                <a:close/>
              </a:path>
            </a:pathLst>
          </a:custGeom>
          <a:gradFill flip="none" rotWithShape="1">
            <a:gsLst>
              <a:gs pos="0">
                <a:schemeClr val="accent4">
                  <a:lumMod val="60000"/>
                  <a:lumOff val="40000"/>
                  <a:alpha val="0"/>
                </a:schemeClr>
              </a:gs>
              <a:gs pos="80000">
                <a:schemeClr val="accent4">
                  <a:alpha val="3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Calibri"/>
              <a:ea typeface="微软雅黑"/>
              <a:sym typeface="Calibri"/>
            </a:endParaRPr>
          </a:p>
        </p:txBody>
      </p:sp>
      <p:pic>
        <p:nvPicPr>
          <p:cNvPr id="9" name="图片 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a:stretch>
            <a:fillRect/>
          </a:stretch>
        </p:blipFill>
        <p:spPr>
          <a:xfrm>
            <a:off x="4978130" y="-421186"/>
            <a:ext cx="7279185" cy="7279185"/>
          </a:xfrm>
          <a:prstGeom prst="rect">
            <a:avLst/>
          </a:prstGeom>
        </p:spPr>
      </p:pic>
      <p:sp>
        <p:nvSpPr>
          <p:cNvPr id="10" name="TextBox 1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395903" y="3824671"/>
            <a:ext cx="4997466" cy="276422"/>
          </a:xfrm>
          <a:prstGeom prst="rect">
            <a:avLst/>
          </a:prstGeom>
          <a:ln w="12700">
            <a:miter lim="400000"/>
          </a:ln>
          <a:effectLst/>
        </p:spPr>
        <p:txBody>
          <a:bodyPr wrap="square" lIns="25400" tIns="25400" rIns="25400" bIns="25400">
            <a:spAutoFit/>
          </a:bodyPr>
          <a:lstStyle>
            <a:defPPr>
              <a:defRPr lang="zh-CN"/>
            </a:defPPr>
            <a:lvl1pPr algn="ctr">
              <a:lnSpc>
                <a:spcPct val="110000"/>
              </a:lnSpc>
              <a:defRPr sz="9600">
                <a:solidFill>
                  <a:schemeClr val="bg1"/>
                </a:solidFill>
                <a:effectLst>
                  <a:outerShdw blurRad="88900" dist="127000" dir="2700000" algn="tl">
                    <a:srgbClr val="000000">
                      <a:alpha val="35000"/>
                    </a:srgbClr>
                  </a:outerShdw>
                </a:effectLst>
                <a:latin typeface="Poppins SemiBold" panose="02000000000000000000"/>
                <a:ea typeface="Poppins SemiBold" panose="02000000000000000000"/>
                <a:cs typeface="Poppins SemiBold" panose="020000000000000000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a:r>
              <a:rPr lang="en-US" sz="1400" dirty="0">
                <a:solidFill>
                  <a:schemeClr val="tx1">
                    <a:lumMod val="75000"/>
                    <a:lumOff val="25000"/>
                  </a:schemeClr>
                </a:solidFill>
                <a:latin typeface="Calibri"/>
                <a:ea typeface="微软雅黑"/>
                <a:sym typeface="Calibri"/>
              </a:rPr>
              <a:t>Business Presentation  template.</a:t>
            </a:r>
          </a:p>
        </p:txBody>
      </p:sp>
      <p:sp>
        <p:nvSpPr>
          <p:cNvPr id="11" name="缺角矩形 1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12" name="缺角矩形 1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691024" y="4387605"/>
            <a:ext cx="576775" cy="576776"/>
          </a:xfrm>
          <a:prstGeom prst="plaque">
            <a:avLst>
              <a:gd name="adj" fmla="val 50000"/>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13" name="缺角矩形 1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772464" y="2372275"/>
            <a:ext cx="400093" cy="400094"/>
          </a:xfrm>
          <a:prstGeom prst="plaque">
            <a:avLst>
              <a:gd name="adj" fmla="val 50000"/>
            </a:avLst>
          </a:prstGeom>
          <a:solidFill>
            <a:srgbClr val="F7F797"/>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14" name="Freeform 6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a:spLocks noEditPoints="1"/>
          </p:cNvSpPr>
          <p:nvPr/>
        </p:nvSpPr>
        <p:spPr bwMode="auto">
          <a:xfrm>
            <a:off x="382441" y="6460951"/>
            <a:ext cx="137450" cy="135137"/>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tx1">
              <a:lumMod val="75000"/>
              <a:lumOff val="25000"/>
            </a:schemeClr>
          </a:solidFill>
          <a:ln>
            <a:noFill/>
          </a:ln>
        </p:spPr>
        <p:txBody>
          <a:bodyPr/>
          <a:lstStyle/>
          <a:p>
            <a:pPr algn="l"/>
            <a:endParaRPr lang="en-US" sz="1000" dirty="0">
              <a:solidFill>
                <a:schemeClr val="bg1"/>
              </a:solidFill>
              <a:latin typeface="Calibri"/>
              <a:ea typeface="微软雅黑"/>
              <a:sym typeface="Calibri"/>
            </a:endParaRPr>
          </a:p>
        </p:txBody>
      </p:sp>
      <p:sp>
        <p:nvSpPr>
          <p:cNvPr id="15" name="TextBox 4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57429" y="6401561"/>
            <a:ext cx="2529860" cy="246221"/>
          </a:xfrm>
          <a:prstGeom prst="rect">
            <a:avLst/>
          </a:prstGeom>
          <a:noFill/>
        </p:spPr>
        <p:txBody>
          <a:bodyPr wrap="none" rtlCol="0">
            <a:spAutoFit/>
          </a:bodyPr>
          <a:lstStyle/>
          <a:p>
            <a:pPr algn="l"/>
            <a:r>
              <a:rPr lang="en-US" sz="1000" spc="300" dirty="0">
                <a:solidFill>
                  <a:schemeClr val="tx1">
                    <a:lumMod val="75000"/>
                    <a:lumOff val="25000"/>
                  </a:schemeClr>
                </a:solidFill>
                <a:latin typeface="Calibri"/>
                <a:ea typeface="微软雅黑"/>
                <a:cs typeface="Segoe UI" panose="020B0502040204020203" pitchFamily="34" charset="0"/>
                <a:sym typeface="Calibri"/>
              </a:rPr>
              <a:t>https://www.freeppt7.com</a:t>
            </a:r>
            <a:endParaRPr lang="id-ID" sz="1000" spc="300" dirty="0">
              <a:solidFill>
                <a:schemeClr val="tx1">
                  <a:lumMod val="75000"/>
                  <a:lumOff val="25000"/>
                </a:schemeClr>
              </a:solidFill>
              <a:latin typeface="Calibri"/>
              <a:ea typeface="微软雅黑"/>
              <a:cs typeface="Segoe UI" panose="020B0502040204020203" pitchFamily="34" charset="0"/>
              <a:sym typeface="Calibri"/>
            </a:endParaRPr>
          </a:p>
        </p:txBody>
      </p:sp>
      <p:sp>
        <p:nvSpPr>
          <p:cNvPr id="16" name="缺角矩形 1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17" name="缺角矩形 1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881529" y="5546662"/>
            <a:ext cx="400093" cy="400094"/>
          </a:xfrm>
          <a:prstGeom prst="plaque">
            <a:avLst>
              <a:gd name="adj" fmla="val 50000"/>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18" name="Rectangle: Rounded Corners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395903" y="4506419"/>
            <a:ext cx="1456010" cy="457962"/>
          </a:xfrm>
          <a:prstGeom prst="roundRect">
            <a:avLst>
              <a:gd name="adj" fmla="val 1424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alibri"/>
                <a:ea typeface="微软雅黑"/>
                <a:sym typeface="Calibri"/>
              </a:rPr>
              <a:t>Choose service</a:t>
            </a:r>
          </a:p>
        </p:txBody>
      </p:sp>
      <p:sp>
        <p:nvSpPr>
          <p:cNvPr id="19" name="Rectangle: Rounded Corners 4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281622" y="4506419"/>
            <a:ext cx="1531135" cy="457962"/>
          </a:xfrm>
          <a:prstGeom prst="roundRect">
            <a:avLst>
              <a:gd name="adj" fmla="val 14241"/>
            </a:avLst>
          </a:prstGeom>
          <a:solidFill>
            <a:schemeClr val="accent1">
              <a:alpha val="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1">
                    <a:lumMod val="75000"/>
                  </a:schemeClr>
                </a:solidFill>
                <a:latin typeface="Calibri"/>
                <a:ea typeface="微软雅黑"/>
                <a:sym typeface="Calibri"/>
              </a:rPr>
              <a:t>More info</a:t>
            </a:r>
          </a:p>
        </p:txBody>
      </p:sp>
      <p:sp>
        <p:nvSpPr>
          <p:cNvPr id="20" name="文本框 1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54579" y="2625794"/>
            <a:ext cx="6801728" cy="1323439"/>
          </a:xfrm>
          <a:prstGeom prst="rect">
            <a:avLst/>
          </a:prstGeom>
          <a:noFill/>
        </p:spPr>
        <p:txBody>
          <a:bodyPr wrap="square">
            <a:spAutoFit/>
          </a:bodyPr>
          <a:lstStyle/>
          <a:p>
            <a:r>
              <a:rPr lang="en-US" altLang="zh-CN" sz="8000" b="1" dirty="0">
                <a:solidFill>
                  <a:schemeClr val="tx1">
                    <a:lumMod val="75000"/>
                    <a:lumOff val="25000"/>
                  </a:schemeClr>
                </a:solidFill>
                <a:effectLst>
                  <a:outerShdw blurRad="88900" dist="127000" dir="2700000" algn="tl">
                    <a:srgbClr val="000000">
                      <a:alpha val="35000"/>
                    </a:srgbClr>
                  </a:outerShdw>
                </a:effectLst>
                <a:latin typeface="Calibri"/>
                <a:ea typeface="微软雅黑"/>
                <a:sym typeface="Calibri"/>
              </a:rPr>
              <a:t>PART TWO</a:t>
            </a:r>
            <a:endParaRPr lang="zh-CN" altLang="en-US" sz="8000" b="1" dirty="0">
              <a:solidFill>
                <a:schemeClr val="tx1">
                  <a:lumMod val="75000"/>
                  <a:lumOff val="25000"/>
                </a:schemeClr>
              </a:solidFill>
              <a:latin typeface="Calibri"/>
              <a:ea typeface="微软雅黑"/>
              <a:sym typeface="Calibri"/>
            </a:endParaRPr>
          </a:p>
        </p:txBody>
      </p:sp>
      <p:sp>
        <p:nvSpPr>
          <p:cNvPr id="21" name="矩形: 圆角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64942" y="154745"/>
            <a:ext cx="11662116" cy="534572"/>
          </a:xfrm>
          <a:prstGeom prst="roundRect">
            <a:avLst/>
          </a:prstGeom>
          <a:solidFill>
            <a:srgbClr val="F2E9DA">
              <a:alpha val="27059"/>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Calibri"/>
              <a:ea typeface="微软雅黑"/>
              <a:sym typeface="Calibri"/>
            </a:endParaRPr>
          </a:p>
        </p:txBody>
      </p:sp>
      <p:grpSp>
        <p:nvGrpSpPr>
          <p:cNvPr id="22" name="组合 2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384598" y="333328"/>
            <a:ext cx="5876040" cy="261610"/>
            <a:chOff x="6027473" y="260675"/>
            <a:chExt cx="5876040" cy="261610"/>
          </a:xfrm>
        </p:grpSpPr>
        <p:sp>
          <p:nvSpPr>
            <p:cNvPr id="23" name="TextBox 22"/>
            <p:cNvSpPr txBox="1"/>
            <p:nvPr/>
          </p:nvSpPr>
          <p:spPr>
            <a:xfrm>
              <a:off x="6027473" y="260675"/>
              <a:ext cx="578028"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ALL</a:t>
              </a:r>
            </a:p>
          </p:txBody>
        </p:sp>
        <p:sp>
          <p:nvSpPr>
            <p:cNvPr id="24" name="TextBox 29"/>
            <p:cNvSpPr txBox="1"/>
            <p:nvPr/>
          </p:nvSpPr>
          <p:spPr>
            <a:xfrm>
              <a:off x="6670009" y="260675"/>
              <a:ext cx="135789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WEB DESIGN</a:t>
              </a:r>
            </a:p>
          </p:txBody>
        </p:sp>
        <p:sp>
          <p:nvSpPr>
            <p:cNvPr id="25" name="TextBox 35"/>
            <p:cNvSpPr txBox="1"/>
            <p:nvPr/>
          </p:nvSpPr>
          <p:spPr>
            <a:xfrm>
              <a:off x="8093049" y="260675"/>
              <a:ext cx="114135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GRAPHICS</a:t>
              </a:r>
            </a:p>
          </p:txBody>
        </p:sp>
        <p:sp>
          <p:nvSpPr>
            <p:cNvPr id="26" name="TextBox 37"/>
            <p:cNvSpPr txBox="1"/>
            <p:nvPr/>
          </p:nvSpPr>
          <p:spPr>
            <a:xfrm>
              <a:off x="9298318" y="260675"/>
              <a:ext cx="95843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BRANDS</a:t>
              </a:r>
            </a:p>
          </p:txBody>
        </p:sp>
        <p:sp>
          <p:nvSpPr>
            <p:cNvPr id="27" name="TextBox 39"/>
            <p:cNvSpPr txBox="1"/>
            <p:nvPr/>
          </p:nvSpPr>
          <p:spPr>
            <a:xfrm>
              <a:off x="10299559" y="260675"/>
              <a:ext cx="160395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USER INTERFACE</a:t>
              </a:r>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0" y="1077073"/>
            <a:ext cx="10945494" cy="569258"/>
            <a:chOff x="4368208" y="823073"/>
            <a:chExt cx="6295891" cy="634087"/>
          </a:xfrm>
        </p:grpSpPr>
        <p:sp>
          <p:nvSpPr>
            <p:cNvPr id="4" name="Rectangle 3"/>
            <p:cNvSpPr/>
            <p:nvPr/>
          </p:nvSpPr>
          <p:spPr>
            <a:xfrm>
              <a:off x="4368208" y="823073"/>
              <a:ext cx="1425255" cy="594448"/>
            </a:xfrm>
            <a:prstGeom prst="rect">
              <a:avLst/>
            </a:prstGeom>
          </p:spPr>
          <p:txBody>
            <a:bodyPr wrap="square">
              <a:spAutoFit/>
            </a:bodyPr>
            <a:lstStyle/>
            <a:p>
              <a:pPr algn="ctr">
                <a:lnSpc>
                  <a:spcPct val="130000"/>
                </a:lnSpc>
              </a:pPr>
              <a:r>
                <a:rPr lang="en-US" sz="2400" b="1" dirty="0">
                  <a:solidFill>
                    <a:schemeClr val="bg1"/>
                  </a:solidFill>
                  <a:latin typeface="Calibri"/>
                  <a:ea typeface="微软雅黑"/>
                  <a:cs typeface="+mn-ea"/>
                  <a:sym typeface="Calibri"/>
                </a:rPr>
                <a:t>Task</a:t>
              </a:r>
            </a:p>
          </p:txBody>
        </p:sp>
        <p:sp>
          <p:nvSpPr>
            <p:cNvPr id="5" name="Rectangle 4"/>
            <p:cNvSpPr/>
            <p:nvPr/>
          </p:nvSpPr>
          <p:spPr>
            <a:xfrm>
              <a:off x="5991753" y="871152"/>
              <a:ext cx="1425255" cy="430534"/>
            </a:xfrm>
            <a:prstGeom prst="rect">
              <a:avLst/>
            </a:prstGeom>
          </p:spPr>
          <p:txBody>
            <a:bodyPr wrap="square">
              <a:spAutoFit/>
            </a:bodyPr>
            <a:lstStyle/>
            <a:p>
              <a:pPr algn="ctr">
                <a:lnSpc>
                  <a:spcPct val="130000"/>
                </a:lnSpc>
              </a:pPr>
              <a:r>
                <a:rPr lang="en-US" sz="1600" b="1" dirty="0">
                  <a:solidFill>
                    <a:schemeClr val="bg1">
                      <a:alpha val="64000"/>
                    </a:schemeClr>
                  </a:solidFill>
                  <a:latin typeface="Calibri"/>
                  <a:ea typeface="微软雅黑"/>
                  <a:cs typeface="+mn-ea"/>
                  <a:sym typeface="Calibri"/>
                </a:rPr>
                <a:t>Target</a:t>
              </a:r>
            </a:p>
          </p:txBody>
        </p:sp>
        <p:sp>
          <p:nvSpPr>
            <p:cNvPr id="6" name="Rectangle 5"/>
            <p:cNvSpPr/>
            <p:nvPr/>
          </p:nvSpPr>
          <p:spPr>
            <a:xfrm>
              <a:off x="7615298" y="871152"/>
              <a:ext cx="1425255" cy="430534"/>
            </a:xfrm>
            <a:prstGeom prst="rect">
              <a:avLst/>
            </a:prstGeom>
          </p:spPr>
          <p:txBody>
            <a:bodyPr wrap="square">
              <a:spAutoFit/>
            </a:bodyPr>
            <a:lstStyle/>
            <a:p>
              <a:pPr algn="ctr">
                <a:lnSpc>
                  <a:spcPct val="130000"/>
                </a:lnSpc>
              </a:pPr>
              <a:r>
                <a:rPr lang="en-US" sz="1600" b="1" dirty="0">
                  <a:solidFill>
                    <a:schemeClr val="bg1">
                      <a:alpha val="64000"/>
                    </a:schemeClr>
                  </a:solidFill>
                  <a:latin typeface="Calibri"/>
                  <a:ea typeface="微软雅黑"/>
                  <a:cs typeface="+mn-ea"/>
                  <a:sym typeface="Calibri"/>
                </a:rPr>
                <a:t>Setting </a:t>
              </a:r>
            </a:p>
          </p:txBody>
        </p:sp>
        <p:sp>
          <p:nvSpPr>
            <p:cNvPr id="7" name="Rectangle 6"/>
            <p:cNvSpPr/>
            <p:nvPr/>
          </p:nvSpPr>
          <p:spPr>
            <a:xfrm>
              <a:off x="9238844" y="871152"/>
              <a:ext cx="1425255" cy="430534"/>
            </a:xfrm>
            <a:prstGeom prst="rect">
              <a:avLst/>
            </a:prstGeom>
          </p:spPr>
          <p:txBody>
            <a:bodyPr wrap="square">
              <a:spAutoFit/>
            </a:bodyPr>
            <a:lstStyle/>
            <a:p>
              <a:pPr algn="ctr">
                <a:lnSpc>
                  <a:spcPct val="130000"/>
                </a:lnSpc>
              </a:pPr>
              <a:r>
                <a:rPr lang="en-US" sz="1600" b="1" dirty="0">
                  <a:solidFill>
                    <a:schemeClr val="bg1">
                      <a:alpha val="64000"/>
                    </a:schemeClr>
                  </a:solidFill>
                  <a:latin typeface="Calibri"/>
                  <a:ea typeface="微软雅黑"/>
                  <a:cs typeface="+mn-ea"/>
                  <a:sym typeface="Calibri"/>
                </a:rPr>
                <a:t>Overview </a:t>
              </a:r>
            </a:p>
          </p:txBody>
        </p:sp>
        <p:cxnSp>
          <p:nvCxnSpPr>
            <p:cNvPr id="8" name="Straight Connector 7"/>
            <p:cNvCxnSpPr/>
            <p:nvPr/>
          </p:nvCxnSpPr>
          <p:spPr>
            <a:xfrm>
              <a:off x="4368208" y="1457160"/>
              <a:ext cx="6295891" cy="0"/>
            </a:xfrm>
            <a:prstGeom prst="line">
              <a:avLst/>
            </a:prstGeom>
            <a:ln>
              <a:solidFill>
                <a:schemeClr val="bg1">
                  <a:lumMod val="95000"/>
                  <a:alpha val="2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93410" y="1457160"/>
              <a:ext cx="1252024"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29" name="Group 2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612964" y="1959452"/>
            <a:ext cx="2579724" cy="2616461"/>
            <a:chOff x="713251" y="1760535"/>
            <a:chExt cx="2873511" cy="2914432"/>
          </a:xfrm>
        </p:grpSpPr>
        <p:sp>
          <p:nvSpPr>
            <p:cNvPr id="12" name="Rectangle: Rounded Corners 11"/>
            <p:cNvSpPr/>
            <p:nvPr/>
          </p:nvSpPr>
          <p:spPr>
            <a:xfrm>
              <a:off x="713251" y="1760537"/>
              <a:ext cx="2873511" cy="2914430"/>
            </a:xfrm>
            <a:prstGeom prst="roundRect">
              <a:avLst>
                <a:gd name="adj" fmla="val 6104"/>
              </a:avLst>
            </a:prstGeom>
            <a:solidFill>
              <a:schemeClr val="bg1"/>
            </a:solidFill>
            <a:ln>
              <a:noFill/>
            </a:ln>
            <a:effectLst>
              <a:outerShdw blurRad="317500" dist="1143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latin typeface="Calibri"/>
                <a:ea typeface="微软雅黑"/>
                <a:cs typeface="+mn-ea"/>
                <a:sym typeface="Calibri"/>
              </a:endParaRPr>
            </a:p>
          </p:txBody>
        </p:sp>
        <p:sp>
          <p:nvSpPr>
            <p:cNvPr id="28" name="Rectangle: Top Corners Rounded 27"/>
            <p:cNvSpPr/>
            <p:nvPr/>
          </p:nvSpPr>
          <p:spPr>
            <a:xfrm>
              <a:off x="713251" y="1760535"/>
              <a:ext cx="2873511" cy="566299"/>
            </a:xfrm>
            <a:prstGeom prst="round2SameRect">
              <a:avLst>
                <a:gd name="adj1" fmla="val 29001"/>
                <a:gd name="adj2" fmla="val 0"/>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26" name="Rectangle 25"/>
            <p:cNvSpPr/>
            <p:nvPr/>
          </p:nvSpPr>
          <p:spPr>
            <a:xfrm>
              <a:off x="1216582" y="1867125"/>
              <a:ext cx="1866848" cy="389610"/>
            </a:xfrm>
            <a:prstGeom prst="rect">
              <a:avLst/>
            </a:prstGeom>
          </p:spPr>
          <p:txBody>
            <a:bodyPr wrap="square">
              <a:spAutoFit/>
            </a:bodyPr>
            <a:lstStyle/>
            <a:p>
              <a:pPr algn="ctr">
                <a:lnSpc>
                  <a:spcPct val="130000"/>
                </a:lnSpc>
              </a:pPr>
              <a:r>
                <a:rPr lang="en-US" sz="1400" b="1" dirty="0">
                  <a:solidFill>
                    <a:schemeClr val="accent1"/>
                  </a:solidFill>
                  <a:latin typeface="Calibri"/>
                  <a:ea typeface="微软雅黑"/>
                  <a:cs typeface="+mn-ea"/>
                  <a:sym typeface="Calibri"/>
                </a:rPr>
                <a:t>Assignment </a:t>
              </a:r>
            </a:p>
          </p:txBody>
        </p:sp>
      </p:grpSp>
      <p:grpSp>
        <p:nvGrpSpPr>
          <p:cNvPr id="30" name="Group 2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508959" y="1959452"/>
            <a:ext cx="2579724" cy="1688971"/>
            <a:chOff x="713251" y="1760535"/>
            <a:chExt cx="2873511" cy="1881316"/>
          </a:xfrm>
        </p:grpSpPr>
        <p:sp>
          <p:nvSpPr>
            <p:cNvPr id="31" name="Rectangle: Rounded Corners 30"/>
            <p:cNvSpPr/>
            <p:nvPr/>
          </p:nvSpPr>
          <p:spPr>
            <a:xfrm>
              <a:off x="713251" y="1760536"/>
              <a:ext cx="2873511" cy="1881315"/>
            </a:xfrm>
            <a:prstGeom prst="roundRect">
              <a:avLst>
                <a:gd name="adj" fmla="val 9102"/>
              </a:avLst>
            </a:prstGeom>
            <a:solidFill>
              <a:schemeClr val="bg1"/>
            </a:solidFill>
            <a:ln>
              <a:noFill/>
            </a:ln>
            <a:effectLst>
              <a:outerShdw blurRad="317500" dist="1143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latin typeface="Calibri"/>
                <a:ea typeface="微软雅黑"/>
                <a:cs typeface="+mn-ea"/>
                <a:sym typeface="Calibri"/>
              </a:endParaRPr>
            </a:p>
          </p:txBody>
        </p:sp>
        <p:sp>
          <p:nvSpPr>
            <p:cNvPr id="32" name="Rectangle: Top Corners Rounded 31"/>
            <p:cNvSpPr/>
            <p:nvPr/>
          </p:nvSpPr>
          <p:spPr>
            <a:xfrm>
              <a:off x="713251" y="1760535"/>
              <a:ext cx="2873511" cy="566299"/>
            </a:xfrm>
            <a:prstGeom prst="round2SameRect">
              <a:avLst>
                <a:gd name="adj1" fmla="val 29001"/>
                <a:gd name="adj2" fmla="val 0"/>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3" name="Rectangle 32"/>
            <p:cNvSpPr/>
            <p:nvPr/>
          </p:nvSpPr>
          <p:spPr>
            <a:xfrm>
              <a:off x="1216582" y="1867125"/>
              <a:ext cx="1866848" cy="389610"/>
            </a:xfrm>
            <a:prstGeom prst="rect">
              <a:avLst/>
            </a:prstGeom>
          </p:spPr>
          <p:txBody>
            <a:bodyPr wrap="square">
              <a:spAutoFit/>
            </a:bodyPr>
            <a:lstStyle/>
            <a:p>
              <a:pPr algn="ctr">
                <a:lnSpc>
                  <a:spcPct val="130000"/>
                </a:lnSpc>
              </a:pPr>
              <a:r>
                <a:rPr lang="en-US" sz="1400" b="1" dirty="0">
                  <a:solidFill>
                    <a:schemeClr val="accent2"/>
                  </a:solidFill>
                  <a:latin typeface="Calibri"/>
                  <a:ea typeface="微软雅黑"/>
                  <a:cs typeface="+mn-ea"/>
                  <a:sym typeface="Calibri"/>
                </a:rPr>
                <a:t>Assignment </a:t>
              </a:r>
            </a:p>
          </p:txBody>
        </p:sp>
      </p:grpSp>
      <p:grpSp>
        <p:nvGrpSpPr>
          <p:cNvPr id="34" name="Group 3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6404954" y="1959452"/>
            <a:ext cx="2579724" cy="3680422"/>
            <a:chOff x="713251" y="1760535"/>
            <a:chExt cx="2873511" cy="4099560"/>
          </a:xfrm>
        </p:grpSpPr>
        <p:sp>
          <p:nvSpPr>
            <p:cNvPr id="35" name="Rectangle: Rounded Corners 34"/>
            <p:cNvSpPr/>
            <p:nvPr/>
          </p:nvSpPr>
          <p:spPr>
            <a:xfrm>
              <a:off x="713251" y="1760536"/>
              <a:ext cx="2873511" cy="4099559"/>
            </a:xfrm>
            <a:prstGeom prst="roundRect">
              <a:avLst>
                <a:gd name="adj" fmla="val 6104"/>
              </a:avLst>
            </a:prstGeom>
            <a:solidFill>
              <a:schemeClr val="bg1"/>
            </a:solidFill>
            <a:ln>
              <a:noFill/>
            </a:ln>
            <a:effectLst>
              <a:outerShdw blurRad="317500" dist="1143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latin typeface="Calibri"/>
                <a:ea typeface="微软雅黑"/>
                <a:cs typeface="+mn-ea"/>
                <a:sym typeface="Calibri"/>
              </a:endParaRPr>
            </a:p>
          </p:txBody>
        </p:sp>
        <p:sp>
          <p:nvSpPr>
            <p:cNvPr id="36" name="Rectangle: Top Corners Rounded 35"/>
            <p:cNvSpPr/>
            <p:nvPr/>
          </p:nvSpPr>
          <p:spPr>
            <a:xfrm>
              <a:off x="713251" y="1760535"/>
              <a:ext cx="2873511" cy="566299"/>
            </a:xfrm>
            <a:prstGeom prst="round2SameRect">
              <a:avLst>
                <a:gd name="adj1" fmla="val 29001"/>
                <a:gd name="adj2" fmla="val 0"/>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7" name="Rectangle 36"/>
            <p:cNvSpPr/>
            <p:nvPr/>
          </p:nvSpPr>
          <p:spPr>
            <a:xfrm>
              <a:off x="1216582" y="1867125"/>
              <a:ext cx="1866848" cy="389610"/>
            </a:xfrm>
            <a:prstGeom prst="rect">
              <a:avLst/>
            </a:prstGeom>
          </p:spPr>
          <p:txBody>
            <a:bodyPr wrap="square">
              <a:spAutoFit/>
            </a:bodyPr>
            <a:lstStyle/>
            <a:p>
              <a:pPr algn="ctr">
                <a:lnSpc>
                  <a:spcPct val="130000"/>
                </a:lnSpc>
              </a:pPr>
              <a:r>
                <a:rPr lang="en-US" sz="1400" b="1" dirty="0">
                  <a:solidFill>
                    <a:schemeClr val="accent3"/>
                  </a:solidFill>
                  <a:latin typeface="Calibri"/>
                  <a:ea typeface="微软雅黑"/>
                  <a:cs typeface="+mn-ea"/>
                  <a:sym typeface="Calibri"/>
                </a:rPr>
                <a:t>Assignment </a:t>
              </a:r>
            </a:p>
          </p:txBody>
        </p:sp>
      </p:grpSp>
      <p:grpSp>
        <p:nvGrpSpPr>
          <p:cNvPr id="38" name="Group 3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300950" y="1959452"/>
            <a:ext cx="2579724" cy="2627771"/>
            <a:chOff x="713251" y="1760535"/>
            <a:chExt cx="2873511" cy="2927030"/>
          </a:xfrm>
        </p:grpSpPr>
        <p:sp>
          <p:nvSpPr>
            <p:cNvPr id="39" name="Rectangle: Rounded Corners 38"/>
            <p:cNvSpPr/>
            <p:nvPr/>
          </p:nvSpPr>
          <p:spPr>
            <a:xfrm>
              <a:off x="713251" y="1760536"/>
              <a:ext cx="2873511" cy="2927029"/>
            </a:xfrm>
            <a:prstGeom prst="roundRect">
              <a:avLst>
                <a:gd name="adj" fmla="val 6104"/>
              </a:avLst>
            </a:prstGeom>
            <a:solidFill>
              <a:schemeClr val="bg1"/>
            </a:solidFill>
            <a:ln>
              <a:noFill/>
            </a:ln>
            <a:effectLst>
              <a:outerShdw blurRad="317500" dist="1143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lumMod val="50000"/>
                    <a:lumOff val="50000"/>
                  </a:schemeClr>
                </a:solidFill>
                <a:latin typeface="Calibri"/>
                <a:ea typeface="微软雅黑"/>
                <a:cs typeface="+mn-ea"/>
                <a:sym typeface="Calibri"/>
              </a:endParaRPr>
            </a:p>
          </p:txBody>
        </p:sp>
        <p:sp>
          <p:nvSpPr>
            <p:cNvPr id="40" name="Rectangle: Top Corners Rounded 39"/>
            <p:cNvSpPr/>
            <p:nvPr/>
          </p:nvSpPr>
          <p:spPr>
            <a:xfrm>
              <a:off x="713251" y="1760535"/>
              <a:ext cx="2873511" cy="566299"/>
            </a:xfrm>
            <a:prstGeom prst="round2SameRect">
              <a:avLst>
                <a:gd name="adj1" fmla="val 29001"/>
                <a:gd name="adj2" fmla="val 0"/>
              </a:avLst>
            </a:prstGeom>
            <a:solidFill>
              <a:schemeClr val="accent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1" name="Rectangle 40"/>
            <p:cNvSpPr/>
            <p:nvPr/>
          </p:nvSpPr>
          <p:spPr>
            <a:xfrm>
              <a:off x="1216582" y="1867125"/>
              <a:ext cx="1866848" cy="389610"/>
            </a:xfrm>
            <a:prstGeom prst="rect">
              <a:avLst/>
            </a:prstGeom>
          </p:spPr>
          <p:txBody>
            <a:bodyPr wrap="square">
              <a:spAutoFit/>
            </a:bodyPr>
            <a:lstStyle/>
            <a:p>
              <a:pPr algn="ctr">
                <a:lnSpc>
                  <a:spcPct val="130000"/>
                </a:lnSpc>
              </a:pPr>
              <a:r>
                <a:rPr lang="en-US" sz="1400" b="1" dirty="0">
                  <a:solidFill>
                    <a:schemeClr val="accent1"/>
                  </a:solidFill>
                  <a:latin typeface="Calibri"/>
                  <a:ea typeface="微软雅黑"/>
                  <a:cs typeface="+mn-ea"/>
                  <a:sym typeface="Calibri"/>
                </a:rPr>
                <a:t>Assignment </a:t>
              </a:r>
            </a:p>
          </p:txBody>
        </p:sp>
      </p:grpSp>
      <p:grpSp>
        <p:nvGrpSpPr>
          <p:cNvPr id="42" name="Group 4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06834" y="2640272"/>
            <a:ext cx="2191983" cy="813583"/>
            <a:chOff x="594083" y="1724025"/>
            <a:chExt cx="2441613" cy="906236"/>
          </a:xfrm>
        </p:grpSpPr>
        <p:sp>
          <p:nvSpPr>
            <p:cNvPr id="43" name="Freeform 4"/>
            <p:cNvSpPr>
              <a:spLocks noChangeArrowheads="1"/>
            </p:cNvSpPr>
            <p:nvPr/>
          </p:nvSpPr>
          <p:spPr bwMode="auto">
            <a:xfrm rot="5400000">
              <a:off x="379967" y="2016508"/>
              <a:ext cx="749501" cy="321270"/>
            </a:xfrm>
            <a:prstGeom prst="roundRect">
              <a:avLst/>
            </a:prstGeom>
            <a:solidFill>
              <a:schemeClr val="accent1"/>
            </a:solidFill>
            <a:ln>
              <a:noFill/>
            </a:ln>
          </p:spPr>
          <p:txBody>
            <a:bodyPr wrap="none" anchor="ctr"/>
            <a:lstStyle/>
            <a:p>
              <a:endParaRPr lang="en-US" sz="1600" dirty="0">
                <a:latin typeface="Calibri"/>
                <a:ea typeface="微软雅黑"/>
                <a:cs typeface="+mn-ea"/>
                <a:sym typeface="Calibri"/>
              </a:endParaRPr>
            </a:p>
          </p:txBody>
        </p:sp>
        <p:sp>
          <p:nvSpPr>
            <p:cNvPr id="44" name="Rectangle: Rounded Corners 43"/>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45" name="Group 44"/>
            <p:cNvGrpSpPr/>
            <p:nvPr/>
          </p:nvGrpSpPr>
          <p:grpSpPr>
            <a:xfrm>
              <a:off x="781050" y="1789793"/>
              <a:ext cx="2194874" cy="757151"/>
              <a:chOff x="-3776024" y="4814995"/>
              <a:chExt cx="2194874" cy="757151"/>
            </a:xfrm>
          </p:grpSpPr>
          <p:sp>
            <p:nvSpPr>
              <p:cNvPr id="46" name="TextBox 45"/>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1</a:t>
                </a:r>
              </a:p>
            </p:txBody>
          </p:sp>
          <p:sp>
            <p:nvSpPr>
              <p:cNvPr id="47" name="TextBox 46"/>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grpSp>
        <p:nvGrpSpPr>
          <p:cNvPr id="48" name="Group 4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06834" y="3578068"/>
            <a:ext cx="2191983" cy="813583"/>
            <a:chOff x="594083" y="1724025"/>
            <a:chExt cx="2441613" cy="906236"/>
          </a:xfrm>
        </p:grpSpPr>
        <p:sp>
          <p:nvSpPr>
            <p:cNvPr id="49" name="Freeform 4"/>
            <p:cNvSpPr>
              <a:spLocks noChangeArrowheads="1"/>
            </p:cNvSpPr>
            <p:nvPr/>
          </p:nvSpPr>
          <p:spPr bwMode="auto">
            <a:xfrm rot="5400000">
              <a:off x="379967" y="2016508"/>
              <a:ext cx="749501" cy="321270"/>
            </a:xfrm>
            <a:prstGeom prst="roundRect">
              <a:avLst/>
            </a:prstGeom>
            <a:solidFill>
              <a:schemeClr val="accent1"/>
            </a:solidFill>
            <a:ln>
              <a:noFill/>
            </a:ln>
          </p:spPr>
          <p:txBody>
            <a:bodyPr wrap="none" anchor="ctr"/>
            <a:lstStyle/>
            <a:p>
              <a:endParaRPr lang="en-US" sz="1600" dirty="0">
                <a:latin typeface="Calibri"/>
                <a:ea typeface="微软雅黑"/>
                <a:cs typeface="+mn-ea"/>
                <a:sym typeface="Calibri"/>
              </a:endParaRPr>
            </a:p>
          </p:txBody>
        </p:sp>
        <p:sp>
          <p:nvSpPr>
            <p:cNvPr id="50" name="Rectangle: Rounded Corners 49"/>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51" name="Group 50"/>
            <p:cNvGrpSpPr/>
            <p:nvPr/>
          </p:nvGrpSpPr>
          <p:grpSpPr>
            <a:xfrm>
              <a:off x="781050" y="1789793"/>
              <a:ext cx="2194874" cy="757151"/>
              <a:chOff x="-3776024" y="4814995"/>
              <a:chExt cx="2194874" cy="757151"/>
            </a:xfrm>
          </p:grpSpPr>
          <p:sp>
            <p:nvSpPr>
              <p:cNvPr id="52" name="TextBox 51"/>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1</a:t>
                </a:r>
              </a:p>
            </p:txBody>
          </p:sp>
          <p:sp>
            <p:nvSpPr>
              <p:cNvPr id="53" name="TextBox 52"/>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grpSp>
        <p:nvGrpSpPr>
          <p:cNvPr id="58" name="Group 5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702830" y="2640272"/>
            <a:ext cx="2191983" cy="813583"/>
            <a:chOff x="594083" y="1724025"/>
            <a:chExt cx="2441613" cy="906236"/>
          </a:xfrm>
        </p:grpSpPr>
        <p:sp>
          <p:nvSpPr>
            <p:cNvPr id="59" name="Freeform 4"/>
            <p:cNvSpPr>
              <a:spLocks noChangeArrowheads="1"/>
            </p:cNvSpPr>
            <p:nvPr/>
          </p:nvSpPr>
          <p:spPr bwMode="auto">
            <a:xfrm rot="5400000">
              <a:off x="379967" y="2016508"/>
              <a:ext cx="749501" cy="321270"/>
            </a:xfrm>
            <a:prstGeom prst="roundRect">
              <a:avLst/>
            </a:prstGeom>
            <a:solidFill>
              <a:schemeClr val="accent2"/>
            </a:solidFill>
            <a:ln>
              <a:noFill/>
            </a:ln>
          </p:spPr>
          <p:txBody>
            <a:bodyPr wrap="none" anchor="ctr"/>
            <a:lstStyle/>
            <a:p>
              <a:endParaRPr lang="en-US" sz="1600" dirty="0">
                <a:latin typeface="Calibri"/>
                <a:ea typeface="微软雅黑"/>
                <a:cs typeface="+mn-ea"/>
                <a:sym typeface="Calibri"/>
              </a:endParaRPr>
            </a:p>
          </p:txBody>
        </p:sp>
        <p:sp>
          <p:nvSpPr>
            <p:cNvPr id="60" name="Rectangle: Rounded Corners 59"/>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61" name="Group 60"/>
            <p:cNvGrpSpPr/>
            <p:nvPr/>
          </p:nvGrpSpPr>
          <p:grpSpPr>
            <a:xfrm>
              <a:off x="781050" y="1789793"/>
              <a:ext cx="2194874" cy="757151"/>
              <a:chOff x="-3776024" y="4814995"/>
              <a:chExt cx="2194874" cy="757151"/>
            </a:xfrm>
          </p:grpSpPr>
          <p:sp>
            <p:nvSpPr>
              <p:cNvPr id="62" name="TextBox 61"/>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1</a:t>
                </a:r>
              </a:p>
            </p:txBody>
          </p:sp>
          <p:sp>
            <p:nvSpPr>
              <p:cNvPr id="63" name="TextBox 62"/>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grpSp>
        <p:nvGrpSpPr>
          <p:cNvPr id="70" name="Group 6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6598825" y="2640272"/>
            <a:ext cx="2191983" cy="813583"/>
            <a:chOff x="594083" y="1724025"/>
            <a:chExt cx="2441613" cy="906236"/>
          </a:xfrm>
        </p:grpSpPr>
        <p:sp>
          <p:nvSpPr>
            <p:cNvPr id="71" name="Freeform 4"/>
            <p:cNvSpPr>
              <a:spLocks noChangeArrowheads="1"/>
            </p:cNvSpPr>
            <p:nvPr/>
          </p:nvSpPr>
          <p:spPr bwMode="auto">
            <a:xfrm rot="5400000">
              <a:off x="379967" y="2016508"/>
              <a:ext cx="749501" cy="321270"/>
            </a:xfrm>
            <a:prstGeom prst="roundRect">
              <a:avLst/>
            </a:prstGeom>
            <a:solidFill>
              <a:schemeClr val="accent1"/>
            </a:solidFill>
            <a:ln>
              <a:noFill/>
            </a:ln>
          </p:spPr>
          <p:txBody>
            <a:bodyPr wrap="none" anchor="ctr"/>
            <a:lstStyle/>
            <a:p>
              <a:endParaRPr lang="en-US" sz="1600" dirty="0">
                <a:latin typeface="Calibri"/>
                <a:ea typeface="微软雅黑"/>
                <a:cs typeface="+mn-ea"/>
                <a:sym typeface="Calibri"/>
              </a:endParaRPr>
            </a:p>
          </p:txBody>
        </p:sp>
        <p:sp>
          <p:nvSpPr>
            <p:cNvPr id="72" name="Rectangle: Rounded Corners 71"/>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73" name="Group 72"/>
            <p:cNvGrpSpPr/>
            <p:nvPr/>
          </p:nvGrpSpPr>
          <p:grpSpPr>
            <a:xfrm>
              <a:off x="781050" y="1789793"/>
              <a:ext cx="2194874" cy="757151"/>
              <a:chOff x="-3776024" y="4814995"/>
              <a:chExt cx="2194874" cy="757151"/>
            </a:xfrm>
          </p:grpSpPr>
          <p:sp>
            <p:nvSpPr>
              <p:cNvPr id="74" name="TextBox 73"/>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1</a:t>
                </a:r>
              </a:p>
            </p:txBody>
          </p:sp>
          <p:sp>
            <p:nvSpPr>
              <p:cNvPr id="75" name="TextBox 74"/>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grpSp>
        <p:nvGrpSpPr>
          <p:cNvPr id="88" name="Group 8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6598824" y="3578571"/>
            <a:ext cx="2191983" cy="813583"/>
            <a:chOff x="594083" y="1724025"/>
            <a:chExt cx="2441613" cy="906236"/>
          </a:xfrm>
        </p:grpSpPr>
        <p:sp>
          <p:nvSpPr>
            <p:cNvPr id="89" name="Freeform 4"/>
            <p:cNvSpPr>
              <a:spLocks noChangeArrowheads="1"/>
            </p:cNvSpPr>
            <p:nvPr/>
          </p:nvSpPr>
          <p:spPr bwMode="auto">
            <a:xfrm rot="5400000">
              <a:off x="379967" y="2016508"/>
              <a:ext cx="749501" cy="321270"/>
            </a:xfrm>
            <a:prstGeom prst="roundRect">
              <a:avLst/>
            </a:prstGeom>
            <a:solidFill>
              <a:schemeClr val="accent6"/>
            </a:solidFill>
            <a:ln>
              <a:noFill/>
            </a:ln>
          </p:spPr>
          <p:txBody>
            <a:bodyPr wrap="none" anchor="ctr"/>
            <a:lstStyle/>
            <a:p>
              <a:endParaRPr lang="en-US" sz="1600" dirty="0">
                <a:latin typeface="Calibri"/>
                <a:ea typeface="微软雅黑"/>
                <a:cs typeface="+mn-ea"/>
                <a:sym typeface="Calibri"/>
              </a:endParaRPr>
            </a:p>
          </p:txBody>
        </p:sp>
        <p:sp>
          <p:nvSpPr>
            <p:cNvPr id="90" name="Rectangle: Rounded Corners 89"/>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91" name="Group 90"/>
            <p:cNvGrpSpPr/>
            <p:nvPr/>
          </p:nvGrpSpPr>
          <p:grpSpPr>
            <a:xfrm>
              <a:off x="781050" y="1789793"/>
              <a:ext cx="2194874" cy="757151"/>
              <a:chOff x="-3776024" y="4814995"/>
              <a:chExt cx="2194874" cy="757151"/>
            </a:xfrm>
          </p:grpSpPr>
          <p:sp>
            <p:nvSpPr>
              <p:cNvPr id="92" name="TextBox 91"/>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1</a:t>
                </a:r>
              </a:p>
            </p:txBody>
          </p:sp>
          <p:sp>
            <p:nvSpPr>
              <p:cNvPr id="93" name="TextBox 92"/>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grpSp>
        <p:nvGrpSpPr>
          <p:cNvPr id="94" name="Group 9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6598825" y="4516869"/>
            <a:ext cx="2191983" cy="813583"/>
            <a:chOff x="594083" y="1724025"/>
            <a:chExt cx="2441613" cy="906236"/>
          </a:xfrm>
        </p:grpSpPr>
        <p:sp>
          <p:nvSpPr>
            <p:cNvPr id="95" name="Freeform 4"/>
            <p:cNvSpPr>
              <a:spLocks noChangeArrowheads="1"/>
            </p:cNvSpPr>
            <p:nvPr/>
          </p:nvSpPr>
          <p:spPr bwMode="auto">
            <a:xfrm rot="5400000">
              <a:off x="379967" y="2016508"/>
              <a:ext cx="749501" cy="321270"/>
            </a:xfrm>
            <a:prstGeom prst="roundRect">
              <a:avLst/>
            </a:prstGeom>
            <a:solidFill>
              <a:schemeClr val="accent1"/>
            </a:solidFill>
            <a:ln>
              <a:noFill/>
            </a:ln>
          </p:spPr>
          <p:txBody>
            <a:bodyPr wrap="none" anchor="ctr"/>
            <a:lstStyle/>
            <a:p>
              <a:endParaRPr lang="en-US" sz="1600" dirty="0">
                <a:latin typeface="Calibri"/>
                <a:ea typeface="微软雅黑"/>
                <a:cs typeface="+mn-ea"/>
                <a:sym typeface="Calibri"/>
              </a:endParaRPr>
            </a:p>
          </p:txBody>
        </p:sp>
        <p:sp>
          <p:nvSpPr>
            <p:cNvPr id="96" name="Rectangle: Rounded Corners 95"/>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97" name="Group 96"/>
            <p:cNvGrpSpPr/>
            <p:nvPr/>
          </p:nvGrpSpPr>
          <p:grpSpPr>
            <a:xfrm>
              <a:off x="781050" y="1789793"/>
              <a:ext cx="2194874" cy="757151"/>
              <a:chOff x="-3776024" y="4814995"/>
              <a:chExt cx="2194874" cy="757151"/>
            </a:xfrm>
          </p:grpSpPr>
          <p:sp>
            <p:nvSpPr>
              <p:cNvPr id="98" name="TextBox 97"/>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1</a:t>
                </a:r>
              </a:p>
            </p:txBody>
          </p:sp>
          <p:sp>
            <p:nvSpPr>
              <p:cNvPr id="99" name="TextBox 98"/>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grpSp>
        <p:nvGrpSpPr>
          <p:cNvPr id="106" name="Group 10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525537" y="2640272"/>
            <a:ext cx="2191983" cy="813583"/>
            <a:chOff x="594083" y="1724025"/>
            <a:chExt cx="2441613" cy="906236"/>
          </a:xfrm>
        </p:grpSpPr>
        <p:sp>
          <p:nvSpPr>
            <p:cNvPr id="107" name="Freeform 4"/>
            <p:cNvSpPr>
              <a:spLocks noChangeArrowheads="1"/>
            </p:cNvSpPr>
            <p:nvPr/>
          </p:nvSpPr>
          <p:spPr bwMode="auto">
            <a:xfrm rot="5400000">
              <a:off x="379967" y="2016508"/>
              <a:ext cx="749501" cy="321270"/>
            </a:xfrm>
            <a:prstGeom prst="roundRect">
              <a:avLst/>
            </a:prstGeom>
            <a:solidFill>
              <a:schemeClr val="accent1"/>
            </a:solidFill>
            <a:ln>
              <a:noFill/>
            </a:ln>
          </p:spPr>
          <p:txBody>
            <a:bodyPr wrap="none" anchor="ctr"/>
            <a:lstStyle/>
            <a:p>
              <a:endParaRPr lang="en-US" sz="1600" dirty="0">
                <a:latin typeface="Calibri"/>
                <a:ea typeface="微软雅黑"/>
                <a:cs typeface="+mn-ea"/>
                <a:sym typeface="Calibri"/>
              </a:endParaRPr>
            </a:p>
          </p:txBody>
        </p:sp>
        <p:sp>
          <p:nvSpPr>
            <p:cNvPr id="108" name="Rectangle: Rounded Corners 107"/>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109" name="Group 108"/>
            <p:cNvGrpSpPr/>
            <p:nvPr/>
          </p:nvGrpSpPr>
          <p:grpSpPr>
            <a:xfrm>
              <a:off x="781050" y="1789793"/>
              <a:ext cx="2194874" cy="757151"/>
              <a:chOff x="-3776024" y="4814995"/>
              <a:chExt cx="2194874" cy="757151"/>
            </a:xfrm>
          </p:grpSpPr>
          <p:sp>
            <p:nvSpPr>
              <p:cNvPr id="110" name="TextBox 109"/>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2</a:t>
                </a:r>
              </a:p>
            </p:txBody>
          </p:sp>
          <p:sp>
            <p:nvSpPr>
              <p:cNvPr id="111" name="TextBox 110"/>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grpSp>
        <p:nvGrpSpPr>
          <p:cNvPr id="112" name="Group 1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525536" y="3578571"/>
            <a:ext cx="2191983" cy="813583"/>
            <a:chOff x="594083" y="1724025"/>
            <a:chExt cx="2441613" cy="906236"/>
          </a:xfrm>
        </p:grpSpPr>
        <p:sp>
          <p:nvSpPr>
            <p:cNvPr id="113" name="Freeform 4"/>
            <p:cNvSpPr>
              <a:spLocks noChangeArrowheads="1"/>
            </p:cNvSpPr>
            <p:nvPr/>
          </p:nvSpPr>
          <p:spPr bwMode="auto">
            <a:xfrm rot="5400000">
              <a:off x="379967" y="2016508"/>
              <a:ext cx="749501" cy="321270"/>
            </a:xfrm>
            <a:prstGeom prst="roundRect">
              <a:avLst/>
            </a:prstGeom>
            <a:solidFill>
              <a:schemeClr val="accent5"/>
            </a:solidFill>
            <a:ln>
              <a:noFill/>
            </a:ln>
          </p:spPr>
          <p:txBody>
            <a:bodyPr wrap="none" anchor="ctr"/>
            <a:lstStyle/>
            <a:p>
              <a:endParaRPr lang="en-US" sz="1600" dirty="0">
                <a:latin typeface="Calibri"/>
                <a:ea typeface="微软雅黑"/>
                <a:cs typeface="+mn-ea"/>
                <a:sym typeface="Calibri"/>
              </a:endParaRPr>
            </a:p>
          </p:txBody>
        </p:sp>
        <p:sp>
          <p:nvSpPr>
            <p:cNvPr id="114" name="Rectangle: Rounded Corners 113"/>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115" name="Group 114"/>
            <p:cNvGrpSpPr/>
            <p:nvPr/>
          </p:nvGrpSpPr>
          <p:grpSpPr>
            <a:xfrm>
              <a:off x="781050" y="1789793"/>
              <a:ext cx="2194874" cy="757151"/>
              <a:chOff x="-3776024" y="4814995"/>
              <a:chExt cx="2194874" cy="757151"/>
            </a:xfrm>
          </p:grpSpPr>
          <p:sp>
            <p:nvSpPr>
              <p:cNvPr id="116" name="TextBox 115"/>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2</a:t>
                </a:r>
              </a:p>
            </p:txBody>
          </p:sp>
          <p:sp>
            <p:nvSpPr>
              <p:cNvPr id="117" name="TextBox 116"/>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grpSp>
        <p:nvGrpSpPr>
          <p:cNvPr id="124" name="Group 12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508959" y="3881325"/>
            <a:ext cx="2579724" cy="1688971"/>
            <a:chOff x="713251" y="1760535"/>
            <a:chExt cx="2873511" cy="1881316"/>
          </a:xfrm>
        </p:grpSpPr>
        <p:sp>
          <p:nvSpPr>
            <p:cNvPr id="125" name="Rectangle: Rounded Corners 124"/>
            <p:cNvSpPr/>
            <p:nvPr/>
          </p:nvSpPr>
          <p:spPr>
            <a:xfrm>
              <a:off x="713251" y="1760536"/>
              <a:ext cx="2873511" cy="1881315"/>
            </a:xfrm>
            <a:prstGeom prst="roundRect">
              <a:avLst>
                <a:gd name="adj" fmla="val 9102"/>
              </a:avLst>
            </a:prstGeom>
            <a:solidFill>
              <a:schemeClr val="bg1"/>
            </a:solidFill>
            <a:ln>
              <a:noFill/>
            </a:ln>
            <a:effectLst>
              <a:outerShdw blurRad="317500" dist="1143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lumMod val="50000"/>
                    <a:lumOff val="50000"/>
                  </a:schemeClr>
                </a:solidFill>
                <a:latin typeface="Calibri"/>
                <a:ea typeface="微软雅黑"/>
                <a:cs typeface="+mn-ea"/>
                <a:sym typeface="Calibri"/>
              </a:endParaRPr>
            </a:p>
          </p:txBody>
        </p:sp>
        <p:sp>
          <p:nvSpPr>
            <p:cNvPr id="126" name="Rectangle: Top Corners Rounded 125"/>
            <p:cNvSpPr/>
            <p:nvPr/>
          </p:nvSpPr>
          <p:spPr>
            <a:xfrm>
              <a:off x="713251" y="1760535"/>
              <a:ext cx="2873511" cy="566299"/>
            </a:xfrm>
            <a:prstGeom prst="round2SameRect">
              <a:avLst>
                <a:gd name="adj1" fmla="val 29001"/>
                <a:gd name="adj2" fmla="val 0"/>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sp>
          <p:nvSpPr>
            <p:cNvPr id="127" name="Rectangle 126"/>
            <p:cNvSpPr/>
            <p:nvPr/>
          </p:nvSpPr>
          <p:spPr>
            <a:xfrm>
              <a:off x="1216582" y="1867125"/>
              <a:ext cx="1866848" cy="348683"/>
            </a:xfrm>
            <a:prstGeom prst="rect">
              <a:avLst/>
            </a:prstGeom>
          </p:spPr>
          <p:txBody>
            <a:bodyPr wrap="square">
              <a:spAutoFit/>
            </a:bodyPr>
            <a:lstStyle/>
            <a:p>
              <a:pPr algn="ctr">
                <a:lnSpc>
                  <a:spcPct val="130000"/>
                </a:lnSpc>
              </a:pPr>
              <a:r>
                <a:rPr lang="en-US" sz="1200" b="1" dirty="0">
                  <a:solidFill>
                    <a:schemeClr val="accent2"/>
                  </a:solidFill>
                  <a:latin typeface="Calibri"/>
                  <a:ea typeface="微软雅黑"/>
                  <a:cs typeface="+mn-ea"/>
                  <a:sym typeface="Calibri"/>
                </a:rPr>
                <a:t>Assignment </a:t>
              </a:r>
            </a:p>
          </p:txBody>
        </p:sp>
      </p:grpSp>
      <p:grpSp>
        <p:nvGrpSpPr>
          <p:cNvPr id="128" name="Group 12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702830" y="4562145"/>
            <a:ext cx="2191983" cy="813583"/>
            <a:chOff x="594083" y="1724025"/>
            <a:chExt cx="2441613" cy="906236"/>
          </a:xfrm>
        </p:grpSpPr>
        <p:sp>
          <p:nvSpPr>
            <p:cNvPr id="129" name="Freeform 4"/>
            <p:cNvSpPr>
              <a:spLocks noChangeArrowheads="1"/>
            </p:cNvSpPr>
            <p:nvPr/>
          </p:nvSpPr>
          <p:spPr bwMode="auto">
            <a:xfrm rot="5400000">
              <a:off x="379967" y="2016508"/>
              <a:ext cx="749501" cy="321270"/>
            </a:xfrm>
            <a:prstGeom prst="roundRect">
              <a:avLst/>
            </a:prstGeom>
            <a:solidFill>
              <a:schemeClr val="accent2"/>
            </a:solidFill>
            <a:ln>
              <a:noFill/>
            </a:ln>
          </p:spPr>
          <p:txBody>
            <a:bodyPr wrap="none" anchor="ctr"/>
            <a:lstStyle/>
            <a:p>
              <a:endParaRPr lang="en-US" sz="1600" dirty="0">
                <a:latin typeface="Calibri"/>
                <a:ea typeface="微软雅黑"/>
                <a:cs typeface="+mn-ea"/>
                <a:sym typeface="Calibri"/>
              </a:endParaRPr>
            </a:p>
          </p:txBody>
        </p:sp>
        <p:sp>
          <p:nvSpPr>
            <p:cNvPr id="130" name="Rectangle: Rounded Corners 129"/>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131" name="Group 130"/>
            <p:cNvGrpSpPr/>
            <p:nvPr/>
          </p:nvGrpSpPr>
          <p:grpSpPr>
            <a:xfrm>
              <a:off x="781050" y="1789793"/>
              <a:ext cx="2194874" cy="757151"/>
              <a:chOff x="-3776024" y="4814995"/>
              <a:chExt cx="2194874" cy="757151"/>
            </a:xfrm>
          </p:grpSpPr>
          <p:sp>
            <p:nvSpPr>
              <p:cNvPr id="132" name="TextBox 131"/>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1</a:t>
                </a:r>
              </a:p>
            </p:txBody>
          </p:sp>
          <p:sp>
            <p:nvSpPr>
              <p:cNvPr id="133" name="TextBox 132"/>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grpSp>
        <p:nvGrpSpPr>
          <p:cNvPr id="134" name="Group 13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606628" y="4788029"/>
            <a:ext cx="2579724" cy="1688971"/>
            <a:chOff x="713251" y="1760535"/>
            <a:chExt cx="2873511" cy="1881316"/>
          </a:xfrm>
        </p:grpSpPr>
        <p:sp>
          <p:nvSpPr>
            <p:cNvPr id="135" name="Rectangle: Rounded Corners 134"/>
            <p:cNvSpPr/>
            <p:nvPr/>
          </p:nvSpPr>
          <p:spPr>
            <a:xfrm>
              <a:off x="713251" y="1760536"/>
              <a:ext cx="2873511" cy="1881315"/>
            </a:xfrm>
            <a:prstGeom prst="roundRect">
              <a:avLst>
                <a:gd name="adj" fmla="val 9102"/>
              </a:avLst>
            </a:prstGeom>
            <a:solidFill>
              <a:schemeClr val="bg1"/>
            </a:solidFill>
            <a:ln>
              <a:noFill/>
            </a:ln>
            <a:effectLst>
              <a:outerShdw blurRad="317500" dist="114300" dir="5400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lumMod val="50000"/>
                    <a:lumOff val="50000"/>
                  </a:schemeClr>
                </a:solidFill>
                <a:latin typeface="Calibri"/>
                <a:ea typeface="微软雅黑"/>
                <a:cs typeface="+mn-ea"/>
                <a:sym typeface="Calibri"/>
              </a:endParaRPr>
            </a:p>
          </p:txBody>
        </p:sp>
        <p:sp>
          <p:nvSpPr>
            <p:cNvPr id="136" name="Rectangle: Top Corners Rounded 135"/>
            <p:cNvSpPr/>
            <p:nvPr/>
          </p:nvSpPr>
          <p:spPr>
            <a:xfrm>
              <a:off x="713251" y="1760535"/>
              <a:ext cx="2873511" cy="566299"/>
            </a:xfrm>
            <a:prstGeom prst="round2SameRect">
              <a:avLst>
                <a:gd name="adj1" fmla="val 29001"/>
                <a:gd name="adj2" fmla="val 0"/>
              </a:avLst>
            </a:prstGeom>
            <a:solidFill>
              <a:schemeClr val="accent5">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sp>
          <p:nvSpPr>
            <p:cNvPr id="137" name="Rectangle 136"/>
            <p:cNvSpPr/>
            <p:nvPr/>
          </p:nvSpPr>
          <p:spPr>
            <a:xfrm>
              <a:off x="1216582" y="1867125"/>
              <a:ext cx="1866848" cy="348683"/>
            </a:xfrm>
            <a:prstGeom prst="rect">
              <a:avLst/>
            </a:prstGeom>
          </p:spPr>
          <p:txBody>
            <a:bodyPr wrap="square">
              <a:spAutoFit/>
            </a:bodyPr>
            <a:lstStyle/>
            <a:p>
              <a:pPr algn="ctr">
                <a:lnSpc>
                  <a:spcPct val="130000"/>
                </a:lnSpc>
              </a:pPr>
              <a:r>
                <a:rPr lang="en-US" sz="1200" b="1" dirty="0">
                  <a:solidFill>
                    <a:schemeClr val="accent5"/>
                  </a:solidFill>
                  <a:latin typeface="Calibri"/>
                  <a:ea typeface="微软雅黑"/>
                  <a:cs typeface="+mn-ea"/>
                  <a:sym typeface="Calibri"/>
                </a:rPr>
                <a:t>Assignment </a:t>
              </a:r>
            </a:p>
          </p:txBody>
        </p:sp>
      </p:grpSp>
      <p:grpSp>
        <p:nvGrpSpPr>
          <p:cNvPr id="138" name="Group 13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00499" y="5468849"/>
            <a:ext cx="2191983" cy="813583"/>
            <a:chOff x="594083" y="1724025"/>
            <a:chExt cx="2441613" cy="906236"/>
          </a:xfrm>
        </p:grpSpPr>
        <p:sp>
          <p:nvSpPr>
            <p:cNvPr id="139" name="Freeform 4"/>
            <p:cNvSpPr>
              <a:spLocks noChangeArrowheads="1"/>
            </p:cNvSpPr>
            <p:nvPr/>
          </p:nvSpPr>
          <p:spPr bwMode="auto">
            <a:xfrm rot="5400000">
              <a:off x="379967" y="2016508"/>
              <a:ext cx="749501" cy="321270"/>
            </a:xfrm>
            <a:prstGeom prst="roundRect">
              <a:avLst/>
            </a:prstGeom>
            <a:solidFill>
              <a:schemeClr val="accent6"/>
            </a:solidFill>
            <a:ln>
              <a:noFill/>
            </a:ln>
          </p:spPr>
          <p:txBody>
            <a:bodyPr wrap="none" anchor="ctr"/>
            <a:lstStyle/>
            <a:p>
              <a:endParaRPr lang="en-US" sz="1600" dirty="0">
                <a:latin typeface="Calibri"/>
                <a:ea typeface="微软雅黑"/>
                <a:cs typeface="+mn-ea"/>
                <a:sym typeface="Calibri"/>
              </a:endParaRPr>
            </a:p>
          </p:txBody>
        </p:sp>
        <p:sp>
          <p:nvSpPr>
            <p:cNvPr id="140" name="Rectangle: Rounded Corners 139"/>
            <p:cNvSpPr/>
            <p:nvPr/>
          </p:nvSpPr>
          <p:spPr>
            <a:xfrm>
              <a:off x="678095" y="1724025"/>
              <a:ext cx="2357601" cy="906236"/>
            </a:xfrm>
            <a:prstGeom prst="roundRect">
              <a:avLst>
                <a:gd name="adj" fmla="val 6831"/>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Calibri"/>
                <a:ea typeface="微软雅黑"/>
                <a:cs typeface="+mn-ea"/>
                <a:sym typeface="Calibri"/>
              </a:endParaRPr>
            </a:p>
          </p:txBody>
        </p:sp>
        <p:grpSp>
          <p:nvGrpSpPr>
            <p:cNvPr id="141" name="Group 140"/>
            <p:cNvGrpSpPr/>
            <p:nvPr/>
          </p:nvGrpSpPr>
          <p:grpSpPr>
            <a:xfrm>
              <a:off x="781050" y="1789793"/>
              <a:ext cx="2194874" cy="757151"/>
              <a:chOff x="-3776024" y="4814995"/>
              <a:chExt cx="2194874" cy="757151"/>
            </a:xfrm>
          </p:grpSpPr>
          <p:sp>
            <p:nvSpPr>
              <p:cNvPr id="142" name="TextBox 141"/>
              <p:cNvSpPr txBox="1"/>
              <p:nvPr/>
            </p:nvSpPr>
            <p:spPr>
              <a:xfrm>
                <a:off x="-3776024" y="5334881"/>
                <a:ext cx="2194874" cy="237265"/>
              </a:xfrm>
              <a:prstGeom prst="rect">
                <a:avLst/>
              </a:prstGeom>
              <a:noFill/>
            </p:spPr>
            <p:txBody>
              <a:bodyPr wrap="square" rtlCol="0">
                <a:spAutoFit/>
              </a:bodyPr>
              <a:lstStyle/>
              <a:p>
                <a:pPr>
                  <a:lnSpc>
                    <a:spcPct val="120000"/>
                  </a:lnSpc>
                </a:pPr>
                <a:r>
                  <a:rPr lang="en-US" sz="700" dirty="0">
                    <a:solidFill>
                      <a:schemeClr val="tx1">
                        <a:lumMod val="85000"/>
                        <a:lumOff val="15000"/>
                      </a:schemeClr>
                    </a:solidFill>
                    <a:latin typeface="Calibri"/>
                    <a:ea typeface="微软雅黑"/>
                    <a:cs typeface="+mn-ea"/>
                    <a:sym typeface="Calibri"/>
                  </a:rPr>
                  <a:t>20 JANUARY 2021</a:t>
                </a:r>
              </a:p>
            </p:txBody>
          </p:sp>
          <p:sp>
            <p:nvSpPr>
              <p:cNvPr id="143" name="TextBox 142"/>
              <p:cNvSpPr txBox="1"/>
              <p:nvPr/>
            </p:nvSpPr>
            <p:spPr>
              <a:xfrm>
                <a:off x="-3776024" y="4814995"/>
                <a:ext cx="1854200" cy="540310"/>
              </a:xfrm>
              <a:prstGeom prst="rect">
                <a:avLst/>
              </a:prstGeom>
              <a:noFill/>
            </p:spPr>
            <p:txBody>
              <a:bodyPr wrap="square" rtlCol="0">
                <a:spAutoFit/>
              </a:bodyPr>
              <a:lstStyle/>
              <a:p>
                <a:pPr>
                  <a:lnSpc>
                    <a:spcPct val="120000"/>
                  </a:lnSpc>
                </a:pPr>
                <a:r>
                  <a:rPr lang="en-US" sz="1100" dirty="0">
                    <a:solidFill>
                      <a:schemeClr val="tx1">
                        <a:lumMod val="75000"/>
                        <a:lumOff val="25000"/>
                      </a:schemeClr>
                    </a:solidFill>
                    <a:latin typeface="Calibri"/>
                    <a:ea typeface="微软雅黑"/>
                    <a:cs typeface="+mn-ea"/>
                    <a:sym typeface="Calibri"/>
                  </a:rPr>
                  <a:t>A wonderful serenity has taken possession </a:t>
                </a:r>
              </a:p>
            </p:txBody>
          </p:sp>
        </p:grpSp>
      </p:grpSp>
      <p:sp>
        <p:nvSpPr>
          <p:cNvPr id="10"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800">
        <p14:flythrough/>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图片占位符 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a:stretch>
            <a:fillRect/>
          </a:stretch>
        </p:blipFill>
        <p:spPr>
          <a:prstGeom prst="rect">
            <a:avLst/>
          </a:prstGeom>
        </p:spPr>
      </p:pic>
      <p:sp>
        <p:nvSpPr>
          <p:cNvPr id="25" name="Rectangle 2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flipH="1">
            <a:off x="9431355" y="838200"/>
            <a:ext cx="1866454" cy="5143500"/>
          </a:xfrm>
          <a:prstGeom prst="rect">
            <a:avLst/>
          </a:prstGeom>
          <a:solidFill>
            <a:schemeClr val="bg1">
              <a:alpha val="90000"/>
            </a:schemeClr>
          </a:solid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10" name="TextBox 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429196" y="1260542"/>
            <a:ext cx="4167261" cy="707886"/>
          </a:xfrm>
          <a:prstGeom prst="rect">
            <a:avLst/>
          </a:prstGeom>
          <a:noFill/>
        </p:spPr>
        <p:txBody>
          <a:bodyPr wrap="square" rtlCol="0">
            <a:spAutoFit/>
          </a:bodyPr>
          <a:lstStyle/>
          <a:p>
            <a:r>
              <a:rPr lang="en-US" sz="4000" b="1" dirty="0">
                <a:solidFill>
                  <a:schemeClr val="tx1">
                    <a:lumMod val="85000"/>
                    <a:lumOff val="15000"/>
                  </a:schemeClr>
                </a:solidFill>
                <a:latin typeface="Calibri"/>
                <a:ea typeface="微软雅黑"/>
                <a:cs typeface="+mn-ea"/>
                <a:sym typeface="Calibri"/>
              </a:rPr>
              <a:t>Strengths</a:t>
            </a:r>
          </a:p>
        </p:txBody>
      </p:sp>
      <p:grpSp>
        <p:nvGrpSpPr>
          <p:cNvPr id="12" name="Group 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43536" y="4849075"/>
            <a:ext cx="1324112" cy="331302"/>
            <a:chOff x="4481444" y="4189765"/>
            <a:chExt cx="1324112" cy="331302"/>
          </a:xfrm>
        </p:grpSpPr>
        <p:sp>
          <p:nvSpPr>
            <p:cNvPr id="13" name="Rectangle: Rounded Corners 12"/>
            <p:cNvSpPr/>
            <p:nvPr/>
          </p:nvSpPr>
          <p:spPr>
            <a:xfrm>
              <a:off x="4481444" y="4189765"/>
              <a:ext cx="1324112" cy="331302"/>
            </a:xfrm>
            <a:prstGeom prst="roundRect">
              <a:avLst>
                <a:gd name="adj" fmla="val 50000"/>
              </a:avLst>
            </a:prstGeom>
            <a:gradFill>
              <a:gsLst>
                <a:gs pos="0">
                  <a:schemeClr val="accent5">
                    <a:lumMod val="60000"/>
                    <a:lumOff val="40000"/>
                  </a:schemeClr>
                </a:gs>
                <a:gs pos="100000">
                  <a:schemeClr val="accent3">
                    <a:lumMod val="60000"/>
                    <a:lumOff val="40000"/>
                  </a:schemeClr>
                </a:gs>
              </a:gsLst>
              <a:lin ang="8100000" scaled="1"/>
            </a:gradFill>
            <a:ln w="31750">
              <a:solidFill>
                <a:schemeClr val="accent3">
                  <a:alpha val="93000"/>
                </a:schemeClr>
              </a:solidFill>
            </a:ln>
            <a:effectLst>
              <a:outerShdw blurRad="228600" dist="152400" dir="5400000" sx="79000" sy="79000" algn="t"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spc="300" dirty="0">
                <a:solidFill>
                  <a:schemeClr val="bg1"/>
                </a:solidFill>
                <a:latin typeface="Calibri"/>
                <a:ea typeface="微软雅黑"/>
                <a:cs typeface="+mn-ea"/>
                <a:sym typeface="Calibri"/>
              </a:endParaRPr>
            </a:p>
          </p:txBody>
        </p:sp>
        <p:sp>
          <p:nvSpPr>
            <p:cNvPr id="14" name="TextBox 13"/>
            <p:cNvSpPr txBox="1"/>
            <p:nvPr/>
          </p:nvSpPr>
          <p:spPr>
            <a:xfrm>
              <a:off x="4546298" y="4212451"/>
              <a:ext cx="1194404" cy="307777"/>
            </a:xfrm>
            <a:prstGeom prst="rect">
              <a:avLst/>
            </a:prstGeom>
            <a:noFill/>
          </p:spPr>
          <p:txBody>
            <a:bodyPr wrap="square" rtlCol="0">
              <a:spAutoFit/>
            </a:bodyPr>
            <a:lstStyle/>
            <a:p>
              <a:pPr algn="ctr"/>
              <a:r>
                <a:rPr lang="en-US" sz="1400" dirty="0">
                  <a:solidFill>
                    <a:schemeClr val="bg1"/>
                  </a:solidFill>
                  <a:latin typeface="Calibri"/>
                  <a:ea typeface="微软雅黑"/>
                  <a:cs typeface="+mn-ea"/>
                  <a:sym typeface="Calibri"/>
                </a:rPr>
                <a:t>Read More</a:t>
              </a:r>
              <a:endParaRPr lang="id-ID" sz="1400" dirty="0">
                <a:solidFill>
                  <a:schemeClr val="bg1"/>
                </a:solidFill>
                <a:latin typeface="Calibri"/>
                <a:ea typeface="微软雅黑"/>
                <a:cs typeface="+mn-ea"/>
                <a:sym typeface="Calibri"/>
              </a:endParaRPr>
            </a:p>
          </p:txBody>
        </p:sp>
      </p:grpSp>
      <p:sp>
        <p:nvSpPr>
          <p:cNvPr id="15" name="TextBox 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429196" y="2026088"/>
            <a:ext cx="3276222" cy="369332"/>
          </a:xfrm>
          <a:prstGeom prst="rect">
            <a:avLst/>
          </a:prstGeom>
          <a:noFill/>
        </p:spPr>
        <p:txBody>
          <a:bodyPr wrap="square" rtlCol="0">
            <a:spAutoFit/>
          </a:bodyPr>
          <a:lstStyle/>
          <a:p>
            <a:r>
              <a:rPr lang="en-US" b="1" dirty="0">
                <a:solidFill>
                  <a:schemeClr val="accent1"/>
                </a:solidFill>
                <a:latin typeface="Calibri"/>
                <a:ea typeface="微软雅黑"/>
                <a:cs typeface="+mn-ea"/>
                <a:sym typeface="Calibri"/>
              </a:rPr>
              <a:t>SWOT Analysis</a:t>
            </a:r>
          </a:p>
        </p:txBody>
      </p:sp>
      <p:grpSp>
        <p:nvGrpSpPr>
          <p:cNvPr id="5" name="Group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651049" y="1427025"/>
            <a:ext cx="1386648" cy="3946531"/>
            <a:chOff x="9651049" y="1427025"/>
            <a:chExt cx="1386648" cy="3946531"/>
          </a:xfrm>
        </p:grpSpPr>
        <p:grpSp>
          <p:nvGrpSpPr>
            <p:cNvPr id="16" name="Group 15"/>
            <p:cNvGrpSpPr/>
            <p:nvPr/>
          </p:nvGrpSpPr>
          <p:grpSpPr>
            <a:xfrm>
              <a:off x="9651049" y="1427025"/>
              <a:ext cx="1386648" cy="929040"/>
              <a:chOff x="6088795" y="4376959"/>
              <a:chExt cx="1386648" cy="929039"/>
            </a:xfrm>
          </p:grpSpPr>
          <p:sp>
            <p:nvSpPr>
              <p:cNvPr id="17" name="TextBox 16"/>
              <p:cNvSpPr txBox="1"/>
              <p:nvPr/>
            </p:nvSpPr>
            <p:spPr>
              <a:xfrm>
                <a:off x="6088795" y="4376959"/>
                <a:ext cx="1386648" cy="707885"/>
              </a:xfrm>
              <a:prstGeom prst="rect">
                <a:avLst/>
              </a:prstGeom>
              <a:noFill/>
            </p:spPr>
            <p:txBody>
              <a:bodyPr wrap="square" rtlCol="0">
                <a:spAutoFit/>
              </a:bodyPr>
              <a:lstStyle/>
              <a:p>
                <a:pPr algn="ctr"/>
                <a:r>
                  <a:rPr lang="en-US" sz="4000" dirty="0">
                    <a:solidFill>
                      <a:schemeClr val="tx1">
                        <a:lumMod val="65000"/>
                        <a:lumOff val="35000"/>
                      </a:schemeClr>
                    </a:solidFill>
                    <a:latin typeface="Calibri"/>
                    <a:ea typeface="微软雅黑"/>
                    <a:cs typeface="+mn-ea"/>
                    <a:sym typeface="Calibri"/>
                  </a:rPr>
                  <a:t>250</a:t>
                </a:r>
                <a:endParaRPr lang="en-GB" sz="4000" dirty="0">
                  <a:solidFill>
                    <a:schemeClr val="tx1">
                      <a:lumMod val="65000"/>
                      <a:lumOff val="35000"/>
                    </a:schemeClr>
                  </a:solidFill>
                  <a:latin typeface="Calibri"/>
                  <a:ea typeface="微软雅黑"/>
                  <a:cs typeface="+mn-ea"/>
                  <a:sym typeface="Calibri"/>
                </a:endParaRPr>
              </a:p>
            </p:txBody>
          </p:sp>
          <p:sp>
            <p:nvSpPr>
              <p:cNvPr id="18" name="TextBox 17"/>
              <p:cNvSpPr txBox="1"/>
              <p:nvPr/>
            </p:nvSpPr>
            <p:spPr>
              <a:xfrm>
                <a:off x="6088795" y="4998221"/>
                <a:ext cx="1386648" cy="307777"/>
              </a:xfrm>
              <a:prstGeom prst="rect">
                <a:avLst/>
              </a:prstGeom>
              <a:noFill/>
            </p:spPr>
            <p:txBody>
              <a:bodyPr wrap="square" rtlCol="0">
                <a:spAutoFit/>
              </a:bodyPr>
              <a:lstStyle/>
              <a:p>
                <a:pPr algn="ctr"/>
                <a:r>
                  <a:rPr lang="en-US" sz="1400" dirty="0">
                    <a:solidFill>
                      <a:schemeClr val="tx1">
                        <a:lumMod val="65000"/>
                        <a:lumOff val="35000"/>
                      </a:schemeClr>
                    </a:solidFill>
                    <a:latin typeface="Calibri"/>
                    <a:ea typeface="微软雅黑"/>
                    <a:cs typeface="+mn-ea"/>
                    <a:sym typeface="Calibri"/>
                  </a:rPr>
                  <a:t>Value one</a:t>
                </a:r>
                <a:endParaRPr lang="en-GB" sz="1400" dirty="0">
                  <a:solidFill>
                    <a:schemeClr val="tx1">
                      <a:lumMod val="65000"/>
                      <a:lumOff val="35000"/>
                    </a:schemeClr>
                  </a:solidFill>
                  <a:latin typeface="Calibri"/>
                  <a:ea typeface="微软雅黑"/>
                  <a:cs typeface="+mn-ea"/>
                  <a:sym typeface="Calibri"/>
                </a:endParaRPr>
              </a:p>
            </p:txBody>
          </p:sp>
        </p:grpSp>
        <p:grpSp>
          <p:nvGrpSpPr>
            <p:cNvPr id="19" name="Group 18"/>
            <p:cNvGrpSpPr/>
            <p:nvPr/>
          </p:nvGrpSpPr>
          <p:grpSpPr>
            <a:xfrm>
              <a:off x="9651049" y="2935771"/>
              <a:ext cx="1386648" cy="929040"/>
              <a:chOff x="6088795" y="4376959"/>
              <a:chExt cx="1386648" cy="929039"/>
            </a:xfrm>
          </p:grpSpPr>
          <p:sp>
            <p:nvSpPr>
              <p:cNvPr id="20" name="TextBox 19"/>
              <p:cNvSpPr txBox="1"/>
              <p:nvPr/>
            </p:nvSpPr>
            <p:spPr>
              <a:xfrm>
                <a:off x="6088795" y="4376959"/>
                <a:ext cx="1386648" cy="707885"/>
              </a:xfrm>
              <a:prstGeom prst="rect">
                <a:avLst/>
              </a:prstGeom>
              <a:noFill/>
            </p:spPr>
            <p:txBody>
              <a:bodyPr wrap="square" rtlCol="0">
                <a:spAutoFit/>
              </a:bodyPr>
              <a:lstStyle/>
              <a:p>
                <a:pPr algn="ctr"/>
                <a:r>
                  <a:rPr lang="en-US" sz="4000" dirty="0">
                    <a:solidFill>
                      <a:schemeClr val="tx1">
                        <a:lumMod val="65000"/>
                        <a:lumOff val="35000"/>
                      </a:schemeClr>
                    </a:solidFill>
                    <a:latin typeface="Calibri"/>
                    <a:ea typeface="微软雅黑"/>
                    <a:cs typeface="+mn-ea"/>
                    <a:sym typeface="Calibri"/>
                  </a:rPr>
                  <a:t>80</a:t>
                </a:r>
                <a:endParaRPr lang="en-GB" sz="4000" dirty="0">
                  <a:solidFill>
                    <a:schemeClr val="tx1">
                      <a:lumMod val="65000"/>
                      <a:lumOff val="35000"/>
                    </a:schemeClr>
                  </a:solidFill>
                  <a:latin typeface="Calibri"/>
                  <a:ea typeface="微软雅黑"/>
                  <a:cs typeface="+mn-ea"/>
                  <a:sym typeface="Calibri"/>
                </a:endParaRPr>
              </a:p>
            </p:txBody>
          </p:sp>
          <p:sp>
            <p:nvSpPr>
              <p:cNvPr id="21" name="TextBox 20"/>
              <p:cNvSpPr txBox="1"/>
              <p:nvPr/>
            </p:nvSpPr>
            <p:spPr>
              <a:xfrm>
                <a:off x="6088795" y="4998221"/>
                <a:ext cx="1386648" cy="307777"/>
              </a:xfrm>
              <a:prstGeom prst="rect">
                <a:avLst/>
              </a:prstGeom>
              <a:noFill/>
            </p:spPr>
            <p:txBody>
              <a:bodyPr wrap="square" rtlCol="0">
                <a:spAutoFit/>
              </a:bodyPr>
              <a:lstStyle/>
              <a:p>
                <a:pPr algn="ctr"/>
                <a:r>
                  <a:rPr lang="en-US" sz="1400" dirty="0">
                    <a:solidFill>
                      <a:schemeClr val="tx1">
                        <a:lumMod val="65000"/>
                        <a:lumOff val="35000"/>
                      </a:schemeClr>
                    </a:solidFill>
                    <a:latin typeface="Calibri"/>
                    <a:ea typeface="微软雅黑"/>
                    <a:cs typeface="+mn-ea"/>
                    <a:sym typeface="Calibri"/>
                  </a:rPr>
                  <a:t>Value two</a:t>
                </a:r>
                <a:endParaRPr lang="en-GB" sz="1400" dirty="0">
                  <a:solidFill>
                    <a:schemeClr val="tx1">
                      <a:lumMod val="65000"/>
                      <a:lumOff val="35000"/>
                    </a:schemeClr>
                  </a:solidFill>
                  <a:latin typeface="Calibri"/>
                  <a:ea typeface="微软雅黑"/>
                  <a:cs typeface="+mn-ea"/>
                  <a:sym typeface="Calibri"/>
                </a:endParaRPr>
              </a:p>
            </p:txBody>
          </p:sp>
        </p:grpSp>
        <p:grpSp>
          <p:nvGrpSpPr>
            <p:cNvPr id="22" name="Group 21"/>
            <p:cNvGrpSpPr/>
            <p:nvPr/>
          </p:nvGrpSpPr>
          <p:grpSpPr>
            <a:xfrm>
              <a:off x="9651049" y="4444516"/>
              <a:ext cx="1386648" cy="929040"/>
              <a:chOff x="6088795" y="4376959"/>
              <a:chExt cx="1386648" cy="929039"/>
            </a:xfrm>
          </p:grpSpPr>
          <p:sp>
            <p:nvSpPr>
              <p:cNvPr id="23" name="TextBox 22"/>
              <p:cNvSpPr txBox="1"/>
              <p:nvPr/>
            </p:nvSpPr>
            <p:spPr>
              <a:xfrm>
                <a:off x="6088795" y="4376959"/>
                <a:ext cx="1386648" cy="707885"/>
              </a:xfrm>
              <a:prstGeom prst="rect">
                <a:avLst/>
              </a:prstGeom>
              <a:noFill/>
            </p:spPr>
            <p:txBody>
              <a:bodyPr wrap="square" rtlCol="0">
                <a:spAutoFit/>
              </a:bodyPr>
              <a:lstStyle/>
              <a:p>
                <a:pPr algn="ctr"/>
                <a:r>
                  <a:rPr lang="en-US" sz="4000" dirty="0">
                    <a:solidFill>
                      <a:schemeClr val="tx1">
                        <a:lumMod val="65000"/>
                        <a:lumOff val="35000"/>
                      </a:schemeClr>
                    </a:solidFill>
                    <a:latin typeface="Calibri"/>
                    <a:ea typeface="微软雅黑"/>
                    <a:cs typeface="+mn-ea"/>
                    <a:sym typeface="Calibri"/>
                  </a:rPr>
                  <a:t>176</a:t>
                </a:r>
                <a:endParaRPr lang="en-GB" sz="4000" dirty="0">
                  <a:solidFill>
                    <a:schemeClr val="tx1">
                      <a:lumMod val="65000"/>
                      <a:lumOff val="35000"/>
                    </a:schemeClr>
                  </a:solidFill>
                  <a:latin typeface="Calibri"/>
                  <a:ea typeface="微软雅黑"/>
                  <a:cs typeface="+mn-ea"/>
                  <a:sym typeface="Calibri"/>
                </a:endParaRPr>
              </a:p>
            </p:txBody>
          </p:sp>
          <p:sp>
            <p:nvSpPr>
              <p:cNvPr id="24" name="TextBox 23"/>
              <p:cNvSpPr txBox="1"/>
              <p:nvPr/>
            </p:nvSpPr>
            <p:spPr>
              <a:xfrm>
                <a:off x="6088795" y="4998221"/>
                <a:ext cx="1386648" cy="307777"/>
              </a:xfrm>
              <a:prstGeom prst="rect">
                <a:avLst/>
              </a:prstGeom>
              <a:noFill/>
            </p:spPr>
            <p:txBody>
              <a:bodyPr wrap="square" rtlCol="0">
                <a:spAutoFit/>
              </a:bodyPr>
              <a:lstStyle/>
              <a:p>
                <a:pPr algn="ctr"/>
                <a:r>
                  <a:rPr lang="en-US" sz="1400" dirty="0">
                    <a:solidFill>
                      <a:schemeClr val="tx1">
                        <a:lumMod val="65000"/>
                        <a:lumOff val="35000"/>
                      </a:schemeClr>
                    </a:solidFill>
                    <a:latin typeface="Calibri"/>
                    <a:ea typeface="微软雅黑"/>
                    <a:cs typeface="+mn-ea"/>
                    <a:sym typeface="Calibri"/>
                  </a:rPr>
                  <a:t>Value three</a:t>
                </a:r>
                <a:endParaRPr lang="en-GB" sz="1400" dirty="0">
                  <a:solidFill>
                    <a:schemeClr val="tx1">
                      <a:lumMod val="65000"/>
                      <a:lumOff val="35000"/>
                    </a:schemeClr>
                  </a:solidFill>
                  <a:latin typeface="Calibri"/>
                  <a:ea typeface="微软雅黑"/>
                  <a:cs typeface="+mn-ea"/>
                  <a:sym typeface="Calibri"/>
                </a:endParaRPr>
              </a:p>
            </p:txBody>
          </p:sp>
        </p:grpSp>
      </p:grpSp>
      <p:sp>
        <p:nvSpPr>
          <p:cNvPr id="3" name="Rectangle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38200" y="838200"/>
            <a:ext cx="8572946" cy="5143500"/>
          </a:xfrm>
          <a:prstGeom prst="rect">
            <a:avLst/>
          </a:prstGeom>
          <a:no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nvGrpSpPr>
          <p:cNvPr id="4" name="Group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38200" y="5457537"/>
            <a:ext cx="8572946" cy="524163"/>
            <a:chOff x="838200" y="5457537"/>
            <a:chExt cx="8572946" cy="524163"/>
          </a:xfrm>
        </p:grpSpPr>
        <p:sp>
          <p:nvSpPr>
            <p:cNvPr id="26" name="Rectangle 25"/>
            <p:cNvSpPr/>
            <p:nvPr/>
          </p:nvSpPr>
          <p:spPr>
            <a:xfrm>
              <a:off x="838200" y="5457537"/>
              <a:ext cx="8572946" cy="524163"/>
            </a:xfrm>
            <a:prstGeom prst="rect">
              <a:avLst/>
            </a:prstGeom>
            <a:gradFill flip="none" rotWithShape="1">
              <a:gsLst>
                <a:gs pos="0">
                  <a:schemeClr val="accent3"/>
                </a:gs>
                <a:gs pos="100000">
                  <a:schemeClr val="accent4"/>
                </a:gs>
              </a:gsLst>
              <a:lin ang="8100000" scaled="1"/>
              <a:tileRect/>
            </a:gra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28" name="Rectangle 27"/>
            <p:cNvSpPr/>
            <p:nvPr/>
          </p:nvSpPr>
          <p:spPr>
            <a:xfrm>
              <a:off x="963241" y="5563545"/>
              <a:ext cx="2808125" cy="338554"/>
            </a:xfrm>
            <a:prstGeom prst="rect">
              <a:avLst/>
            </a:prstGeom>
            <a:noFill/>
          </p:spPr>
          <p:txBody>
            <a:bodyPr wrap="square">
              <a:spAutoFit/>
            </a:bodyPr>
            <a:lstStyle/>
            <a:p>
              <a:pPr fontAlgn="base"/>
              <a:r>
                <a:rPr lang="en-US" sz="1600" dirty="0">
                  <a:solidFill>
                    <a:schemeClr val="bg1"/>
                  </a:solidFill>
                  <a:latin typeface="Calibri"/>
                  <a:ea typeface="微软雅黑"/>
                  <a:cs typeface="+mn-ea"/>
                  <a:sym typeface="Calibri"/>
                </a:rPr>
                <a:t>tech_</a:t>
              </a:r>
            </a:p>
          </p:txBody>
        </p:sp>
        <p:sp>
          <p:nvSpPr>
            <p:cNvPr id="29" name="Freeform 13"/>
            <p:cNvSpPr>
              <a:spLocks noChangeArrowheads="1"/>
            </p:cNvSpPr>
            <p:nvPr/>
          </p:nvSpPr>
          <p:spPr bwMode="auto">
            <a:xfrm>
              <a:off x="9087951" y="5623255"/>
              <a:ext cx="83292" cy="176682"/>
            </a:xfrm>
            <a:custGeom>
              <a:avLst/>
              <a:gdLst>
                <a:gd name="T0" fmla="*/ 80388 w 232"/>
                <a:gd name="T1" fmla="*/ 0 h 498"/>
                <a:gd name="T2" fmla="*/ 80388 w 232"/>
                <a:gd name="T3" fmla="*/ 0 h 498"/>
                <a:gd name="T4" fmla="*/ 100259 w 232"/>
                <a:gd name="T5" fmla="*/ 23653 h 498"/>
                <a:gd name="T6" fmla="*/ 72259 w 232"/>
                <a:gd name="T7" fmla="*/ 51323 h 498"/>
                <a:gd name="T8" fmla="*/ 48323 w 232"/>
                <a:gd name="T9" fmla="*/ 27670 h 498"/>
                <a:gd name="T10" fmla="*/ 80388 w 232"/>
                <a:gd name="T11" fmla="*/ 0 h 498"/>
                <a:gd name="T12" fmla="*/ 32516 w 232"/>
                <a:gd name="T13" fmla="*/ 221804 h 498"/>
                <a:gd name="T14" fmla="*/ 32516 w 232"/>
                <a:gd name="T15" fmla="*/ 221804 h 498"/>
                <a:gd name="T16" fmla="*/ 20323 w 232"/>
                <a:gd name="T17" fmla="*/ 181638 h 498"/>
                <a:gd name="T18" fmla="*/ 36581 w 232"/>
                <a:gd name="T19" fmla="*/ 126745 h 498"/>
                <a:gd name="T20" fmla="*/ 36581 w 232"/>
                <a:gd name="T21" fmla="*/ 114695 h 498"/>
                <a:gd name="T22" fmla="*/ 8581 w 232"/>
                <a:gd name="T23" fmla="*/ 126745 h 498"/>
                <a:gd name="T24" fmla="*/ 0 w 232"/>
                <a:gd name="T25" fmla="*/ 118712 h 498"/>
                <a:gd name="T26" fmla="*/ 76323 w 232"/>
                <a:gd name="T27" fmla="*/ 79439 h 498"/>
                <a:gd name="T28" fmla="*/ 84452 w 232"/>
                <a:gd name="T29" fmla="*/ 114695 h 498"/>
                <a:gd name="T30" fmla="*/ 68194 w 232"/>
                <a:gd name="T31" fmla="*/ 174051 h 498"/>
                <a:gd name="T32" fmla="*/ 72259 w 232"/>
                <a:gd name="T33" fmla="*/ 189671 h 498"/>
                <a:gd name="T34" fmla="*/ 96194 w 232"/>
                <a:gd name="T35" fmla="*/ 174051 h 498"/>
                <a:gd name="T36" fmla="*/ 104323 w 232"/>
                <a:gd name="T37" fmla="*/ 181638 h 498"/>
                <a:gd name="T38" fmla="*/ 32516 w 232"/>
                <a:gd name="T39" fmla="*/ 221804 h 4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2" h="498">
                  <a:moveTo>
                    <a:pt x="178" y="0"/>
                  </a:moveTo>
                  <a:lnTo>
                    <a:pt x="178" y="0"/>
                  </a:lnTo>
                  <a:cubicBezTo>
                    <a:pt x="213" y="0"/>
                    <a:pt x="222" y="27"/>
                    <a:pt x="222" y="53"/>
                  </a:cubicBezTo>
                  <a:cubicBezTo>
                    <a:pt x="222" y="80"/>
                    <a:pt x="196" y="115"/>
                    <a:pt x="160" y="115"/>
                  </a:cubicBezTo>
                  <a:cubicBezTo>
                    <a:pt x="125" y="115"/>
                    <a:pt x="107" y="97"/>
                    <a:pt x="107" y="62"/>
                  </a:cubicBezTo>
                  <a:cubicBezTo>
                    <a:pt x="107" y="35"/>
                    <a:pt x="134" y="0"/>
                    <a:pt x="178" y="0"/>
                  </a:cubicBezTo>
                  <a:close/>
                  <a:moveTo>
                    <a:pt x="72" y="497"/>
                  </a:moveTo>
                  <a:lnTo>
                    <a:pt x="72" y="497"/>
                  </a:lnTo>
                  <a:cubicBezTo>
                    <a:pt x="45" y="497"/>
                    <a:pt x="28" y="478"/>
                    <a:pt x="45" y="407"/>
                  </a:cubicBezTo>
                  <a:cubicBezTo>
                    <a:pt x="81" y="284"/>
                    <a:pt x="81" y="284"/>
                    <a:pt x="81" y="284"/>
                  </a:cubicBezTo>
                  <a:cubicBezTo>
                    <a:pt x="81" y="266"/>
                    <a:pt x="81" y="257"/>
                    <a:pt x="81" y="257"/>
                  </a:cubicBezTo>
                  <a:cubicBezTo>
                    <a:pt x="72" y="257"/>
                    <a:pt x="37" y="275"/>
                    <a:pt x="19" y="284"/>
                  </a:cubicBezTo>
                  <a:cubicBezTo>
                    <a:pt x="0" y="266"/>
                    <a:pt x="0" y="266"/>
                    <a:pt x="0" y="266"/>
                  </a:cubicBezTo>
                  <a:cubicBezTo>
                    <a:pt x="63" y="213"/>
                    <a:pt x="143" y="178"/>
                    <a:pt x="169" y="178"/>
                  </a:cubicBezTo>
                  <a:cubicBezTo>
                    <a:pt x="196" y="178"/>
                    <a:pt x="205" y="213"/>
                    <a:pt x="187" y="257"/>
                  </a:cubicBezTo>
                  <a:cubicBezTo>
                    <a:pt x="151" y="390"/>
                    <a:pt x="151" y="390"/>
                    <a:pt x="151" y="390"/>
                  </a:cubicBezTo>
                  <a:cubicBezTo>
                    <a:pt x="151" y="416"/>
                    <a:pt x="151" y="425"/>
                    <a:pt x="160" y="425"/>
                  </a:cubicBezTo>
                  <a:cubicBezTo>
                    <a:pt x="160" y="425"/>
                    <a:pt x="187" y="407"/>
                    <a:pt x="213" y="390"/>
                  </a:cubicBezTo>
                  <a:cubicBezTo>
                    <a:pt x="231" y="407"/>
                    <a:pt x="231" y="407"/>
                    <a:pt x="231" y="407"/>
                  </a:cubicBezTo>
                  <a:cubicBezTo>
                    <a:pt x="169" y="478"/>
                    <a:pt x="98" y="497"/>
                    <a:pt x="72" y="497"/>
                  </a:cubicBezTo>
                  <a:close/>
                </a:path>
              </a:pathLst>
            </a:custGeom>
            <a:solidFill>
              <a:schemeClr val="bg1"/>
            </a:solidFill>
            <a:ln>
              <a:noFill/>
            </a:ln>
            <a:effectLst/>
          </p:spPr>
          <p:txBody>
            <a:bodyPr wrap="none" lIns="34290" tIns="17145" rIns="34290" bIns="17145" anchor="ctr"/>
            <a:lstStyle/>
            <a:p>
              <a:endParaRPr lang="en-US" dirty="0">
                <a:latin typeface="Calibri"/>
                <a:ea typeface="微软雅黑"/>
                <a:cs typeface="+mn-ea"/>
                <a:sym typeface="Calibri"/>
              </a:endParaRPr>
            </a:p>
          </p:txBody>
        </p:sp>
      </p:grpSp>
      <p:grpSp>
        <p:nvGrpSpPr>
          <p:cNvPr id="30" name="Group 2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54002" y="2576060"/>
            <a:ext cx="357511" cy="357511"/>
            <a:chOff x="5493465" y="3026800"/>
            <a:chExt cx="393262" cy="393262"/>
          </a:xfrm>
        </p:grpSpPr>
        <p:sp>
          <p:nvSpPr>
            <p:cNvPr id="31" name="Oval 24"/>
            <p:cNvSpPr/>
            <p:nvPr/>
          </p:nvSpPr>
          <p:spPr>
            <a:xfrm>
              <a:off x="5493465" y="3026800"/>
              <a:ext cx="393262" cy="393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2" name="Half Frame 11"/>
            <p:cNvSpPr/>
            <p:nvPr>
              <p:custDataLst>
                <p:tags r:id="rId3"/>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36" name="Group 2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43536" y="3275685"/>
            <a:ext cx="357511" cy="357511"/>
            <a:chOff x="5493465" y="3026800"/>
            <a:chExt cx="393262" cy="393262"/>
          </a:xfrm>
        </p:grpSpPr>
        <p:sp>
          <p:nvSpPr>
            <p:cNvPr id="37" name="Oval 30"/>
            <p:cNvSpPr/>
            <p:nvPr/>
          </p:nvSpPr>
          <p:spPr>
            <a:xfrm>
              <a:off x="5493465" y="3026800"/>
              <a:ext cx="393262" cy="39326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8" name="Half Frame 11"/>
            <p:cNvSpPr/>
            <p:nvPr>
              <p:custDataLst>
                <p:tags r:id="rId2"/>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42" name="Group 3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22495" y="4064731"/>
            <a:ext cx="357511" cy="357511"/>
            <a:chOff x="5493465" y="3026800"/>
            <a:chExt cx="393262" cy="393262"/>
          </a:xfrm>
        </p:grpSpPr>
        <p:sp>
          <p:nvSpPr>
            <p:cNvPr id="43" name="Oval 36"/>
            <p:cNvSpPr/>
            <p:nvPr/>
          </p:nvSpPr>
          <p:spPr>
            <a:xfrm>
              <a:off x="5493465" y="3026800"/>
              <a:ext cx="393262" cy="3932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4" name="Half Frame 11"/>
            <p:cNvSpPr/>
            <p:nvPr>
              <p:custDataLst>
                <p:tags r:id="rId1"/>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48" name="组合 4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429197" y="2448424"/>
            <a:ext cx="4213214" cy="2272432"/>
            <a:chOff x="1611541" y="3034453"/>
            <a:chExt cx="7472458" cy="2577519"/>
          </a:xfrm>
        </p:grpSpPr>
        <p:sp>
          <p:nvSpPr>
            <p:cNvPr id="33" name="Rectangle 26"/>
            <p:cNvSpPr/>
            <p:nvPr/>
          </p:nvSpPr>
          <p:spPr>
            <a:xfrm>
              <a:off x="2388355" y="3034453"/>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34" name="Rectangle 27"/>
            <p:cNvSpPr/>
            <p:nvPr/>
          </p:nvSpPr>
          <p:spPr>
            <a:xfrm>
              <a:off x="2389650" y="3272277"/>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cxnSp>
          <p:nvCxnSpPr>
            <p:cNvPr id="35" name="Straight Connector 28"/>
            <p:cNvCxnSpPr/>
            <p:nvPr/>
          </p:nvCxnSpPr>
          <p:spPr>
            <a:xfrm>
              <a:off x="1611541" y="3729114"/>
              <a:ext cx="7390955" cy="0"/>
            </a:xfrm>
            <a:prstGeom prst="line">
              <a:avLst/>
            </a:prstGeom>
          </p:spPr>
          <p:style>
            <a:lnRef idx="1">
              <a:schemeClr val="accent1"/>
            </a:lnRef>
            <a:fillRef idx="0">
              <a:schemeClr val="accent1"/>
            </a:fillRef>
            <a:effectRef idx="0">
              <a:schemeClr val="accent1"/>
            </a:effectRef>
            <a:fontRef idx="minor">
              <a:schemeClr val="tx1"/>
            </a:fontRef>
          </p:style>
        </p:cxnSp>
        <p:sp>
          <p:nvSpPr>
            <p:cNvPr id="39" name="Rectangle 32"/>
            <p:cNvSpPr/>
            <p:nvPr/>
          </p:nvSpPr>
          <p:spPr>
            <a:xfrm>
              <a:off x="2388355" y="3927886"/>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40" name="Rectangle 33"/>
            <p:cNvSpPr/>
            <p:nvPr/>
          </p:nvSpPr>
          <p:spPr>
            <a:xfrm>
              <a:off x="2389650" y="4165711"/>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cxnSp>
          <p:nvCxnSpPr>
            <p:cNvPr id="41" name="Straight Connector 34"/>
            <p:cNvCxnSpPr/>
            <p:nvPr/>
          </p:nvCxnSpPr>
          <p:spPr>
            <a:xfrm>
              <a:off x="1611541" y="4771295"/>
              <a:ext cx="7390955"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Rectangle 38"/>
            <p:cNvSpPr/>
            <p:nvPr/>
          </p:nvSpPr>
          <p:spPr>
            <a:xfrm>
              <a:off x="2388355" y="4920321"/>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46" name="Rectangle 39"/>
            <p:cNvSpPr/>
            <p:nvPr/>
          </p:nvSpPr>
          <p:spPr>
            <a:xfrm>
              <a:off x="2389650" y="5158145"/>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grpSp>
      <p:pic>
        <p:nvPicPr>
          <p:cNvPr id="55" name="图片 5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437302" y="1519134"/>
            <a:ext cx="2863997" cy="3689540"/>
          </a:xfrm>
          <a:prstGeom prst="rect">
            <a:avLst/>
          </a:prstGeom>
        </p:spPr>
      </p:pic>
      <p:sp>
        <p:nvSpPr>
          <p:cNvPr id="56"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图片占位符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a:stretch>
            <a:fillRect/>
          </a:stretch>
        </p:blipFill>
        <p:spPr>
          <a:prstGeom prst="rect">
            <a:avLst/>
          </a:prstGeom>
        </p:spPr>
      </p:pic>
      <p:sp>
        <p:nvSpPr>
          <p:cNvPr id="25" name="Rectangle 2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flipH="1">
            <a:off x="9446491" y="846444"/>
            <a:ext cx="1866454" cy="5143500"/>
          </a:xfrm>
          <a:prstGeom prst="rect">
            <a:avLst/>
          </a:prstGeom>
          <a:solidFill>
            <a:schemeClr val="bg1">
              <a:alpha val="90000"/>
            </a:schemeClr>
          </a:solid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10" name="TextBox 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522495" y="1249768"/>
            <a:ext cx="4167261" cy="707886"/>
          </a:xfrm>
          <a:prstGeom prst="rect">
            <a:avLst/>
          </a:prstGeom>
          <a:noFill/>
        </p:spPr>
        <p:txBody>
          <a:bodyPr wrap="square" rtlCol="0">
            <a:spAutoFit/>
          </a:bodyPr>
          <a:lstStyle/>
          <a:p>
            <a:r>
              <a:rPr lang="en-US" sz="4000" b="1" dirty="0">
                <a:solidFill>
                  <a:schemeClr val="tx1">
                    <a:lumMod val="85000"/>
                    <a:lumOff val="15000"/>
                  </a:schemeClr>
                </a:solidFill>
                <a:latin typeface="Calibri"/>
                <a:ea typeface="微软雅黑"/>
                <a:cs typeface="+mn-ea"/>
                <a:sym typeface="Calibri"/>
              </a:rPr>
              <a:t>Weaknesses</a:t>
            </a:r>
          </a:p>
        </p:txBody>
      </p:sp>
      <p:sp>
        <p:nvSpPr>
          <p:cNvPr id="15" name="TextBox 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543536" y="1927039"/>
            <a:ext cx="3276222" cy="369332"/>
          </a:xfrm>
          <a:prstGeom prst="rect">
            <a:avLst/>
          </a:prstGeom>
          <a:noFill/>
        </p:spPr>
        <p:txBody>
          <a:bodyPr wrap="square" rtlCol="0">
            <a:spAutoFit/>
          </a:bodyPr>
          <a:lstStyle/>
          <a:p>
            <a:r>
              <a:rPr lang="en-US" b="1" dirty="0">
                <a:solidFill>
                  <a:schemeClr val="accent1"/>
                </a:solidFill>
                <a:latin typeface="Calibri"/>
                <a:ea typeface="微软雅黑"/>
                <a:cs typeface="+mn-ea"/>
                <a:sym typeface="Calibri"/>
              </a:rPr>
              <a:t>SWOT Analysis</a:t>
            </a:r>
          </a:p>
        </p:txBody>
      </p:sp>
      <p:grpSp>
        <p:nvGrpSpPr>
          <p:cNvPr id="4" name="Group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38200" y="838200"/>
            <a:ext cx="8572946" cy="5143500"/>
            <a:chOff x="838200" y="838200"/>
            <a:chExt cx="8572946" cy="5143500"/>
          </a:xfrm>
        </p:grpSpPr>
        <p:sp>
          <p:nvSpPr>
            <p:cNvPr id="26" name="Rectangle 25"/>
            <p:cNvSpPr/>
            <p:nvPr/>
          </p:nvSpPr>
          <p:spPr>
            <a:xfrm>
              <a:off x="838200" y="5457537"/>
              <a:ext cx="8572946" cy="524163"/>
            </a:xfrm>
            <a:prstGeom prst="rect">
              <a:avLst/>
            </a:prstGeom>
            <a:gradFill flip="none" rotWithShape="1">
              <a:gsLst>
                <a:gs pos="0">
                  <a:schemeClr val="accent3"/>
                </a:gs>
                <a:gs pos="100000">
                  <a:schemeClr val="accent4"/>
                </a:gs>
              </a:gsLst>
              <a:lin ang="8100000" scaled="1"/>
              <a:tileRect/>
            </a:gra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 name="Rectangle 2"/>
            <p:cNvSpPr/>
            <p:nvPr/>
          </p:nvSpPr>
          <p:spPr>
            <a:xfrm>
              <a:off x="838200" y="838200"/>
              <a:ext cx="8572946" cy="5143500"/>
            </a:xfrm>
            <a:prstGeom prst="rect">
              <a:avLst/>
            </a:prstGeom>
            <a:no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28" name="Rectangle 27"/>
            <p:cNvSpPr/>
            <p:nvPr/>
          </p:nvSpPr>
          <p:spPr>
            <a:xfrm>
              <a:off x="963241" y="5563545"/>
              <a:ext cx="2808125" cy="338554"/>
            </a:xfrm>
            <a:prstGeom prst="rect">
              <a:avLst/>
            </a:prstGeom>
            <a:noFill/>
          </p:spPr>
          <p:txBody>
            <a:bodyPr wrap="square">
              <a:spAutoFit/>
            </a:bodyPr>
            <a:lstStyle/>
            <a:p>
              <a:pPr fontAlgn="base"/>
              <a:r>
                <a:rPr lang="en-US" sz="1600" dirty="0">
                  <a:solidFill>
                    <a:schemeClr val="bg1"/>
                  </a:solidFill>
                  <a:latin typeface="Calibri"/>
                  <a:ea typeface="微软雅黑"/>
                  <a:cs typeface="+mn-ea"/>
                  <a:sym typeface="Calibri"/>
                </a:rPr>
                <a:t>tech_</a:t>
              </a:r>
            </a:p>
          </p:txBody>
        </p:sp>
        <p:sp>
          <p:nvSpPr>
            <p:cNvPr id="29" name="Freeform 13"/>
            <p:cNvSpPr>
              <a:spLocks noChangeArrowheads="1"/>
            </p:cNvSpPr>
            <p:nvPr/>
          </p:nvSpPr>
          <p:spPr bwMode="auto">
            <a:xfrm>
              <a:off x="9087951" y="5623255"/>
              <a:ext cx="83292" cy="176682"/>
            </a:xfrm>
            <a:custGeom>
              <a:avLst/>
              <a:gdLst>
                <a:gd name="T0" fmla="*/ 80388 w 232"/>
                <a:gd name="T1" fmla="*/ 0 h 498"/>
                <a:gd name="T2" fmla="*/ 80388 w 232"/>
                <a:gd name="T3" fmla="*/ 0 h 498"/>
                <a:gd name="T4" fmla="*/ 100259 w 232"/>
                <a:gd name="T5" fmla="*/ 23653 h 498"/>
                <a:gd name="T6" fmla="*/ 72259 w 232"/>
                <a:gd name="T7" fmla="*/ 51323 h 498"/>
                <a:gd name="T8" fmla="*/ 48323 w 232"/>
                <a:gd name="T9" fmla="*/ 27670 h 498"/>
                <a:gd name="T10" fmla="*/ 80388 w 232"/>
                <a:gd name="T11" fmla="*/ 0 h 498"/>
                <a:gd name="T12" fmla="*/ 32516 w 232"/>
                <a:gd name="T13" fmla="*/ 221804 h 498"/>
                <a:gd name="T14" fmla="*/ 32516 w 232"/>
                <a:gd name="T15" fmla="*/ 221804 h 498"/>
                <a:gd name="T16" fmla="*/ 20323 w 232"/>
                <a:gd name="T17" fmla="*/ 181638 h 498"/>
                <a:gd name="T18" fmla="*/ 36581 w 232"/>
                <a:gd name="T19" fmla="*/ 126745 h 498"/>
                <a:gd name="T20" fmla="*/ 36581 w 232"/>
                <a:gd name="T21" fmla="*/ 114695 h 498"/>
                <a:gd name="T22" fmla="*/ 8581 w 232"/>
                <a:gd name="T23" fmla="*/ 126745 h 498"/>
                <a:gd name="T24" fmla="*/ 0 w 232"/>
                <a:gd name="T25" fmla="*/ 118712 h 498"/>
                <a:gd name="T26" fmla="*/ 76323 w 232"/>
                <a:gd name="T27" fmla="*/ 79439 h 498"/>
                <a:gd name="T28" fmla="*/ 84452 w 232"/>
                <a:gd name="T29" fmla="*/ 114695 h 498"/>
                <a:gd name="T30" fmla="*/ 68194 w 232"/>
                <a:gd name="T31" fmla="*/ 174051 h 498"/>
                <a:gd name="T32" fmla="*/ 72259 w 232"/>
                <a:gd name="T33" fmla="*/ 189671 h 498"/>
                <a:gd name="T34" fmla="*/ 96194 w 232"/>
                <a:gd name="T35" fmla="*/ 174051 h 498"/>
                <a:gd name="T36" fmla="*/ 104323 w 232"/>
                <a:gd name="T37" fmla="*/ 181638 h 498"/>
                <a:gd name="T38" fmla="*/ 32516 w 232"/>
                <a:gd name="T39" fmla="*/ 221804 h 4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2" h="498">
                  <a:moveTo>
                    <a:pt x="178" y="0"/>
                  </a:moveTo>
                  <a:lnTo>
                    <a:pt x="178" y="0"/>
                  </a:lnTo>
                  <a:cubicBezTo>
                    <a:pt x="213" y="0"/>
                    <a:pt x="222" y="27"/>
                    <a:pt x="222" y="53"/>
                  </a:cubicBezTo>
                  <a:cubicBezTo>
                    <a:pt x="222" y="80"/>
                    <a:pt x="196" y="115"/>
                    <a:pt x="160" y="115"/>
                  </a:cubicBezTo>
                  <a:cubicBezTo>
                    <a:pt x="125" y="115"/>
                    <a:pt x="107" y="97"/>
                    <a:pt x="107" y="62"/>
                  </a:cubicBezTo>
                  <a:cubicBezTo>
                    <a:pt x="107" y="35"/>
                    <a:pt x="134" y="0"/>
                    <a:pt x="178" y="0"/>
                  </a:cubicBezTo>
                  <a:close/>
                  <a:moveTo>
                    <a:pt x="72" y="497"/>
                  </a:moveTo>
                  <a:lnTo>
                    <a:pt x="72" y="497"/>
                  </a:lnTo>
                  <a:cubicBezTo>
                    <a:pt x="45" y="497"/>
                    <a:pt x="28" y="478"/>
                    <a:pt x="45" y="407"/>
                  </a:cubicBezTo>
                  <a:cubicBezTo>
                    <a:pt x="81" y="284"/>
                    <a:pt x="81" y="284"/>
                    <a:pt x="81" y="284"/>
                  </a:cubicBezTo>
                  <a:cubicBezTo>
                    <a:pt x="81" y="266"/>
                    <a:pt x="81" y="257"/>
                    <a:pt x="81" y="257"/>
                  </a:cubicBezTo>
                  <a:cubicBezTo>
                    <a:pt x="72" y="257"/>
                    <a:pt x="37" y="275"/>
                    <a:pt x="19" y="284"/>
                  </a:cubicBezTo>
                  <a:cubicBezTo>
                    <a:pt x="0" y="266"/>
                    <a:pt x="0" y="266"/>
                    <a:pt x="0" y="266"/>
                  </a:cubicBezTo>
                  <a:cubicBezTo>
                    <a:pt x="63" y="213"/>
                    <a:pt x="143" y="178"/>
                    <a:pt x="169" y="178"/>
                  </a:cubicBezTo>
                  <a:cubicBezTo>
                    <a:pt x="196" y="178"/>
                    <a:pt x="205" y="213"/>
                    <a:pt x="187" y="257"/>
                  </a:cubicBezTo>
                  <a:cubicBezTo>
                    <a:pt x="151" y="390"/>
                    <a:pt x="151" y="390"/>
                    <a:pt x="151" y="390"/>
                  </a:cubicBezTo>
                  <a:cubicBezTo>
                    <a:pt x="151" y="416"/>
                    <a:pt x="151" y="425"/>
                    <a:pt x="160" y="425"/>
                  </a:cubicBezTo>
                  <a:cubicBezTo>
                    <a:pt x="160" y="425"/>
                    <a:pt x="187" y="407"/>
                    <a:pt x="213" y="390"/>
                  </a:cubicBezTo>
                  <a:cubicBezTo>
                    <a:pt x="231" y="407"/>
                    <a:pt x="231" y="407"/>
                    <a:pt x="231" y="407"/>
                  </a:cubicBezTo>
                  <a:cubicBezTo>
                    <a:pt x="169" y="478"/>
                    <a:pt x="98" y="497"/>
                    <a:pt x="72" y="497"/>
                  </a:cubicBezTo>
                  <a:close/>
                </a:path>
              </a:pathLst>
            </a:custGeom>
            <a:solidFill>
              <a:schemeClr val="bg1"/>
            </a:solidFill>
            <a:ln>
              <a:noFill/>
            </a:ln>
            <a:effectLst/>
          </p:spPr>
          <p:txBody>
            <a:bodyPr wrap="none" lIns="34290" tIns="17145" rIns="34290" bIns="17145" anchor="ctr"/>
            <a:lstStyle/>
            <a:p>
              <a:endParaRPr lang="en-US" dirty="0">
                <a:latin typeface="Calibri"/>
                <a:ea typeface="微软雅黑"/>
                <a:cs typeface="+mn-ea"/>
                <a:sym typeface="Calibri"/>
              </a:endParaRPr>
            </a:p>
          </p:txBody>
        </p:sp>
      </p:grpSp>
      <p:sp>
        <p:nvSpPr>
          <p:cNvPr id="42" name="TextBox 4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880871" y="1038754"/>
            <a:ext cx="1183833" cy="584775"/>
          </a:xfrm>
          <a:prstGeom prst="rect">
            <a:avLst/>
          </a:prstGeom>
          <a:noFill/>
        </p:spPr>
        <p:txBody>
          <a:bodyPr wrap="square" rtlCol="0">
            <a:spAutoFit/>
          </a:bodyPr>
          <a:lstStyle/>
          <a:p>
            <a:pPr algn="r"/>
            <a:r>
              <a:rPr lang="en-US" sz="3200" dirty="0">
                <a:solidFill>
                  <a:schemeClr val="tx1">
                    <a:lumMod val="85000"/>
                    <a:lumOff val="15000"/>
                  </a:schemeClr>
                </a:solidFill>
                <a:latin typeface="Calibri"/>
                <a:ea typeface="微软雅黑"/>
                <a:cs typeface="+mn-ea"/>
                <a:sym typeface="Calibri"/>
              </a:rPr>
              <a:t>01.</a:t>
            </a:r>
          </a:p>
        </p:txBody>
      </p:sp>
      <p:grpSp>
        <p:nvGrpSpPr>
          <p:cNvPr id="21" name="Group 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43536" y="4849075"/>
            <a:ext cx="1324112" cy="331302"/>
            <a:chOff x="4481444" y="4189765"/>
            <a:chExt cx="1324112" cy="331302"/>
          </a:xfrm>
        </p:grpSpPr>
        <p:sp>
          <p:nvSpPr>
            <p:cNvPr id="22" name="Rectangle: Rounded Corners 12"/>
            <p:cNvSpPr/>
            <p:nvPr/>
          </p:nvSpPr>
          <p:spPr>
            <a:xfrm>
              <a:off x="4481444" y="4189765"/>
              <a:ext cx="1324112" cy="331302"/>
            </a:xfrm>
            <a:prstGeom prst="roundRect">
              <a:avLst>
                <a:gd name="adj" fmla="val 50000"/>
              </a:avLst>
            </a:prstGeom>
            <a:gradFill>
              <a:gsLst>
                <a:gs pos="0">
                  <a:schemeClr val="accent5">
                    <a:lumMod val="60000"/>
                    <a:lumOff val="40000"/>
                  </a:schemeClr>
                </a:gs>
                <a:gs pos="100000">
                  <a:schemeClr val="accent3">
                    <a:lumMod val="60000"/>
                    <a:lumOff val="40000"/>
                  </a:schemeClr>
                </a:gs>
              </a:gsLst>
              <a:lin ang="8100000" scaled="1"/>
            </a:gradFill>
            <a:ln w="31750">
              <a:solidFill>
                <a:schemeClr val="accent3">
                  <a:alpha val="93000"/>
                </a:schemeClr>
              </a:solidFill>
            </a:ln>
            <a:effectLst>
              <a:outerShdw blurRad="228600" dist="152400" dir="5400000" sx="79000" sy="79000" algn="t"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spc="300" dirty="0">
                <a:solidFill>
                  <a:schemeClr val="bg1"/>
                </a:solidFill>
                <a:latin typeface="Calibri"/>
                <a:ea typeface="微软雅黑"/>
                <a:cs typeface="+mn-ea"/>
                <a:sym typeface="Calibri"/>
              </a:endParaRPr>
            </a:p>
          </p:txBody>
        </p:sp>
        <p:sp>
          <p:nvSpPr>
            <p:cNvPr id="23" name="TextBox 13"/>
            <p:cNvSpPr txBox="1"/>
            <p:nvPr/>
          </p:nvSpPr>
          <p:spPr>
            <a:xfrm>
              <a:off x="4546298" y="4212451"/>
              <a:ext cx="1194404" cy="307777"/>
            </a:xfrm>
            <a:prstGeom prst="rect">
              <a:avLst/>
            </a:prstGeom>
            <a:noFill/>
          </p:spPr>
          <p:txBody>
            <a:bodyPr wrap="square" rtlCol="0">
              <a:spAutoFit/>
            </a:bodyPr>
            <a:lstStyle/>
            <a:p>
              <a:pPr algn="ctr"/>
              <a:r>
                <a:rPr lang="en-US" sz="1400" dirty="0">
                  <a:solidFill>
                    <a:schemeClr val="bg1"/>
                  </a:solidFill>
                  <a:latin typeface="Calibri"/>
                  <a:ea typeface="微软雅黑"/>
                  <a:cs typeface="+mn-ea"/>
                  <a:sym typeface="Calibri"/>
                </a:rPr>
                <a:t>Read More</a:t>
              </a:r>
              <a:endParaRPr lang="id-ID" sz="1400" dirty="0">
                <a:solidFill>
                  <a:schemeClr val="bg1"/>
                </a:solidFill>
                <a:latin typeface="Calibri"/>
                <a:ea typeface="微软雅黑"/>
                <a:cs typeface="+mn-ea"/>
                <a:sym typeface="Calibri"/>
              </a:endParaRPr>
            </a:p>
          </p:txBody>
        </p:sp>
      </p:grpSp>
      <p:grpSp>
        <p:nvGrpSpPr>
          <p:cNvPr id="51" name="Group 2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54002" y="2576060"/>
            <a:ext cx="357511" cy="357511"/>
            <a:chOff x="5493465" y="3026800"/>
            <a:chExt cx="393262" cy="393262"/>
          </a:xfrm>
        </p:grpSpPr>
        <p:sp>
          <p:nvSpPr>
            <p:cNvPr id="52" name="Oval 24"/>
            <p:cNvSpPr/>
            <p:nvPr/>
          </p:nvSpPr>
          <p:spPr>
            <a:xfrm>
              <a:off x="5493465" y="3026800"/>
              <a:ext cx="393262" cy="393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53" name="Half Frame 11"/>
            <p:cNvSpPr/>
            <p:nvPr>
              <p:custDataLst>
                <p:tags r:id="rId3"/>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54" name="Group 2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43536" y="3275685"/>
            <a:ext cx="357511" cy="357511"/>
            <a:chOff x="5493465" y="3026800"/>
            <a:chExt cx="393262" cy="393262"/>
          </a:xfrm>
        </p:grpSpPr>
        <p:sp>
          <p:nvSpPr>
            <p:cNvPr id="55" name="Oval 30"/>
            <p:cNvSpPr/>
            <p:nvPr/>
          </p:nvSpPr>
          <p:spPr>
            <a:xfrm>
              <a:off x="5493465" y="3026800"/>
              <a:ext cx="393262" cy="39326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56" name="Half Frame 11"/>
            <p:cNvSpPr/>
            <p:nvPr>
              <p:custDataLst>
                <p:tags r:id="rId2"/>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57" name="Group 3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22495" y="4064731"/>
            <a:ext cx="357511" cy="357511"/>
            <a:chOff x="5493465" y="3026800"/>
            <a:chExt cx="393262" cy="393262"/>
          </a:xfrm>
        </p:grpSpPr>
        <p:sp>
          <p:nvSpPr>
            <p:cNvPr id="58" name="Oval 36"/>
            <p:cNvSpPr/>
            <p:nvPr/>
          </p:nvSpPr>
          <p:spPr>
            <a:xfrm>
              <a:off x="5493465" y="3026800"/>
              <a:ext cx="393262" cy="3932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59" name="Half Frame 11"/>
            <p:cNvSpPr/>
            <p:nvPr>
              <p:custDataLst>
                <p:tags r:id="rId1"/>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60" name="组合 5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429197" y="2448424"/>
            <a:ext cx="4213214" cy="2272432"/>
            <a:chOff x="1611541" y="3034453"/>
            <a:chExt cx="7472458" cy="2577519"/>
          </a:xfrm>
        </p:grpSpPr>
        <p:sp>
          <p:nvSpPr>
            <p:cNvPr id="61" name="Rectangle 26"/>
            <p:cNvSpPr/>
            <p:nvPr/>
          </p:nvSpPr>
          <p:spPr>
            <a:xfrm>
              <a:off x="2388355" y="3034453"/>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62" name="Rectangle 27"/>
            <p:cNvSpPr/>
            <p:nvPr/>
          </p:nvSpPr>
          <p:spPr>
            <a:xfrm>
              <a:off x="2389650" y="3272277"/>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cxnSp>
          <p:nvCxnSpPr>
            <p:cNvPr id="63" name="Straight Connector 28"/>
            <p:cNvCxnSpPr/>
            <p:nvPr/>
          </p:nvCxnSpPr>
          <p:spPr>
            <a:xfrm>
              <a:off x="1611541" y="3729114"/>
              <a:ext cx="7390955" cy="0"/>
            </a:xfrm>
            <a:prstGeom prst="line">
              <a:avLst/>
            </a:prstGeom>
          </p:spPr>
          <p:style>
            <a:lnRef idx="1">
              <a:schemeClr val="accent1"/>
            </a:lnRef>
            <a:fillRef idx="0">
              <a:schemeClr val="accent1"/>
            </a:fillRef>
            <a:effectRef idx="0">
              <a:schemeClr val="accent1"/>
            </a:effectRef>
            <a:fontRef idx="minor">
              <a:schemeClr val="tx1"/>
            </a:fontRef>
          </p:style>
        </p:cxnSp>
        <p:sp>
          <p:nvSpPr>
            <p:cNvPr id="64" name="Rectangle 32"/>
            <p:cNvSpPr/>
            <p:nvPr/>
          </p:nvSpPr>
          <p:spPr>
            <a:xfrm>
              <a:off x="2388355" y="3927886"/>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65" name="Rectangle 33"/>
            <p:cNvSpPr/>
            <p:nvPr/>
          </p:nvSpPr>
          <p:spPr>
            <a:xfrm>
              <a:off x="2389650" y="4165711"/>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cxnSp>
          <p:nvCxnSpPr>
            <p:cNvPr id="66" name="Straight Connector 34"/>
            <p:cNvCxnSpPr/>
            <p:nvPr/>
          </p:nvCxnSpPr>
          <p:spPr>
            <a:xfrm>
              <a:off x="1611541" y="4771295"/>
              <a:ext cx="7390955" cy="0"/>
            </a:xfrm>
            <a:prstGeom prst="line">
              <a:avLst/>
            </a:prstGeom>
          </p:spPr>
          <p:style>
            <a:lnRef idx="1">
              <a:schemeClr val="accent1"/>
            </a:lnRef>
            <a:fillRef idx="0">
              <a:schemeClr val="accent1"/>
            </a:fillRef>
            <a:effectRef idx="0">
              <a:schemeClr val="accent1"/>
            </a:effectRef>
            <a:fontRef idx="minor">
              <a:schemeClr val="tx1"/>
            </a:fontRef>
          </p:style>
        </p:cxnSp>
        <p:sp>
          <p:nvSpPr>
            <p:cNvPr id="67" name="Rectangle 38"/>
            <p:cNvSpPr/>
            <p:nvPr/>
          </p:nvSpPr>
          <p:spPr>
            <a:xfrm>
              <a:off x="2388355" y="4920321"/>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68" name="Rectangle 39"/>
            <p:cNvSpPr/>
            <p:nvPr/>
          </p:nvSpPr>
          <p:spPr>
            <a:xfrm>
              <a:off x="2389650" y="5158145"/>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grpSp>
      <p:pic>
        <p:nvPicPr>
          <p:cNvPr id="7" name="图片 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5909645" y="1869607"/>
            <a:ext cx="3549832" cy="3035456"/>
          </a:xfrm>
          <a:prstGeom prst="rect">
            <a:avLst/>
          </a:prstGeom>
        </p:spPr>
      </p:pic>
      <p:grpSp>
        <p:nvGrpSpPr>
          <p:cNvPr id="69" name="Group 2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536187" y="4170673"/>
            <a:ext cx="1623302" cy="1286855"/>
            <a:chOff x="950659" y="3981007"/>
            <a:chExt cx="1876425" cy="1286855"/>
          </a:xfrm>
        </p:grpSpPr>
        <p:sp>
          <p:nvSpPr>
            <p:cNvPr id="70" name="TextBox 30"/>
            <p:cNvSpPr txBox="1"/>
            <p:nvPr/>
          </p:nvSpPr>
          <p:spPr>
            <a:xfrm>
              <a:off x="950659" y="3981007"/>
              <a:ext cx="1876425" cy="276999"/>
            </a:xfrm>
            <a:prstGeom prst="rect">
              <a:avLst/>
            </a:prstGeom>
            <a:noFill/>
          </p:spPr>
          <p:txBody>
            <a:bodyPr wrap="square" rtlCol="0">
              <a:spAutoFit/>
            </a:bodyPr>
            <a:lstStyle/>
            <a:p>
              <a:r>
                <a:rPr lang="en-US" sz="1200" dirty="0">
                  <a:solidFill>
                    <a:schemeClr val="tx1">
                      <a:lumMod val="85000"/>
                      <a:lumOff val="15000"/>
                    </a:schemeClr>
                  </a:solidFill>
                  <a:latin typeface="Calibri"/>
                  <a:ea typeface="微软雅黑"/>
                  <a:cs typeface="+mn-ea"/>
                  <a:sym typeface="Calibri"/>
                </a:rPr>
                <a:t>Description </a:t>
              </a:r>
            </a:p>
          </p:txBody>
        </p:sp>
        <p:sp>
          <p:nvSpPr>
            <p:cNvPr id="71" name="TextBox 31"/>
            <p:cNvSpPr txBox="1"/>
            <p:nvPr/>
          </p:nvSpPr>
          <p:spPr>
            <a:xfrm>
              <a:off x="950659" y="4506884"/>
              <a:ext cx="1796460" cy="760978"/>
            </a:xfrm>
            <a:prstGeom prst="rect">
              <a:avLst/>
            </a:prstGeom>
            <a:noFill/>
          </p:spPr>
          <p:txBody>
            <a:bodyPr wrap="square" rtlCol="0">
              <a:spAutoFit/>
            </a:bodyPr>
            <a:lstStyle/>
            <a:p>
              <a:pPr>
                <a:lnSpc>
                  <a:spcPct val="150000"/>
                </a:lnSpc>
              </a:pPr>
              <a:r>
                <a:rPr lang="zh-CN" altLang="en-US" sz="1000" dirty="0">
                  <a:latin typeface="Calibri"/>
                  <a:ea typeface="微软雅黑"/>
                  <a:cs typeface="+mn-ea"/>
                  <a:sym typeface="Calibri"/>
                </a:rPr>
                <a:t>Hey, hey, hey! It's Fat </a:t>
              </a:r>
              <a:r>
                <a:rPr lang="en-US" altLang="zh-CN" sz="1000" dirty="0">
                  <a:latin typeface="Calibri"/>
                  <a:ea typeface="微软雅黑"/>
                  <a:cs typeface="+mn-ea"/>
                  <a:sym typeface="Calibri"/>
                </a:rPr>
                <a:t>Company</a:t>
              </a:r>
              <a:r>
                <a:rPr lang="zh-CN" altLang="en-US" sz="1000" dirty="0">
                  <a:latin typeface="Calibri"/>
                  <a:ea typeface="微软雅黑"/>
                  <a:cs typeface="+mn-ea"/>
                  <a:sym typeface="Calibri"/>
                </a:rPr>
                <a:t>! Now I'm gonna sing a song for you,</a:t>
              </a:r>
              <a:endParaRPr lang="en-US" sz="1000" dirty="0">
                <a:solidFill>
                  <a:schemeClr val="tx1">
                    <a:lumMod val="65000"/>
                    <a:lumOff val="35000"/>
                  </a:schemeClr>
                </a:solidFill>
                <a:latin typeface="Calibri"/>
                <a:ea typeface="微软雅黑"/>
                <a:cs typeface="+mn-ea"/>
                <a:sym typeface="Calibri"/>
              </a:endParaRPr>
            </a:p>
          </p:txBody>
        </p:sp>
      </p:grpSp>
      <p:grpSp>
        <p:nvGrpSpPr>
          <p:cNvPr id="72" name="Group 3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617793" y="4538765"/>
            <a:ext cx="1016028" cy="166655"/>
            <a:chOff x="9395730" y="4795397"/>
            <a:chExt cx="869563" cy="142630"/>
          </a:xfrm>
        </p:grpSpPr>
        <p:sp>
          <p:nvSpPr>
            <p:cNvPr id="73" name="Star: 5 Points 34"/>
            <p:cNvSpPr/>
            <p:nvPr/>
          </p:nvSpPr>
          <p:spPr>
            <a:xfrm>
              <a:off x="9395730" y="4799232"/>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sp>
          <p:nvSpPr>
            <p:cNvPr id="74" name="Star: 5 Points 35"/>
            <p:cNvSpPr/>
            <p:nvPr/>
          </p:nvSpPr>
          <p:spPr>
            <a:xfrm>
              <a:off x="9579295" y="4797315"/>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sp>
          <p:nvSpPr>
            <p:cNvPr id="75" name="Star: 5 Points 36"/>
            <p:cNvSpPr/>
            <p:nvPr/>
          </p:nvSpPr>
          <p:spPr>
            <a:xfrm>
              <a:off x="9762860" y="4797315"/>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sp>
          <p:nvSpPr>
            <p:cNvPr id="76" name="Star: 5 Points 37"/>
            <p:cNvSpPr/>
            <p:nvPr/>
          </p:nvSpPr>
          <p:spPr>
            <a:xfrm>
              <a:off x="9946425" y="4795398"/>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sp>
          <p:nvSpPr>
            <p:cNvPr id="77" name="Star: 5 Points 38"/>
            <p:cNvSpPr/>
            <p:nvPr/>
          </p:nvSpPr>
          <p:spPr>
            <a:xfrm>
              <a:off x="10126498" y="4795397"/>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grpSp>
      <p:sp>
        <p:nvSpPr>
          <p:cNvPr id="8"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图片占位符 4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a:stretch>
            <a:fillRect/>
          </a:stretch>
        </p:blipFill>
        <p:spPr/>
      </p:pic>
      <p:sp>
        <p:nvSpPr>
          <p:cNvPr id="25" name="Rectangle 2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flipH="1">
            <a:off x="9436546" y="846444"/>
            <a:ext cx="1866454" cy="5143500"/>
          </a:xfrm>
          <a:prstGeom prst="rect">
            <a:avLst/>
          </a:prstGeom>
          <a:solidFill>
            <a:schemeClr val="bg1">
              <a:alpha val="90000"/>
            </a:schemeClr>
          </a:solid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10" name="TextBox 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503289" y="1221187"/>
            <a:ext cx="4167261" cy="707886"/>
          </a:xfrm>
          <a:prstGeom prst="rect">
            <a:avLst/>
          </a:prstGeom>
          <a:noFill/>
        </p:spPr>
        <p:txBody>
          <a:bodyPr wrap="square" rtlCol="0">
            <a:spAutoFit/>
          </a:bodyPr>
          <a:lstStyle/>
          <a:p>
            <a:r>
              <a:rPr lang="en-US" sz="4000" b="1" dirty="0">
                <a:solidFill>
                  <a:schemeClr val="tx1">
                    <a:lumMod val="85000"/>
                    <a:lumOff val="15000"/>
                  </a:schemeClr>
                </a:solidFill>
                <a:latin typeface="Calibri"/>
                <a:ea typeface="微软雅黑"/>
                <a:cs typeface="+mn-ea"/>
                <a:sym typeface="Calibri"/>
              </a:rPr>
              <a:t>Opportunities</a:t>
            </a:r>
          </a:p>
        </p:txBody>
      </p:sp>
      <p:grpSp>
        <p:nvGrpSpPr>
          <p:cNvPr id="12" name="Group 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424995" y="4875224"/>
            <a:ext cx="1324112" cy="331302"/>
            <a:chOff x="4481444" y="4189765"/>
            <a:chExt cx="1324112" cy="331302"/>
          </a:xfrm>
        </p:grpSpPr>
        <p:sp>
          <p:nvSpPr>
            <p:cNvPr id="13" name="Rectangle: Rounded Corners 12"/>
            <p:cNvSpPr/>
            <p:nvPr/>
          </p:nvSpPr>
          <p:spPr>
            <a:xfrm>
              <a:off x="4481444" y="4189765"/>
              <a:ext cx="1324112" cy="331302"/>
            </a:xfrm>
            <a:prstGeom prst="roundRect">
              <a:avLst>
                <a:gd name="adj" fmla="val 50000"/>
              </a:avLst>
            </a:prstGeom>
            <a:gradFill>
              <a:gsLst>
                <a:gs pos="0">
                  <a:schemeClr val="accent5">
                    <a:lumMod val="60000"/>
                    <a:lumOff val="40000"/>
                  </a:schemeClr>
                </a:gs>
                <a:gs pos="100000">
                  <a:schemeClr val="accent3">
                    <a:lumMod val="60000"/>
                    <a:lumOff val="40000"/>
                  </a:schemeClr>
                </a:gs>
              </a:gsLst>
              <a:lin ang="8100000" scaled="1"/>
            </a:gradFill>
            <a:ln w="31750">
              <a:solidFill>
                <a:schemeClr val="accent3">
                  <a:alpha val="93000"/>
                </a:schemeClr>
              </a:solidFill>
            </a:ln>
            <a:effectLst>
              <a:outerShdw blurRad="228600" dist="152400" dir="5400000" sx="79000" sy="79000" algn="t"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spc="300" dirty="0">
                <a:solidFill>
                  <a:schemeClr val="bg1"/>
                </a:solidFill>
                <a:latin typeface="Calibri"/>
                <a:ea typeface="微软雅黑"/>
                <a:cs typeface="+mn-ea"/>
                <a:sym typeface="Calibri"/>
              </a:endParaRPr>
            </a:p>
          </p:txBody>
        </p:sp>
        <p:sp>
          <p:nvSpPr>
            <p:cNvPr id="14" name="TextBox 13"/>
            <p:cNvSpPr txBox="1"/>
            <p:nvPr/>
          </p:nvSpPr>
          <p:spPr>
            <a:xfrm>
              <a:off x="4546298" y="4212451"/>
              <a:ext cx="1194404" cy="307777"/>
            </a:xfrm>
            <a:prstGeom prst="rect">
              <a:avLst/>
            </a:prstGeom>
            <a:noFill/>
          </p:spPr>
          <p:txBody>
            <a:bodyPr wrap="square" rtlCol="0">
              <a:spAutoFit/>
            </a:bodyPr>
            <a:lstStyle/>
            <a:p>
              <a:pPr algn="ctr"/>
              <a:r>
                <a:rPr lang="en-US" sz="1400" dirty="0">
                  <a:solidFill>
                    <a:schemeClr val="bg1"/>
                  </a:solidFill>
                  <a:latin typeface="Calibri"/>
                  <a:ea typeface="微软雅黑"/>
                  <a:cs typeface="+mn-ea"/>
                  <a:sym typeface="Calibri"/>
                </a:rPr>
                <a:t>Read More</a:t>
              </a:r>
              <a:endParaRPr lang="id-ID" sz="1400" dirty="0">
                <a:solidFill>
                  <a:schemeClr val="bg1"/>
                </a:solidFill>
                <a:latin typeface="Calibri"/>
                <a:ea typeface="微软雅黑"/>
                <a:cs typeface="+mn-ea"/>
                <a:sym typeface="Calibri"/>
              </a:endParaRPr>
            </a:p>
          </p:txBody>
        </p:sp>
      </p:grpSp>
      <p:sp>
        <p:nvSpPr>
          <p:cNvPr id="15" name="TextBox 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503289" y="1986733"/>
            <a:ext cx="3276222" cy="369332"/>
          </a:xfrm>
          <a:prstGeom prst="rect">
            <a:avLst/>
          </a:prstGeom>
          <a:noFill/>
        </p:spPr>
        <p:txBody>
          <a:bodyPr wrap="square" rtlCol="0">
            <a:spAutoFit/>
          </a:bodyPr>
          <a:lstStyle/>
          <a:p>
            <a:r>
              <a:rPr lang="en-US" b="1" dirty="0">
                <a:solidFill>
                  <a:schemeClr val="accent1"/>
                </a:solidFill>
                <a:latin typeface="Calibri"/>
                <a:ea typeface="微软雅黑"/>
                <a:cs typeface="+mn-ea"/>
                <a:sym typeface="Calibri"/>
              </a:rPr>
              <a:t>SWOT Analysis</a:t>
            </a:r>
          </a:p>
        </p:txBody>
      </p:sp>
      <p:grpSp>
        <p:nvGrpSpPr>
          <p:cNvPr id="4" name="Group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651049" y="1427025"/>
            <a:ext cx="1386648" cy="3946531"/>
            <a:chOff x="9651049" y="1427025"/>
            <a:chExt cx="1386648" cy="3946531"/>
          </a:xfrm>
        </p:grpSpPr>
        <p:grpSp>
          <p:nvGrpSpPr>
            <p:cNvPr id="16" name="Group 15"/>
            <p:cNvGrpSpPr/>
            <p:nvPr/>
          </p:nvGrpSpPr>
          <p:grpSpPr>
            <a:xfrm>
              <a:off x="9651049" y="1427025"/>
              <a:ext cx="1386648" cy="929040"/>
              <a:chOff x="6088795" y="4376959"/>
              <a:chExt cx="1386648" cy="929039"/>
            </a:xfrm>
          </p:grpSpPr>
          <p:sp>
            <p:nvSpPr>
              <p:cNvPr id="17" name="TextBox 16"/>
              <p:cNvSpPr txBox="1"/>
              <p:nvPr/>
            </p:nvSpPr>
            <p:spPr>
              <a:xfrm>
                <a:off x="6088795" y="4376959"/>
                <a:ext cx="1386648" cy="707885"/>
              </a:xfrm>
              <a:prstGeom prst="rect">
                <a:avLst/>
              </a:prstGeom>
              <a:noFill/>
            </p:spPr>
            <p:txBody>
              <a:bodyPr wrap="square" rtlCol="0">
                <a:spAutoFit/>
              </a:bodyPr>
              <a:lstStyle/>
              <a:p>
                <a:pPr algn="ctr"/>
                <a:r>
                  <a:rPr lang="en-US" sz="4000" dirty="0">
                    <a:solidFill>
                      <a:schemeClr val="tx1">
                        <a:lumMod val="65000"/>
                        <a:lumOff val="35000"/>
                      </a:schemeClr>
                    </a:solidFill>
                    <a:latin typeface="Calibri"/>
                    <a:ea typeface="微软雅黑"/>
                    <a:cs typeface="+mn-ea"/>
                    <a:sym typeface="Calibri"/>
                  </a:rPr>
                  <a:t>250</a:t>
                </a:r>
                <a:endParaRPr lang="en-GB" sz="4000" dirty="0">
                  <a:solidFill>
                    <a:schemeClr val="tx1">
                      <a:lumMod val="65000"/>
                      <a:lumOff val="35000"/>
                    </a:schemeClr>
                  </a:solidFill>
                  <a:latin typeface="Calibri"/>
                  <a:ea typeface="微软雅黑"/>
                  <a:cs typeface="+mn-ea"/>
                  <a:sym typeface="Calibri"/>
                </a:endParaRPr>
              </a:p>
            </p:txBody>
          </p:sp>
          <p:sp>
            <p:nvSpPr>
              <p:cNvPr id="18" name="TextBox 17"/>
              <p:cNvSpPr txBox="1"/>
              <p:nvPr/>
            </p:nvSpPr>
            <p:spPr>
              <a:xfrm>
                <a:off x="6088795" y="4998221"/>
                <a:ext cx="1386648" cy="307777"/>
              </a:xfrm>
              <a:prstGeom prst="rect">
                <a:avLst/>
              </a:prstGeom>
              <a:noFill/>
            </p:spPr>
            <p:txBody>
              <a:bodyPr wrap="square" rtlCol="0">
                <a:spAutoFit/>
              </a:bodyPr>
              <a:lstStyle/>
              <a:p>
                <a:pPr algn="ctr"/>
                <a:r>
                  <a:rPr lang="en-US" sz="1400" dirty="0">
                    <a:solidFill>
                      <a:schemeClr val="tx1">
                        <a:lumMod val="65000"/>
                        <a:lumOff val="35000"/>
                      </a:schemeClr>
                    </a:solidFill>
                    <a:latin typeface="Calibri"/>
                    <a:ea typeface="微软雅黑"/>
                    <a:cs typeface="+mn-ea"/>
                    <a:sym typeface="Calibri"/>
                  </a:rPr>
                  <a:t>Value one</a:t>
                </a:r>
                <a:endParaRPr lang="en-GB" sz="1400" dirty="0">
                  <a:solidFill>
                    <a:schemeClr val="tx1">
                      <a:lumMod val="65000"/>
                      <a:lumOff val="35000"/>
                    </a:schemeClr>
                  </a:solidFill>
                  <a:latin typeface="Calibri"/>
                  <a:ea typeface="微软雅黑"/>
                  <a:cs typeface="+mn-ea"/>
                  <a:sym typeface="Calibri"/>
                </a:endParaRPr>
              </a:p>
            </p:txBody>
          </p:sp>
        </p:grpSp>
        <p:grpSp>
          <p:nvGrpSpPr>
            <p:cNvPr id="19" name="Group 18"/>
            <p:cNvGrpSpPr/>
            <p:nvPr/>
          </p:nvGrpSpPr>
          <p:grpSpPr>
            <a:xfrm>
              <a:off x="9651049" y="2935771"/>
              <a:ext cx="1386648" cy="929040"/>
              <a:chOff x="6088795" y="4376959"/>
              <a:chExt cx="1386648" cy="929039"/>
            </a:xfrm>
          </p:grpSpPr>
          <p:sp>
            <p:nvSpPr>
              <p:cNvPr id="20" name="TextBox 19"/>
              <p:cNvSpPr txBox="1"/>
              <p:nvPr/>
            </p:nvSpPr>
            <p:spPr>
              <a:xfrm>
                <a:off x="6088795" y="4376959"/>
                <a:ext cx="1386648" cy="707885"/>
              </a:xfrm>
              <a:prstGeom prst="rect">
                <a:avLst/>
              </a:prstGeom>
              <a:noFill/>
            </p:spPr>
            <p:txBody>
              <a:bodyPr wrap="square" rtlCol="0">
                <a:spAutoFit/>
              </a:bodyPr>
              <a:lstStyle/>
              <a:p>
                <a:pPr algn="ctr"/>
                <a:r>
                  <a:rPr lang="en-US" sz="4000" dirty="0">
                    <a:solidFill>
                      <a:schemeClr val="tx1">
                        <a:lumMod val="65000"/>
                        <a:lumOff val="35000"/>
                      </a:schemeClr>
                    </a:solidFill>
                    <a:latin typeface="Calibri"/>
                    <a:ea typeface="微软雅黑"/>
                    <a:cs typeface="+mn-ea"/>
                    <a:sym typeface="Calibri"/>
                  </a:rPr>
                  <a:t>80</a:t>
                </a:r>
                <a:endParaRPr lang="en-GB" sz="4000" dirty="0">
                  <a:solidFill>
                    <a:schemeClr val="tx1">
                      <a:lumMod val="65000"/>
                      <a:lumOff val="35000"/>
                    </a:schemeClr>
                  </a:solidFill>
                  <a:latin typeface="Calibri"/>
                  <a:ea typeface="微软雅黑"/>
                  <a:cs typeface="+mn-ea"/>
                  <a:sym typeface="Calibri"/>
                </a:endParaRPr>
              </a:p>
            </p:txBody>
          </p:sp>
          <p:sp>
            <p:nvSpPr>
              <p:cNvPr id="21" name="TextBox 20"/>
              <p:cNvSpPr txBox="1"/>
              <p:nvPr/>
            </p:nvSpPr>
            <p:spPr>
              <a:xfrm>
                <a:off x="6088795" y="4998221"/>
                <a:ext cx="1386648" cy="307777"/>
              </a:xfrm>
              <a:prstGeom prst="rect">
                <a:avLst/>
              </a:prstGeom>
              <a:noFill/>
            </p:spPr>
            <p:txBody>
              <a:bodyPr wrap="square" rtlCol="0">
                <a:spAutoFit/>
              </a:bodyPr>
              <a:lstStyle/>
              <a:p>
                <a:pPr algn="ctr"/>
                <a:r>
                  <a:rPr lang="en-US" sz="1400" dirty="0">
                    <a:solidFill>
                      <a:schemeClr val="tx1">
                        <a:lumMod val="65000"/>
                        <a:lumOff val="35000"/>
                      </a:schemeClr>
                    </a:solidFill>
                    <a:latin typeface="Calibri"/>
                    <a:ea typeface="微软雅黑"/>
                    <a:cs typeface="+mn-ea"/>
                    <a:sym typeface="Calibri"/>
                  </a:rPr>
                  <a:t>Value two</a:t>
                </a:r>
                <a:endParaRPr lang="en-GB" sz="1400" dirty="0">
                  <a:solidFill>
                    <a:schemeClr val="tx1">
                      <a:lumMod val="65000"/>
                      <a:lumOff val="35000"/>
                    </a:schemeClr>
                  </a:solidFill>
                  <a:latin typeface="Calibri"/>
                  <a:ea typeface="微软雅黑"/>
                  <a:cs typeface="+mn-ea"/>
                  <a:sym typeface="Calibri"/>
                </a:endParaRPr>
              </a:p>
            </p:txBody>
          </p:sp>
        </p:grpSp>
        <p:grpSp>
          <p:nvGrpSpPr>
            <p:cNvPr id="22" name="Group 21"/>
            <p:cNvGrpSpPr/>
            <p:nvPr/>
          </p:nvGrpSpPr>
          <p:grpSpPr>
            <a:xfrm>
              <a:off x="9651049" y="4444516"/>
              <a:ext cx="1386648" cy="929040"/>
              <a:chOff x="6088795" y="4376959"/>
              <a:chExt cx="1386648" cy="929039"/>
            </a:xfrm>
          </p:grpSpPr>
          <p:sp>
            <p:nvSpPr>
              <p:cNvPr id="23" name="TextBox 22"/>
              <p:cNvSpPr txBox="1"/>
              <p:nvPr/>
            </p:nvSpPr>
            <p:spPr>
              <a:xfrm>
                <a:off x="6088795" y="4376959"/>
                <a:ext cx="1386648" cy="707885"/>
              </a:xfrm>
              <a:prstGeom prst="rect">
                <a:avLst/>
              </a:prstGeom>
              <a:noFill/>
            </p:spPr>
            <p:txBody>
              <a:bodyPr wrap="square" rtlCol="0">
                <a:spAutoFit/>
              </a:bodyPr>
              <a:lstStyle/>
              <a:p>
                <a:pPr algn="ctr"/>
                <a:r>
                  <a:rPr lang="en-US" sz="4000" dirty="0">
                    <a:solidFill>
                      <a:schemeClr val="tx1">
                        <a:lumMod val="65000"/>
                        <a:lumOff val="35000"/>
                      </a:schemeClr>
                    </a:solidFill>
                    <a:latin typeface="Calibri"/>
                    <a:ea typeface="微软雅黑"/>
                    <a:cs typeface="+mn-ea"/>
                    <a:sym typeface="Calibri"/>
                  </a:rPr>
                  <a:t>176</a:t>
                </a:r>
                <a:endParaRPr lang="en-GB" sz="4000" dirty="0">
                  <a:solidFill>
                    <a:schemeClr val="tx1">
                      <a:lumMod val="65000"/>
                      <a:lumOff val="35000"/>
                    </a:schemeClr>
                  </a:solidFill>
                  <a:latin typeface="Calibri"/>
                  <a:ea typeface="微软雅黑"/>
                  <a:cs typeface="+mn-ea"/>
                  <a:sym typeface="Calibri"/>
                </a:endParaRPr>
              </a:p>
            </p:txBody>
          </p:sp>
          <p:sp>
            <p:nvSpPr>
              <p:cNvPr id="24" name="TextBox 23"/>
              <p:cNvSpPr txBox="1"/>
              <p:nvPr/>
            </p:nvSpPr>
            <p:spPr>
              <a:xfrm>
                <a:off x="6088795" y="4998221"/>
                <a:ext cx="1386648" cy="307777"/>
              </a:xfrm>
              <a:prstGeom prst="rect">
                <a:avLst/>
              </a:prstGeom>
              <a:noFill/>
            </p:spPr>
            <p:txBody>
              <a:bodyPr wrap="square" rtlCol="0">
                <a:spAutoFit/>
              </a:bodyPr>
              <a:lstStyle/>
              <a:p>
                <a:pPr algn="ctr"/>
                <a:r>
                  <a:rPr lang="en-US" sz="1400" dirty="0">
                    <a:solidFill>
                      <a:schemeClr val="tx1">
                        <a:lumMod val="65000"/>
                        <a:lumOff val="35000"/>
                      </a:schemeClr>
                    </a:solidFill>
                    <a:latin typeface="Calibri"/>
                    <a:ea typeface="微软雅黑"/>
                    <a:cs typeface="+mn-ea"/>
                    <a:sym typeface="Calibri"/>
                  </a:rPr>
                  <a:t>Value three</a:t>
                </a:r>
                <a:endParaRPr lang="en-GB" sz="1400" dirty="0">
                  <a:solidFill>
                    <a:schemeClr val="tx1">
                      <a:lumMod val="65000"/>
                      <a:lumOff val="35000"/>
                    </a:schemeClr>
                  </a:solidFill>
                  <a:latin typeface="Calibri"/>
                  <a:ea typeface="微软雅黑"/>
                  <a:cs typeface="+mn-ea"/>
                  <a:sym typeface="Calibri"/>
                </a:endParaRPr>
              </a:p>
            </p:txBody>
          </p:sp>
        </p:grpSp>
      </p:grpSp>
      <p:grpSp>
        <p:nvGrpSpPr>
          <p:cNvPr id="2" name="Group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38200" y="838200"/>
            <a:ext cx="8572946" cy="5143500"/>
            <a:chOff x="838200" y="838200"/>
            <a:chExt cx="8572946" cy="5143500"/>
          </a:xfrm>
        </p:grpSpPr>
        <p:sp>
          <p:nvSpPr>
            <p:cNvPr id="26" name="Rectangle 25"/>
            <p:cNvSpPr/>
            <p:nvPr/>
          </p:nvSpPr>
          <p:spPr>
            <a:xfrm>
              <a:off x="838200" y="5457537"/>
              <a:ext cx="8572946" cy="524163"/>
            </a:xfrm>
            <a:prstGeom prst="rect">
              <a:avLst/>
            </a:prstGeom>
            <a:gradFill flip="none" rotWithShape="1">
              <a:gsLst>
                <a:gs pos="0">
                  <a:schemeClr val="accent3"/>
                </a:gs>
                <a:gs pos="100000">
                  <a:schemeClr val="accent4"/>
                </a:gs>
              </a:gsLst>
              <a:lin ang="8100000" scaled="1"/>
              <a:tileRect/>
            </a:gra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 name="Rectangle 2"/>
            <p:cNvSpPr/>
            <p:nvPr/>
          </p:nvSpPr>
          <p:spPr>
            <a:xfrm>
              <a:off x="838200" y="838200"/>
              <a:ext cx="8572946" cy="5143500"/>
            </a:xfrm>
            <a:prstGeom prst="rect">
              <a:avLst/>
            </a:prstGeom>
            <a:no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28" name="Rectangle 27"/>
            <p:cNvSpPr/>
            <p:nvPr/>
          </p:nvSpPr>
          <p:spPr>
            <a:xfrm>
              <a:off x="963241" y="5563545"/>
              <a:ext cx="2808125" cy="338554"/>
            </a:xfrm>
            <a:prstGeom prst="rect">
              <a:avLst/>
            </a:prstGeom>
            <a:noFill/>
          </p:spPr>
          <p:txBody>
            <a:bodyPr wrap="square">
              <a:spAutoFit/>
            </a:bodyPr>
            <a:lstStyle/>
            <a:p>
              <a:pPr fontAlgn="base"/>
              <a:r>
                <a:rPr lang="en-US" sz="1600" dirty="0">
                  <a:solidFill>
                    <a:schemeClr val="bg1"/>
                  </a:solidFill>
                  <a:latin typeface="Calibri"/>
                  <a:ea typeface="微软雅黑"/>
                  <a:cs typeface="+mn-ea"/>
                  <a:sym typeface="Calibri"/>
                </a:rPr>
                <a:t>tech_</a:t>
              </a:r>
            </a:p>
          </p:txBody>
        </p:sp>
        <p:sp>
          <p:nvSpPr>
            <p:cNvPr id="29" name="Freeform 13"/>
            <p:cNvSpPr>
              <a:spLocks noChangeArrowheads="1"/>
            </p:cNvSpPr>
            <p:nvPr/>
          </p:nvSpPr>
          <p:spPr bwMode="auto">
            <a:xfrm>
              <a:off x="9087951" y="5623255"/>
              <a:ext cx="83292" cy="176682"/>
            </a:xfrm>
            <a:custGeom>
              <a:avLst/>
              <a:gdLst>
                <a:gd name="T0" fmla="*/ 80388 w 232"/>
                <a:gd name="T1" fmla="*/ 0 h 498"/>
                <a:gd name="T2" fmla="*/ 80388 w 232"/>
                <a:gd name="T3" fmla="*/ 0 h 498"/>
                <a:gd name="T4" fmla="*/ 100259 w 232"/>
                <a:gd name="T5" fmla="*/ 23653 h 498"/>
                <a:gd name="T6" fmla="*/ 72259 w 232"/>
                <a:gd name="T7" fmla="*/ 51323 h 498"/>
                <a:gd name="T8" fmla="*/ 48323 w 232"/>
                <a:gd name="T9" fmla="*/ 27670 h 498"/>
                <a:gd name="T10" fmla="*/ 80388 w 232"/>
                <a:gd name="T11" fmla="*/ 0 h 498"/>
                <a:gd name="T12" fmla="*/ 32516 w 232"/>
                <a:gd name="T13" fmla="*/ 221804 h 498"/>
                <a:gd name="T14" fmla="*/ 32516 w 232"/>
                <a:gd name="T15" fmla="*/ 221804 h 498"/>
                <a:gd name="T16" fmla="*/ 20323 w 232"/>
                <a:gd name="T17" fmla="*/ 181638 h 498"/>
                <a:gd name="T18" fmla="*/ 36581 w 232"/>
                <a:gd name="T19" fmla="*/ 126745 h 498"/>
                <a:gd name="T20" fmla="*/ 36581 w 232"/>
                <a:gd name="T21" fmla="*/ 114695 h 498"/>
                <a:gd name="T22" fmla="*/ 8581 w 232"/>
                <a:gd name="T23" fmla="*/ 126745 h 498"/>
                <a:gd name="T24" fmla="*/ 0 w 232"/>
                <a:gd name="T25" fmla="*/ 118712 h 498"/>
                <a:gd name="T26" fmla="*/ 76323 w 232"/>
                <a:gd name="T27" fmla="*/ 79439 h 498"/>
                <a:gd name="T28" fmla="*/ 84452 w 232"/>
                <a:gd name="T29" fmla="*/ 114695 h 498"/>
                <a:gd name="T30" fmla="*/ 68194 w 232"/>
                <a:gd name="T31" fmla="*/ 174051 h 498"/>
                <a:gd name="T32" fmla="*/ 72259 w 232"/>
                <a:gd name="T33" fmla="*/ 189671 h 498"/>
                <a:gd name="T34" fmla="*/ 96194 w 232"/>
                <a:gd name="T35" fmla="*/ 174051 h 498"/>
                <a:gd name="T36" fmla="*/ 104323 w 232"/>
                <a:gd name="T37" fmla="*/ 181638 h 498"/>
                <a:gd name="T38" fmla="*/ 32516 w 232"/>
                <a:gd name="T39" fmla="*/ 221804 h 4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2" h="498">
                  <a:moveTo>
                    <a:pt x="178" y="0"/>
                  </a:moveTo>
                  <a:lnTo>
                    <a:pt x="178" y="0"/>
                  </a:lnTo>
                  <a:cubicBezTo>
                    <a:pt x="213" y="0"/>
                    <a:pt x="222" y="27"/>
                    <a:pt x="222" y="53"/>
                  </a:cubicBezTo>
                  <a:cubicBezTo>
                    <a:pt x="222" y="80"/>
                    <a:pt x="196" y="115"/>
                    <a:pt x="160" y="115"/>
                  </a:cubicBezTo>
                  <a:cubicBezTo>
                    <a:pt x="125" y="115"/>
                    <a:pt x="107" y="97"/>
                    <a:pt x="107" y="62"/>
                  </a:cubicBezTo>
                  <a:cubicBezTo>
                    <a:pt x="107" y="35"/>
                    <a:pt x="134" y="0"/>
                    <a:pt x="178" y="0"/>
                  </a:cubicBezTo>
                  <a:close/>
                  <a:moveTo>
                    <a:pt x="72" y="497"/>
                  </a:moveTo>
                  <a:lnTo>
                    <a:pt x="72" y="497"/>
                  </a:lnTo>
                  <a:cubicBezTo>
                    <a:pt x="45" y="497"/>
                    <a:pt x="28" y="478"/>
                    <a:pt x="45" y="407"/>
                  </a:cubicBezTo>
                  <a:cubicBezTo>
                    <a:pt x="81" y="284"/>
                    <a:pt x="81" y="284"/>
                    <a:pt x="81" y="284"/>
                  </a:cubicBezTo>
                  <a:cubicBezTo>
                    <a:pt x="81" y="266"/>
                    <a:pt x="81" y="257"/>
                    <a:pt x="81" y="257"/>
                  </a:cubicBezTo>
                  <a:cubicBezTo>
                    <a:pt x="72" y="257"/>
                    <a:pt x="37" y="275"/>
                    <a:pt x="19" y="284"/>
                  </a:cubicBezTo>
                  <a:cubicBezTo>
                    <a:pt x="0" y="266"/>
                    <a:pt x="0" y="266"/>
                    <a:pt x="0" y="266"/>
                  </a:cubicBezTo>
                  <a:cubicBezTo>
                    <a:pt x="63" y="213"/>
                    <a:pt x="143" y="178"/>
                    <a:pt x="169" y="178"/>
                  </a:cubicBezTo>
                  <a:cubicBezTo>
                    <a:pt x="196" y="178"/>
                    <a:pt x="205" y="213"/>
                    <a:pt x="187" y="257"/>
                  </a:cubicBezTo>
                  <a:cubicBezTo>
                    <a:pt x="151" y="390"/>
                    <a:pt x="151" y="390"/>
                    <a:pt x="151" y="390"/>
                  </a:cubicBezTo>
                  <a:cubicBezTo>
                    <a:pt x="151" y="416"/>
                    <a:pt x="151" y="425"/>
                    <a:pt x="160" y="425"/>
                  </a:cubicBezTo>
                  <a:cubicBezTo>
                    <a:pt x="160" y="425"/>
                    <a:pt x="187" y="407"/>
                    <a:pt x="213" y="390"/>
                  </a:cubicBezTo>
                  <a:cubicBezTo>
                    <a:pt x="231" y="407"/>
                    <a:pt x="231" y="407"/>
                    <a:pt x="231" y="407"/>
                  </a:cubicBezTo>
                  <a:cubicBezTo>
                    <a:pt x="169" y="478"/>
                    <a:pt x="98" y="497"/>
                    <a:pt x="72" y="497"/>
                  </a:cubicBezTo>
                  <a:close/>
                </a:path>
              </a:pathLst>
            </a:custGeom>
            <a:solidFill>
              <a:schemeClr val="bg1"/>
            </a:solidFill>
            <a:ln>
              <a:noFill/>
            </a:ln>
            <a:effectLst/>
          </p:spPr>
          <p:txBody>
            <a:bodyPr wrap="none" lIns="34290" tIns="17145" rIns="34290" bIns="17145" anchor="ctr"/>
            <a:lstStyle/>
            <a:p>
              <a:endParaRPr lang="en-US" dirty="0">
                <a:latin typeface="Calibri"/>
                <a:ea typeface="微软雅黑"/>
                <a:cs typeface="+mn-ea"/>
                <a:sym typeface="Calibri"/>
              </a:endParaRPr>
            </a:p>
          </p:txBody>
        </p:sp>
      </p:grpSp>
      <p:grpSp>
        <p:nvGrpSpPr>
          <p:cNvPr id="30" name="Group 2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54002" y="2576060"/>
            <a:ext cx="357511" cy="357511"/>
            <a:chOff x="5493465" y="3026800"/>
            <a:chExt cx="393262" cy="393262"/>
          </a:xfrm>
        </p:grpSpPr>
        <p:sp>
          <p:nvSpPr>
            <p:cNvPr id="31" name="Oval 24"/>
            <p:cNvSpPr/>
            <p:nvPr/>
          </p:nvSpPr>
          <p:spPr>
            <a:xfrm>
              <a:off x="5493465" y="3026800"/>
              <a:ext cx="393262" cy="393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2" name="Half Frame 11"/>
            <p:cNvSpPr/>
            <p:nvPr>
              <p:custDataLst>
                <p:tags r:id="rId3"/>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33" name="Group 2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43536" y="3275685"/>
            <a:ext cx="357511" cy="357511"/>
            <a:chOff x="5493465" y="3026800"/>
            <a:chExt cx="393262" cy="393262"/>
          </a:xfrm>
        </p:grpSpPr>
        <p:sp>
          <p:nvSpPr>
            <p:cNvPr id="34" name="Oval 30"/>
            <p:cNvSpPr/>
            <p:nvPr/>
          </p:nvSpPr>
          <p:spPr>
            <a:xfrm>
              <a:off x="5493465" y="3026800"/>
              <a:ext cx="393262" cy="39326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5" name="Half Frame 11"/>
            <p:cNvSpPr/>
            <p:nvPr>
              <p:custDataLst>
                <p:tags r:id="rId2"/>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36" name="Group 3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22495" y="4064731"/>
            <a:ext cx="357511" cy="357511"/>
            <a:chOff x="5493465" y="3026800"/>
            <a:chExt cx="393262" cy="393262"/>
          </a:xfrm>
        </p:grpSpPr>
        <p:sp>
          <p:nvSpPr>
            <p:cNvPr id="37" name="Oval 36"/>
            <p:cNvSpPr/>
            <p:nvPr/>
          </p:nvSpPr>
          <p:spPr>
            <a:xfrm>
              <a:off x="5493465" y="3026800"/>
              <a:ext cx="393262" cy="3932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8" name="Half Frame 11"/>
            <p:cNvSpPr/>
            <p:nvPr>
              <p:custDataLst>
                <p:tags r:id="rId1"/>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39" name="组合 3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429197" y="2448424"/>
            <a:ext cx="4213214" cy="2272432"/>
            <a:chOff x="1611541" y="3034453"/>
            <a:chExt cx="7472458" cy="2577519"/>
          </a:xfrm>
        </p:grpSpPr>
        <p:sp>
          <p:nvSpPr>
            <p:cNvPr id="40" name="Rectangle 26"/>
            <p:cNvSpPr/>
            <p:nvPr/>
          </p:nvSpPr>
          <p:spPr>
            <a:xfrm>
              <a:off x="2388355" y="3034453"/>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41" name="Rectangle 27"/>
            <p:cNvSpPr/>
            <p:nvPr/>
          </p:nvSpPr>
          <p:spPr>
            <a:xfrm>
              <a:off x="2389650" y="3272277"/>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cxnSp>
          <p:nvCxnSpPr>
            <p:cNvPr id="42" name="Straight Connector 28"/>
            <p:cNvCxnSpPr/>
            <p:nvPr/>
          </p:nvCxnSpPr>
          <p:spPr>
            <a:xfrm>
              <a:off x="1611541" y="3729114"/>
              <a:ext cx="7390955"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Rectangle 32"/>
            <p:cNvSpPr/>
            <p:nvPr/>
          </p:nvSpPr>
          <p:spPr>
            <a:xfrm>
              <a:off x="2388355" y="3927886"/>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44" name="Rectangle 33"/>
            <p:cNvSpPr/>
            <p:nvPr/>
          </p:nvSpPr>
          <p:spPr>
            <a:xfrm>
              <a:off x="2389650" y="4165711"/>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cxnSp>
          <p:nvCxnSpPr>
            <p:cNvPr id="45" name="Straight Connector 34"/>
            <p:cNvCxnSpPr/>
            <p:nvPr/>
          </p:nvCxnSpPr>
          <p:spPr>
            <a:xfrm>
              <a:off x="1611541" y="4771295"/>
              <a:ext cx="7390955"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tangle 38"/>
            <p:cNvSpPr/>
            <p:nvPr/>
          </p:nvSpPr>
          <p:spPr>
            <a:xfrm>
              <a:off x="2388355" y="4920321"/>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47" name="Rectangle 39"/>
            <p:cNvSpPr/>
            <p:nvPr/>
          </p:nvSpPr>
          <p:spPr>
            <a:xfrm>
              <a:off x="2389650" y="5158145"/>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grpSp>
      <p:pic>
        <p:nvPicPr>
          <p:cNvPr id="49" name="图片 4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036790" y="1827437"/>
            <a:ext cx="3073558" cy="3181514"/>
          </a:xfrm>
          <a:prstGeom prst="rect">
            <a:avLst/>
          </a:prstGeom>
        </p:spPr>
      </p:pic>
      <p:sp>
        <p:nvSpPr>
          <p:cNvPr id="50"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占位符 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0"/>
          </p:nvPr>
        </p:nvPicPr>
        <p:blipFill>
          <a:blip r:embed="rId6" cstate="screen">
            <a:extLst>
              <a:ext uri="{28A0092B-C50C-407E-A947-70E740481C1C}">
                <a14:useLocalDpi xmlns:a14="http://schemas.microsoft.com/office/drawing/2010/main"/>
              </a:ext>
            </a:extLst>
          </a:blip>
          <a:srcRect/>
          <a:stretch>
            <a:fillRect/>
          </a:stretch>
        </p:blipFill>
        <p:spPr/>
      </p:pic>
      <p:sp>
        <p:nvSpPr>
          <p:cNvPr id="25" name="Rectangle 2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flipH="1">
            <a:off x="9429773" y="838200"/>
            <a:ext cx="1866454" cy="5143500"/>
          </a:xfrm>
          <a:prstGeom prst="rect">
            <a:avLst/>
          </a:prstGeom>
          <a:solidFill>
            <a:schemeClr val="bg1">
              <a:alpha val="90000"/>
            </a:schemeClr>
          </a:solid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10" name="TextBox 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424212" y="1192838"/>
            <a:ext cx="4167261" cy="707886"/>
          </a:xfrm>
          <a:prstGeom prst="rect">
            <a:avLst/>
          </a:prstGeom>
          <a:noFill/>
        </p:spPr>
        <p:txBody>
          <a:bodyPr wrap="square" rtlCol="0">
            <a:spAutoFit/>
          </a:bodyPr>
          <a:lstStyle/>
          <a:p>
            <a:r>
              <a:rPr lang="en-US" sz="4000" b="1" dirty="0">
                <a:solidFill>
                  <a:schemeClr val="tx1">
                    <a:lumMod val="85000"/>
                    <a:lumOff val="15000"/>
                  </a:schemeClr>
                </a:solidFill>
                <a:latin typeface="Calibri"/>
                <a:ea typeface="微软雅黑"/>
                <a:cs typeface="+mn-ea"/>
                <a:sym typeface="Calibri"/>
              </a:rPr>
              <a:t>Threats</a:t>
            </a:r>
          </a:p>
        </p:txBody>
      </p:sp>
      <p:grpSp>
        <p:nvGrpSpPr>
          <p:cNvPr id="12" name="Group 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650802" y="4918757"/>
            <a:ext cx="1324112" cy="331302"/>
            <a:chOff x="4481444" y="4189765"/>
            <a:chExt cx="1324112" cy="331302"/>
          </a:xfrm>
        </p:grpSpPr>
        <p:sp>
          <p:nvSpPr>
            <p:cNvPr id="13" name="Rectangle: Rounded Corners 12"/>
            <p:cNvSpPr/>
            <p:nvPr/>
          </p:nvSpPr>
          <p:spPr>
            <a:xfrm>
              <a:off x="4481444" y="4189765"/>
              <a:ext cx="1324112" cy="331302"/>
            </a:xfrm>
            <a:prstGeom prst="roundRect">
              <a:avLst>
                <a:gd name="adj" fmla="val 50000"/>
              </a:avLst>
            </a:prstGeom>
            <a:gradFill>
              <a:gsLst>
                <a:gs pos="0">
                  <a:schemeClr val="accent5">
                    <a:lumMod val="60000"/>
                    <a:lumOff val="40000"/>
                  </a:schemeClr>
                </a:gs>
                <a:gs pos="100000">
                  <a:schemeClr val="accent3">
                    <a:lumMod val="60000"/>
                    <a:lumOff val="40000"/>
                  </a:schemeClr>
                </a:gs>
              </a:gsLst>
              <a:lin ang="8100000" scaled="1"/>
            </a:gradFill>
            <a:ln w="31750">
              <a:solidFill>
                <a:schemeClr val="accent3">
                  <a:alpha val="93000"/>
                </a:schemeClr>
              </a:solidFill>
            </a:ln>
            <a:effectLst>
              <a:outerShdw blurRad="228600" dist="152400" dir="5400000" sx="79000" sy="79000" algn="t"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spc="300" dirty="0">
                <a:solidFill>
                  <a:schemeClr val="bg1"/>
                </a:solidFill>
                <a:latin typeface="Calibri"/>
                <a:ea typeface="微软雅黑"/>
                <a:cs typeface="+mn-ea"/>
                <a:sym typeface="Calibri"/>
              </a:endParaRPr>
            </a:p>
          </p:txBody>
        </p:sp>
        <p:sp>
          <p:nvSpPr>
            <p:cNvPr id="14" name="TextBox 13"/>
            <p:cNvSpPr txBox="1"/>
            <p:nvPr/>
          </p:nvSpPr>
          <p:spPr>
            <a:xfrm>
              <a:off x="4546298" y="4212451"/>
              <a:ext cx="1194404" cy="307777"/>
            </a:xfrm>
            <a:prstGeom prst="rect">
              <a:avLst/>
            </a:prstGeom>
            <a:noFill/>
          </p:spPr>
          <p:txBody>
            <a:bodyPr wrap="square" rtlCol="0">
              <a:spAutoFit/>
            </a:bodyPr>
            <a:lstStyle/>
            <a:p>
              <a:pPr algn="ctr"/>
              <a:r>
                <a:rPr lang="en-US" sz="1400" dirty="0">
                  <a:solidFill>
                    <a:schemeClr val="bg1"/>
                  </a:solidFill>
                  <a:latin typeface="Calibri"/>
                  <a:ea typeface="微软雅黑"/>
                  <a:cs typeface="+mn-ea"/>
                  <a:sym typeface="Calibri"/>
                </a:rPr>
                <a:t>Read More</a:t>
              </a:r>
              <a:endParaRPr lang="id-ID" sz="1400" dirty="0">
                <a:solidFill>
                  <a:schemeClr val="bg1"/>
                </a:solidFill>
                <a:latin typeface="Calibri"/>
                <a:ea typeface="微软雅黑"/>
                <a:cs typeface="+mn-ea"/>
                <a:sym typeface="Calibri"/>
              </a:endParaRPr>
            </a:p>
          </p:txBody>
        </p:sp>
      </p:grpSp>
      <p:sp>
        <p:nvSpPr>
          <p:cNvPr id="15" name="TextBox 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424212" y="1958384"/>
            <a:ext cx="3276222" cy="369332"/>
          </a:xfrm>
          <a:prstGeom prst="rect">
            <a:avLst/>
          </a:prstGeom>
          <a:noFill/>
        </p:spPr>
        <p:txBody>
          <a:bodyPr wrap="square" rtlCol="0">
            <a:spAutoFit/>
          </a:bodyPr>
          <a:lstStyle/>
          <a:p>
            <a:r>
              <a:rPr lang="en-US" b="1" dirty="0">
                <a:solidFill>
                  <a:schemeClr val="accent1"/>
                </a:solidFill>
                <a:latin typeface="Calibri"/>
                <a:ea typeface="微软雅黑"/>
                <a:cs typeface="+mn-ea"/>
                <a:sym typeface="Calibri"/>
              </a:rPr>
              <a:t>SWOT Analysis</a:t>
            </a:r>
          </a:p>
        </p:txBody>
      </p:sp>
      <p:grpSp>
        <p:nvGrpSpPr>
          <p:cNvPr id="2" name="Group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38200" y="838200"/>
            <a:ext cx="8572946" cy="5143500"/>
            <a:chOff x="838200" y="838200"/>
            <a:chExt cx="8572946" cy="5143500"/>
          </a:xfrm>
        </p:grpSpPr>
        <p:sp>
          <p:nvSpPr>
            <p:cNvPr id="26" name="Rectangle 25"/>
            <p:cNvSpPr/>
            <p:nvPr/>
          </p:nvSpPr>
          <p:spPr>
            <a:xfrm>
              <a:off x="838200" y="5457537"/>
              <a:ext cx="8572946" cy="524163"/>
            </a:xfrm>
            <a:prstGeom prst="rect">
              <a:avLst/>
            </a:prstGeom>
            <a:gradFill flip="none" rotWithShape="1">
              <a:gsLst>
                <a:gs pos="0">
                  <a:schemeClr val="accent3"/>
                </a:gs>
                <a:gs pos="100000">
                  <a:schemeClr val="accent4"/>
                </a:gs>
              </a:gsLst>
              <a:lin ang="8100000" scaled="1"/>
              <a:tileRect/>
            </a:gradFill>
            <a:ln w="349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 name="Rectangle 2"/>
            <p:cNvSpPr/>
            <p:nvPr/>
          </p:nvSpPr>
          <p:spPr>
            <a:xfrm>
              <a:off x="838200" y="838200"/>
              <a:ext cx="8572946" cy="5143500"/>
            </a:xfrm>
            <a:prstGeom prst="rect">
              <a:avLst/>
            </a:prstGeom>
            <a:no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28" name="Rectangle 27"/>
            <p:cNvSpPr/>
            <p:nvPr/>
          </p:nvSpPr>
          <p:spPr>
            <a:xfrm>
              <a:off x="963241" y="5563545"/>
              <a:ext cx="2808125" cy="338554"/>
            </a:xfrm>
            <a:prstGeom prst="rect">
              <a:avLst/>
            </a:prstGeom>
            <a:noFill/>
          </p:spPr>
          <p:txBody>
            <a:bodyPr wrap="square">
              <a:spAutoFit/>
            </a:bodyPr>
            <a:lstStyle/>
            <a:p>
              <a:pPr fontAlgn="base"/>
              <a:r>
                <a:rPr lang="en-US" sz="1600" dirty="0">
                  <a:solidFill>
                    <a:schemeClr val="bg1"/>
                  </a:solidFill>
                  <a:latin typeface="Calibri"/>
                  <a:ea typeface="微软雅黑"/>
                  <a:cs typeface="+mn-ea"/>
                  <a:sym typeface="Calibri"/>
                </a:rPr>
                <a:t>tech_</a:t>
              </a:r>
            </a:p>
          </p:txBody>
        </p:sp>
        <p:sp>
          <p:nvSpPr>
            <p:cNvPr id="29" name="Freeform 13"/>
            <p:cNvSpPr>
              <a:spLocks noChangeArrowheads="1"/>
            </p:cNvSpPr>
            <p:nvPr/>
          </p:nvSpPr>
          <p:spPr bwMode="auto">
            <a:xfrm>
              <a:off x="9087951" y="5623255"/>
              <a:ext cx="83292" cy="176682"/>
            </a:xfrm>
            <a:custGeom>
              <a:avLst/>
              <a:gdLst>
                <a:gd name="T0" fmla="*/ 80388 w 232"/>
                <a:gd name="T1" fmla="*/ 0 h 498"/>
                <a:gd name="T2" fmla="*/ 80388 w 232"/>
                <a:gd name="T3" fmla="*/ 0 h 498"/>
                <a:gd name="T4" fmla="*/ 100259 w 232"/>
                <a:gd name="T5" fmla="*/ 23653 h 498"/>
                <a:gd name="T6" fmla="*/ 72259 w 232"/>
                <a:gd name="T7" fmla="*/ 51323 h 498"/>
                <a:gd name="T8" fmla="*/ 48323 w 232"/>
                <a:gd name="T9" fmla="*/ 27670 h 498"/>
                <a:gd name="T10" fmla="*/ 80388 w 232"/>
                <a:gd name="T11" fmla="*/ 0 h 498"/>
                <a:gd name="T12" fmla="*/ 32516 w 232"/>
                <a:gd name="T13" fmla="*/ 221804 h 498"/>
                <a:gd name="T14" fmla="*/ 32516 w 232"/>
                <a:gd name="T15" fmla="*/ 221804 h 498"/>
                <a:gd name="T16" fmla="*/ 20323 w 232"/>
                <a:gd name="T17" fmla="*/ 181638 h 498"/>
                <a:gd name="T18" fmla="*/ 36581 w 232"/>
                <a:gd name="T19" fmla="*/ 126745 h 498"/>
                <a:gd name="T20" fmla="*/ 36581 w 232"/>
                <a:gd name="T21" fmla="*/ 114695 h 498"/>
                <a:gd name="T22" fmla="*/ 8581 w 232"/>
                <a:gd name="T23" fmla="*/ 126745 h 498"/>
                <a:gd name="T24" fmla="*/ 0 w 232"/>
                <a:gd name="T25" fmla="*/ 118712 h 498"/>
                <a:gd name="T26" fmla="*/ 76323 w 232"/>
                <a:gd name="T27" fmla="*/ 79439 h 498"/>
                <a:gd name="T28" fmla="*/ 84452 w 232"/>
                <a:gd name="T29" fmla="*/ 114695 h 498"/>
                <a:gd name="T30" fmla="*/ 68194 w 232"/>
                <a:gd name="T31" fmla="*/ 174051 h 498"/>
                <a:gd name="T32" fmla="*/ 72259 w 232"/>
                <a:gd name="T33" fmla="*/ 189671 h 498"/>
                <a:gd name="T34" fmla="*/ 96194 w 232"/>
                <a:gd name="T35" fmla="*/ 174051 h 498"/>
                <a:gd name="T36" fmla="*/ 104323 w 232"/>
                <a:gd name="T37" fmla="*/ 181638 h 498"/>
                <a:gd name="T38" fmla="*/ 32516 w 232"/>
                <a:gd name="T39" fmla="*/ 221804 h 4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2" h="498">
                  <a:moveTo>
                    <a:pt x="178" y="0"/>
                  </a:moveTo>
                  <a:lnTo>
                    <a:pt x="178" y="0"/>
                  </a:lnTo>
                  <a:cubicBezTo>
                    <a:pt x="213" y="0"/>
                    <a:pt x="222" y="27"/>
                    <a:pt x="222" y="53"/>
                  </a:cubicBezTo>
                  <a:cubicBezTo>
                    <a:pt x="222" y="80"/>
                    <a:pt x="196" y="115"/>
                    <a:pt x="160" y="115"/>
                  </a:cubicBezTo>
                  <a:cubicBezTo>
                    <a:pt x="125" y="115"/>
                    <a:pt x="107" y="97"/>
                    <a:pt x="107" y="62"/>
                  </a:cubicBezTo>
                  <a:cubicBezTo>
                    <a:pt x="107" y="35"/>
                    <a:pt x="134" y="0"/>
                    <a:pt x="178" y="0"/>
                  </a:cubicBezTo>
                  <a:close/>
                  <a:moveTo>
                    <a:pt x="72" y="497"/>
                  </a:moveTo>
                  <a:lnTo>
                    <a:pt x="72" y="497"/>
                  </a:lnTo>
                  <a:cubicBezTo>
                    <a:pt x="45" y="497"/>
                    <a:pt x="28" y="478"/>
                    <a:pt x="45" y="407"/>
                  </a:cubicBezTo>
                  <a:cubicBezTo>
                    <a:pt x="81" y="284"/>
                    <a:pt x="81" y="284"/>
                    <a:pt x="81" y="284"/>
                  </a:cubicBezTo>
                  <a:cubicBezTo>
                    <a:pt x="81" y="266"/>
                    <a:pt x="81" y="257"/>
                    <a:pt x="81" y="257"/>
                  </a:cubicBezTo>
                  <a:cubicBezTo>
                    <a:pt x="72" y="257"/>
                    <a:pt x="37" y="275"/>
                    <a:pt x="19" y="284"/>
                  </a:cubicBezTo>
                  <a:cubicBezTo>
                    <a:pt x="0" y="266"/>
                    <a:pt x="0" y="266"/>
                    <a:pt x="0" y="266"/>
                  </a:cubicBezTo>
                  <a:cubicBezTo>
                    <a:pt x="63" y="213"/>
                    <a:pt x="143" y="178"/>
                    <a:pt x="169" y="178"/>
                  </a:cubicBezTo>
                  <a:cubicBezTo>
                    <a:pt x="196" y="178"/>
                    <a:pt x="205" y="213"/>
                    <a:pt x="187" y="257"/>
                  </a:cubicBezTo>
                  <a:cubicBezTo>
                    <a:pt x="151" y="390"/>
                    <a:pt x="151" y="390"/>
                    <a:pt x="151" y="390"/>
                  </a:cubicBezTo>
                  <a:cubicBezTo>
                    <a:pt x="151" y="416"/>
                    <a:pt x="151" y="425"/>
                    <a:pt x="160" y="425"/>
                  </a:cubicBezTo>
                  <a:cubicBezTo>
                    <a:pt x="160" y="425"/>
                    <a:pt x="187" y="407"/>
                    <a:pt x="213" y="390"/>
                  </a:cubicBezTo>
                  <a:cubicBezTo>
                    <a:pt x="231" y="407"/>
                    <a:pt x="231" y="407"/>
                    <a:pt x="231" y="407"/>
                  </a:cubicBezTo>
                  <a:cubicBezTo>
                    <a:pt x="169" y="478"/>
                    <a:pt x="98" y="497"/>
                    <a:pt x="72" y="497"/>
                  </a:cubicBezTo>
                  <a:close/>
                </a:path>
              </a:pathLst>
            </a:custGeom>
            <a:solidFill>
              <a:schemeClr val="bg1"/>
            </a:solidFill>
            <a:ln>
              <a:noFill/>
            </a:ln>
            <a:effectLst/>
          </p:spPr>
          <p:txBody>
            <a:bodyPr wrap="none" lIns="34290" tIns="17145" rIns="34290" bIns="17145" anchor="ctr"/>
            <a:lstStyle/>
            <a:p>
              <a:endParaRPr lang="en-US" dirty="0">
                <a:latin typeface="Calibri"/>
                <a:ea typeface="微软雅黑"/>
                <a:cs typeface="+mn-ea"/>
                <a:sym typeface="Calibri"/>
              </a:endParaRPr>
            </a:p>
          </p:txBody>
        </p:sp>
      </p:grpSp>
      <p:grpSp>
        <p:nvGrpSpPr>
          <p:cNvPr id="30" name="Group 2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536187" y="4170673"/>
            <a:ext cx="1623302" cy="1286855"/>
            <a:chOff x="950659" y="3981007"/>
            <a:chExt cx="1876425" cy="1286855"/>
          </a:xfrm>
        </p:grpSpPr>
        <p:sp>
          <p:nvSpPr>
            <p:cNvPr id="31" name="TextBox 30"/>
            <p:cNvSpPr txBox="1"/>
            <p:nvPr/>
          </p:nvSpPr>
          <p:spPr>
            <a:xfrm>
              <a:off x="950659" y="3981007"/>
              <a:ext cx="1876425" cy="276999"/>
            </a:xfrm>
            <a:prstGeom prst="rect">
              <a:avLst/>
            </a:prstGeom>
            <a:noFill/>
          </p:spPr>
          <p:txBody>
            <a:bodyPr wrap="square" rtlCol="0">
              <a:spAutoFit/>
            </a:bodyPr>
            <a:lstStyle/>
            <a:p>
              <a:r>
                <a:rPr lang="en-US" sz="1200" dirty="0">
                  <a:solidFill>
                    <a:schemeClr val="tx1">
                      <a:lumMod val="85000"/>
                      <a:lumOff val="15000"/>
                    </a:schemeClr>
                  </a:solidFill>
                  <a:latin typeface="Calibri"/>
                  <a:ea typeface="微软雅黑"/>
                  <a:cs typeface="+mn-ea"/>
                  <a:sym typeface="Calibri"/>
                </a:rPr>
                <a:t>Description </a:t>
              </a:r>
            </a:p>
          </p:txBody>
        </p:sp>
        <p:sp>
          <p:nvSpPr>
            <p:cNvPr id="32" name="TextBox 31"/>
            <p:cNvSpPr txBox="1"/>
            <p:nvPr/>
          </p:nvSpPr>
          <p:spPr>
            <a:xfrm>
              <a:off x="950659" y="4506884"/>
              <a:ext cx="1796460" cy="760978"/>
            </a:xfrm>
            <a:prstGeom prst="rect">
              <a:avLst/>
            </a:prstGeom>
            <a:noFill/>
          </p:spPr>
          <p:txBody>
            <a:bodyPr wrap="square" rtlCol="0">
              <a:spAutoFit/>
            </a:bodyPr>
            <a:lstStyle/>
            <a:p>
              <a:pPr>
                <a:lnSpc>
                  <a:spcPct val="150000"/>
                </a:lnSpc>
              </a:pPr>
              <a:r>
                <a:rPr lang="zh-CN" altLang="en-US" sz="1000" dirty="0">
                  <a:latin typeface="Calibri"/>
                  <a:ea typeface="微软雅黑"/>
                  <a:cs typeface="+mn-ea"/>
                  <a:sym typeface="Calibri"/>
                </a:rPr>
                <a:t>Hey, hey, hey! It's Fat </a:t>
              </a:r>
              <a:r>
                <a:rPr lang="en-US" altLang="zh-CN" sz="1000" dirty="0">
                  <a:latin typeface="Calibri"/>
                  <a:ea typeface="微软雅黑"/>
                  <a:cs typeface="+mn-ea"/>
                  <a:sym typeface="Calibri"/>
                </a:rPr>
                <a:t>Company</a:t>
              </a:r>
              <a:r>
                <a:rPr lang="zh-CN" altLang="en-US" sz="1000" dirty="0">
                  <a:latin typeface="Calibri"/>
                  <a:ea typeface="微软雅黑"/>
                  <a:cs typeface="+mn-ea"/>
                  <a:sym typeface="Calibri"/>
                </a:rPr>
                <a:t>! Now I'm gonna sing a song for you,</a:t>
              </a:r>
              <a:endParaRPr lang="en-US" sz="1000" dirty="0">
                <a:solidFill>
                  <a:schemeClr val="tx1">
                    <a:lumMod val="65000"/>
                    <a:lumOff val="35000"/>
                  </a:schemeClr>
                </a:solidFill>
                <a:latin typeface="Calibri"/>
                <a:ea typeface="微软雅黑"/>
                <a:cs typeface="+mn-ea"/>
                <a:sym typeface="Calibri"/>
              </a:endParaRPr>
            </a:p>
          </p:txBody>
        </p:sp>
      </p:grpSp>
      <p:sp>
        <p:nvSpPr>
          <p:cNvPr id="36" name="TextBox 3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880871" y="1038754"/>
            <a:ext cx="1183833" cy="584775"/>
          </a:xfrm>
          <a:prstGeom prst="rect">
            <a:avLst/>
          </a:prstGeom>
          <a:noFill/>
        </p:spPr>
        <p:txBody>
          <a:bodyPr wrap="square" rtlCol="0">
            <a:spAutoFit/>
          </a:bodyPr>
          <a:lstStyle/>
          <a:p>
            <a:pPr algn="r"/>
            <a:r>
              <a:rPr lang="en-US" sz="3200" dirty="0">
                <a:solidFill>
                  <a:schemeClr val="tx1">
                    <a:lumMod val="85000"/>
                    <a:lumOff val="15000"/>
                  </a:schemeClr>
                </a:solidFill>
                <a:latin typeface="Calibri"/>
                <a:ea typeface="微软雅黑"/>
                <a:cs typeface="+mn-ea"/>
                <a:sym typeface="Calibri"/>
              </a:rPr>
              <a:t>02.</a:t>
            </a:r>
          </a:p>
        </p:txBody>
      </p:sp>
      <p:grpSp>
        <p:nvGrpSpPr>
          <p:cNvPr id="21" name="Group 2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54002" y="2576060"/>
            <a:ext cx="357511" cy="357511"/>
            <a:chOff x="5493465" y="3026800"/>
            <a:chExt cx="393262" cy="393262"/>
          </a:xfrm>
        </p:grpSpPr>
        <p:sp>
          <p:nvSpPr>
            <p:cNvPr id="22" name="Oval 24"/>
            <p:cNvSpPr/>
            <p:nvPr/>
          </p:nvSpPr>
          <p:spPr>
            <a:xfrm>
              <a:off x="5493465" y="3026800"/>
              <a:ext cx="393262" cy="393262"/>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23" name="Half Frame 11"/>
            <p:cNvSpPr/>
            <p:nvPr>
              <p:custDataLst>
                <p:tags r:id="rId3"/>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24" name="Group 2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43536" y="3275685"/>
            <a:ext cx="357511" cy="357511"/>
            <a:chOff x="5493465" y="3026800"/>
            <a:chExt cx="393262" cy="393262"/>
          </a:xfrm>
        </p:grpSpPr>
        <p:sp>
          <p:nvSpPr>
            <p:cNvPr id="33" name="Oval 30"/>
            <p:cNvSpPr/>
            <p:nvPr/>
          </p:nvSpPr>
          <p:spPr>
            <a:xfrm>
              <a:off x="5493465" y="3026800"/>
              <a:ext cx="393262" cy="39326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4" name="Half Frame 11"/>
            <p:cNvSpPr/>
            <p:nvPr>
              <p:custDataLst>
                <p:tags r:id="rId2"/>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35" name="Group 3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522495" y="4064731"/>
            <a:ext cx="357511" cy="357511"/>
            <a:chOff x="5493465" y="3026800"/>
            <a:chExt cx="393262" cy="393262"/>
          </a:xfrm>
        </p:grpSpPr>
        <p:sp>
          <p:nvSpPr>
            <p:cNvPr id="37" name="Oval 36"/>
            <p:cNvSpPr/>
            <p:nvPr/>
          </p:nvSpPr>
          <p:spPr>
            <a:xfrm>
              <a:off x="5493465" y="3026800"/>
              <a:ext cx="393262" cy="39326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38" name="Half Frame 11"/>
            <p:cNvSpPr/>
            <p:nvPr>
              <p:custDataLst>
                <p:tags r:id="rId1"/>
              </p:custDataLst>
            </p:nvPr>
          </p:nvSpPr>
          <p:spPr bwMode="auto">
            <a:xfrm rot="19041757" flipV="1">
              <a:off x="5610860" y="3123540"/>
              <a:ext cx="204764" cy="120042"/>
            </a:xfrm>
            <a:prstGeom prst="halfFrame">
              <a:avLst>
                <a:gd name="adj1" fmla="val 28787"/>
                <a:gd name="adj2" fmla="val 15926"/>
              </a:avLst>
            </a:prstGeom>
            <a:solidFill>
              <a:schemeClr val="bg1"/>
            </a:solidFill>
            <a:ln>
              <a:noFill/>
            </a:ln>
            <a:effectLst/>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nb-NO">
                <a:solidFill>
                  <a:schemeClr val="tx1"/>
                </a:solidFill>
                <a:latin typeface="Calibri"/>
                <a:ea typeface="微软雅黑"/>
                <a:cs typeface="+mn-ea"/>
                <a:sym typeface="Calibri"/>
              </a:endParaRPr>
            </a:p>
          </p:txBody>
        </p:sp>
      </p:grpSp>
      <p:grpSp>
        <p:nvGrpSpPr>
          <p:cNvPr id="39" name="组合 3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429197" y="2448424"/>
            <a:ext cx="4213214" cy="2272432"/>
            <a:chOff x="1611541" y="3034453"/>
            <a:chExt cx="7472458" cy="2577519"/>
          </a:xfrm>
        </p:grpSpPr>
        <p:sp>
          <p:nvSpPr>
            <p:cNvPr id="40" name="Rectangle 26"/>
            <p:cNvSpPr/>
            <p:nvPr/>
          </p:nvSpPr>
          <p:spPr>
            <a:xfrm>
              <a:off x="2388355" y="3034453"/>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41" name="Rectangle 27"/>
            <p:cNvSpPr/>
            <p:nvPr/>
          </p:nvSpPr>
          <p:spPr>
            <a:xfrm>
              <a:off x="2389650" y="3272277"/>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cxnSp>
          <p:nvCxnSpPr>
            <p:cNvPr id="42" name="Straight Connector 28"/>
            <p:cNvCxnSpPr/>
            <p:nvPr/>
          </p:nvCxnSpPr>
          <p:spPr>
            <a:xfrm>
              <a:off x="1611541" y="3729114"/>
              <a:ext cx="7390955" cy="0"/>
            </a:xfrm>
            <a:prstGeom prst="line">
              <a:avLst/>
            </a:prstGeom>
          </p:spPr>
          <p:style>
            <a:lnRef idx="1">
              <a:schemeClr val="accent1"/>
            </a:lnRef>
            <a:fillRef idx="0">
              <a:schemeClr val="accent1"/>
            </a:fillRef>
            <a:effectRef idx="0">
              <a:schemeClr val="accent1"/>
            </a:effectRef>
            <a:fontRef idx="minor">
              <a:schemeClr val="tx1"/>
            </a:fontRef>
          </p:style>
        </p:cxnSp>
        <p:sp>
          <p:nvSpPr>
            <p:cNvPr id="43" name="Rectangle 32"/>
            <p:cNvSpPr/>
            <p:nvPr/>
          </p:nvSpPr>
          <p:spPr>
            <a:xfrm>
              <a:off x="2388355" y="3927886"/>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44" name="Rectangle 33"/>
            <p:cNvSpPr/>
            <p:nvPr/>
          </p:nvSpPr>
          <p:spPr>
            <a:xfrm>
              <a:off x="2389650" y="4165711"/>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cxnSp>
          <p:nvCxnSpPr>
            <p:cNvPr id="45" name="Straight Connector 34"/>
            <p:cNvCxnSpPr/>
            <p:nvPr/>
          </p:nvCxnSpPr>
          <p:spPr>
            <a:xfrm>
              <a:off x="1611541" y="4771295"/>
              <a:ext cx="7390955"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Rectangle 38"/>
            <p:cNvSpPr/>
            <p:nvPr/>
          </p:nvSpPr>
          <p:spPr>
            <a:xfrm>
              <a:off x="2388355" y="4920321"/>
              <a:ext cx="3128297" cy="289912"/>
            </a:xfrm>
            <a:prstGeom prst="rect">
              <a:avLst/>
            </a:prstGeom>
          </p:spPr>
          <p:txBody>
            <a:bodyPr vert="horz" wrap="square" lIns="91440" tIns="45720" rIns="91440" bIns="45720" rtlCol="0" anchor="ctr">
              <a:noAutofit/>
            </a:bodyPr>
            <a:lstStyle/>
            <a:p>
              <a:pPr>
                <a:lnSpc>
                  <a:spcPct val="90000"/>
                </a:lnSpc>
                <a:spcBef>
                  <a:spcPct val="0"/>
                </a:spcBef>
              </a:pPr>
              <a:r>
                <a:rPr lang="en-US" sz="1400" b="1" dirty="0">
                  <a:solidFill>
                    <a:schemeClr val="tx1">
                      <a:lumMod val="85000"/>
                      <a:lumOff val="15000"/>
                    </a:schemeClr>
                  </a:solidFill>
                  <a:latin typeface="Calibri"/>
                  <a:ea typeface="微软雅黑"/>
                  <a:cs typeface="+mn-ea"/>
                  <a:sym typeface="Calibri"/>
                </a:rPr>
                <a:t>FEATURE</a:t>
              </a:r>
            </a:p>
          </p:txBody>
        </p:sp>
        <p:sp>
          <p:nvSpPr>
            <p:cNvPr id="47" name="Rectangle 39"/>
            <p:cNvSpPr/>
            <p:nvPr/>
          </p:nvSpPr>
          <p:spPr>
            <a:xfrm>
              <a:off x="2389650" y="5158145"/>
              <a:ext cx="6694349" cy="453827"/>
            </a:xfrm>
            <a:prstGeom prst="rect">
              <a:avLst/>
            </a:prstGeom>
          </p:spPr>
          <p:txBody>
            <a:bodyPr wrap="square">
              <a:spAutoFit/>
            </a:bodyPr>
            <a:lstStyle/>
            <a:p>
              <a:pPr>
                <a:buClr>
                  <a:srgbClr val="E24848"/>
                </a:buClr>
                <a:defRPr/>
              </a:pPr>
              <a:r>
                <a:rPr lang="en-US" sz="10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m. </a:t>
              </a:r>
            </a:p>
          </p:txBody>
        </p:sp>
      </p:grpSp>
      <p:pic>
        <p:nvPicPr>
          <p:cNvPr id="8" name="图片 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6487238" y="1783049"/>
            <a:ext cx="2267067" cy="3225966"/>
          </a:xfrm>
          <a:prstGeom prst="rect">
            <a:avLst/>
          </a:prstGeom>
        </p:spPr>
      </p:pic>
      <p:grpSp>
        <p:nvGrpSpPr>
          <p:cNvPr id="48" name="Group 3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617793" y="4538765"/>
            <a:ext cx="1016028" cy="166655"/>
            <a:chOff x="9395730" y="4795397"/>
            <a:chExt cx="869563" cy="142630"/>
          </a:xfrm>
        </p:grpSpPr>
        <p:sp>
          <p:nvSpPr>
            <p:cNvPr id="49" name="Star: 5 Points 34"/>
            <p:cNvSpPr/>
            <p:nvPr/>
          </p:nvSpPr>
          <p:spPr>
            <a:xfrm>
              <a:off x="9395730" y="4799232"/>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sp>
          <p:nvSpPr>
            <p:cNvPr id="50" name="Star: 5 Points 35"/>
            <p:cNvSpPr/>
            <p:nvPr/>
          </p:nvSpPr>
          <p:spPr>
            <a:xfrm>
              <a:off x="9579295" y="4797315"/>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sp>
          <p:nvSpPr>
            <p:cNvPr id="51" name="Star: 5 Points 36"/>
            <p:cNvSpPr/>
            <p:nvPr/>
          </p:nvSpPr>
          <p:spPr>
            <a:xfrm>
              <a:off x="9762860" y="4797315"/>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sp>
          <p:nvSpPr>
            <p:cNvPr id="52" name="Star: 5 Points 37"/>
            <p:cNvSpPr/>
            <p:nvPr/>
          </p:nvSpPr>
          <p:spPr>
            <a:xfrm>
              <a:off x="9946425" y="4795398"/>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sp>
          <p:nvSpPr>
            <p:cNvPr id="53" name="Star: 5 Points 38"/>
            <p:cNvSpPr/>
            <p:nvPr/>
          </p:nvSpPr>
          <p:spPr>
            <a:xfrm>
              <a:off x="10126498" y="4795397"/>
              <a:ext cx="138795" cy="138795"/>
            </a:xfrm>
            <a:prstGeom prst="star5">
              <a:avLst>
                <a:gd name="adj" fmla="val 28981"/>
                <a:gd name="hf" fmla="val 105146"/>
                <a:gd name="vf" fmla="val 110557"/>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125">
                <a:solidFill>
                  <a:schemeClr val="tx1">
                    <a:lumMod val="65000"/>
                    <a:lumOff val="35000"/>
                  </a:schemeClr>
                </a:solidFill>
                <a:latin typeface="Calibri"/>
                <a:ea typeface="微软雅黑"/>
                <a:cs typeface="+mn-ea"/>
                <a:sym typeface="Calibri"/>
              </a:endParaRPr>
            </a:p>
          </p:txBody>
        </p:sp>
      </p:grpSp>
      <p:sp>
        <p:nvSpPr>
          <p:cNvPr id="9"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12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469207" y="3657601"/>
            <a:ext cx="13798544" cy="3200400"/>
            <a:chOff x="122174" y="4077043"/>
            <a:chExt cx="11990113" cy="2780957"/>
          </a:xfrm>
        </p:grpSpPr>
        <p:sp>
          <p:nvSpPr>
            <p:cNvPr id="6" name="Freeform: Shape 123"/>
            <p:cNvSpPr/>
            <p:nvPr/>
          </p:nvSpPr>
          <p:spPr>
            <a:xfrm rot="10800000">
              <a:off x="122174" y="4077043"/>
              <a:ext cx="10956296" cy="2780957"/>
            </a:xfrm>
            <a:custGeom>
              <a:avLst/>
              <a:gdLst>
                <a:gd name="connsiteX0" fmla="*/ 7111284 w 10956296"/>
                <a:gd name="connsiteY0" fmla="*/ 2780225 h 2780957"/>
                <a:gd name="connsiteX1" fmla="*/ 6489451 w 10956296"/>
                <a:gd name="connsiteY1" fmla="*/ 2540074 h 2780957"/>
                <a:gd name="connsiteX2" fmla="*/ 6153063 w 10956296"/>
                <a:gd name="connsiteY2" fmla="*/ 1402542 h 2780957"/>
                <a:gd name="connsiteX3" fmla="*/ 5307413 w 10956296"/>
                <a:gd name="connsiteY3" fmla="*/ 1009551 h 2780957"/>
                <a:gd name="connsiteX4" fmla="*/ 4399356 w 10956296"/>
                <a:gd name="connsiteY4" fmla="*/ 1489623 h 2780957"/>
                <a:gd name="connsiteX5" fmla="*/ 3696584 w 10956296"/>
                <a:gd name="connsiteY5" fmla="*/ 2214004 h 2780957"/>
                <a:gd name="connsiteX6" fmla="*/ 2911245 w 10956296"/>
                <a:gd name="connsiteY6" fmla="*/ 2607480 h 2780957"/>
                <a:gd name="connsiteX7" fmla="*/ 1014823 w 10956296"/>
                <a:gd name="connsiteY7" fmla="*/ 2249321 h 2780957"/>
                <a:gd name="connsiteX8" fmla="*/ 83867 w 10956296"/>
                <a:gd name="connsiteY8" fmla="*/ 649618 h 2780957"/>
                <a:gd name="connsiteX9" fmla="*/ 10936 w 10956296"/>
                <a:gd name="connsiteY9" fmla="*/ 108287 h 2780957"/>
                <a:gd name="connsiteX10" fmla="*/ 0 w 10956296"/>
                <a:gd name="connsiteY10" fmla="*/ 0 h 2780957"/>
                <a:gd name="connsiteX11" fmla="*/ 10956296 w 10956296"/>
                <a:gd name="connsiteY11" fmla="*/ 0 h 2780957"/>
                <a:gd name="connsiteX12" fmla="*/ 10918508 w 10956296"/>
                <a:gd name="connsiteY12" fmla="*/ 103248 h 2780957"/>
                <a:gd name="connsiteX13" fmla="*/ 10834935 w 10956296"/>
                <a:gd name="connsiteY13" fmla="*/ 249853 h 2780957"/>
                <a:gd name="connsiteX14" fmla="*/ 9812867 w 10956296"/>
                <a:gd name="connsiteY14" fmla="*/ 626236 h 2780957"/>
                <a:gd name="connsiteX15" fmla="*/ 8407804 w 10956296"/>
                <a:gd name="connsiteY15" fmla="*/ 260980 h 2780957"/>
                <a:gd name="connsiteX16" fmla="*/ 7950954 w 10956296"/>
                <a:gd name="connsiteY16" fmla="*/ 419178 h 2780957"/>
                <a:gd name="connsiteX17" fmla="*/ 7734059 w 10956296"/>
                <a:gd name="connsiteY17" fmla="*/ 944886 h 2780957"/>
                <a:gd name="connsiteX18" fmla="*/ 8012555 w 10956296"/>
                <a:gd name="connsiteY18" fmla="*/ 1566383 h 2780957"/>
                <a:gd name="connsiteX19" fmla="*/ 7999332 w 10956296"/>
                <a:gd name="connsiteY19" fmla="*/ 2293184 h 2780957"/>
                <a:gd name="connsiteX20" fmla="*/ 7334294 w 10956296"/>
                <a:gd name="connsiteY20" fmla="*/ 2764548 h 2780957"/>
                <a:gd name="connsiteX21" fmla="*/ 7111284 w 10956296"/>
                <a:gd name="connsiteY21" fmla="*/ 2780225 h 2780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956296" h="2780957">
                  <a:moveTo>
                    <a:pt x="7111284" y="2780225"/>
                  </a:moveTo>
                  <a:cubicBezTo>
                    <a:pt x="6884458" y="2771834"/>
                    <a:pt x="6653937" y="2691375"/>
                    <a:pt x="6489451" y="2540074"/>
                  </a:cubicBezTo>
                  <a:cubicBezTo>
                    <a:pt x="6152094" y="2229970"/>
                    <a:pt x="6327061" y="1778280"/>
                    <a:pt x="6153063" y="1402542"/>
                  </a:cubicBezTo>
                  <a:cubicBezTo>
                    <a:pt x="6005188" y="1083247"/>
                    <a:pt x="5637190" y="967945"/>
                    <a:pt x="5307413" y="1009551"/>
                  </a:cubicBezTo>
                  <a:cubicBezTo>
                    <a:pt x="4950705" y="1054543"/>
                    <a:pt x="4655116" y="1229510"/>
                    <a:pt x="4399356" y="1489623"/>
                  </a:cubicBezTo>
                  <a:cubicBezTo>
                    <a:pt x="4163592" y="1729417"/>
                    <a:pt x="3962341" y="2008881"/>
                    <a:pt x="3696584" y="2214004"/>
                  </a:cubicBezTo>
                  <a:cubicBezTo>
                    <a:pt x="3460981" y="2395906"/>
                    <a:pt x="3193289" y="2531043"/>
                    <a:pt x="2911245" y="2607480"/>
                  </a:cubicBezTo>
                  <a:cubicBezTo>
                    <a:pt x="2286845" y="2776481"/>
                    <a:pt x="1538918" y="2659728"/>
                    <a:pt x="1014823" y="2249321"/>
                  </a:cubicBezTo>
                  <a:cubicBezTo>
                    <a:pt x="529267" y="1869068"/>
                    <a:pt x="220937" y="1265633"/>
                    <a:pt x="83867" y="649618"/>
                  </a:cubicBezTo>
                  <a:cubicBezTo>
                    <a:pt x="75077" y="610190"/>
                    <a:pt x="38229" y="354310"/>
                    <a:pt x="10936" y="108287"/>
                  </a:cubicBezTo>
                  <a:lnTo>
                    <a:pt x="0" y="0"/>
                  </a:lnTo>
                  <a:lnTo>
                    <a:pt x="10956296" y="0"/>
                  </a:lnTo>
                  <a:lnTo>
                    <a:pt x="10918508" y="103248"/>
                  </a:lnTo>
                  <a:cubicBezTo>
                    <a:pt x="10896536" y="154589"/>
                    <a:pt x="10870412" y="203652"/>
                    <a:pt x="10834935" y="249853"/>
                  </a:cubicBezTo>
                  <a:cubicBezTo>
                    <a:pt x="10584820" y="575439"/>
                    <a:pt x="10197312" y="675742"/>
                    <a:pt x="9812867" y="626236"/>
                  </a:cubicBezTo>
                  <a:cubicBezTo>
                    <a:pt x="9323118" y="563022"/>
                    <a:pt x="8909809" y="234051"/>
                    <a:pt x="8407804" y="260980"/>
                  </a:cubicBezTo>
                  <a:cubicBezTo>
                    <a:pt x="8245416" y="269689"/>
                    <a:pt x="8081091" y="315648"/>
                    <a:pt x="7950954" y="419178"/>
                  </a:cubicBezTo>
                  <a:cubicBezTo>
                    <a:pt x="7796628" y="541896"/>
                    <a:pt x="7720029" y="742665"/>
                    <a:pt x="7734059" y="944886"/>
                  </a:cubicBezTo>
                  <a:cubicBezTo>
                    <a:pt x="7750024" y="1175166"/>
                    <a:pt x="7933216" y="1356905"/>
                    <a:pt x="8012555" y="1566383"/>
                  </a:cubicBezTo>
                  <a:cubicBezTo>
                    <a:pt x="8100119" y="1797631"/>
                    <a:pt x="8099637" y="2067904"/>
                    <a:pt x="7999332" y="2293184"/>
                  </a:cubicBezTo>
                  <a:cubicBezTo>
                    <a:pt x="7885321" y="2549426"/>
                    <a:pt x="7603761" y="2715041"/>
                    <a:pt x="7334294" y="2764548"/>
                  </a:cubicBezTo>
                  <a:cubicBezTo>
                    <a:pt x="7262090" y="2777812"/>
                    <a:pt x="7186892" y="2783022"/>
                    <a:pt x="7111284" y="2780225"/>
                  </a:cubicBezTo>
                  <a:close/>
                </a:path>
              </a:pathLst>
            </a:custGeom>
            <a:gradFill>
              <a:gsLst>
                <a:gs pos="0">
                  <a:schemeClr val="accent6"/>
                </a:gs>
                <a:gs pos="80000">
                  <a:schemeClr val="accent5">
                    <a:alpha val="5100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latin typeface="Calibri"/>
                <a:ea typeface="微软雅黑"/>
                <a:sym typeface="Calibri"/>
              </a:endParaRPr>
            </a:p>
          </p:txBody>
        </p:sp>
        <p:sp>
          <p:nvSpPr>
            <p:cNvPr id="7" name="Freeform: Shape 126"/>
            <p:cNvSpPr/>
            <p:nvPr/>
          </p:nvSpPr>
          <p:spPr>
            <a:xfrm rot="10800000">
              <a:off x="3770705" y="5050635"/>
              <a:ext cx="8341582" cy="1807365"/>
            </a:xfrm>
            <a:custGeom>
              <a:avLst/>
              <a:gdLst>
                <a:gd name="connsiteX0" fmla="*/ 1954888 w 8341582"/>
                <a:gd name="connsiteY0" fmla="*/ 1807362 h 1807365"/>
                <a:gd name="connsiteX1" fmla="*/ 830318 w 8341582"/>
                <a:gd name="connsiteY1" fmla="*/ 1483174 h 1807365"/>
                <a:gd name="connsiteX2" fmla="*/ 5773 w 8341582"/>
                <a:gd name="connsiteY2" fmla="*/ 69021 h 1807365"/>
                <a:gd name="connsiteX3" fmla="*/ 0 w 8341582"/>
                <a:gd name="connsiteY3" fmla="*/ 0 h 1807365"/>
                <a:gd name="connsiteX4" fmla="*/ 8341582 w 8341582"/>
                <a:gd name="connsiteY4" fmla="*/ 0 h 1807365"/>
                <a:gd name="connsiteX5" fmla="*/ 8254020 w 8341582"/>
                <a:gd name="connsiteY5" fmla="*/ 134445 h 1807365"/>
                <a:gd name="connsiteX6" fmla="*/ 7456506 w 8341582"/>
                <a:gd name="connsiteY6" fmla="*/ 857645 h 1807365"/>
                <a:gd name="connsiteX7" fmla="*/ 6196580 w 8341582"/>
                <a:gd name="connsiteY7" fmla="*/ 386925 h 1807365"/>
                <a:gd name="connsiteX8" fmla="*/ 3764289 w 8341582"/>
                <a:gd name="connsiteY8" fmla="*/ 1188390 h 1807365"/>
                <a:gd name="connsiteX9" fmla="*/ 1954888 w 8341582"/>
                <a:gd name="connsiteY9" fmla="*/ 1807362 h 18073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41582" h="1807365">
                  <a:moveTo>
                    <a:pt x="1954888" y="1807362"/>
                  </a:moveTo>
                  <a:cubicBezTo>
                    <a:pt x="1578954" y="1806665"/>
                    <a:pt x="1200532" y="1710854"/>
                    <a:pt x="830318" y="1483174"/>
                  </a:cubicBezTo>
                  <a:cubicBezTo>
                    <a:pt x="283161" y="1146583"/>
                    <a:pt x="75438" y="639551"/>
                    <a:pt x="5773" y="69021"/>
                  </a:cubicBezTo>
                  <a:lnTo>
                    <a:pt x="0" y="0"/>
                  </a:lnTo>
                  <a:lnTo>
                    <a:pt x="8341582" y="0"/>
                  </a:lnTo>
                  <a:lnTo>
                    <a:pt x="8254020" y="134445"/>
                  </a:lnTo>
                  <a:cubicBezTo>
                    <a:pt x="8053312" y="457467"/>
                    <a:pt x="7863125" y="814709"/>
                    <a:pt x="7456506" y="857645"/>
                  </a:cubicBezTo>
                  <a:cubicBezTo>
                    <a:pt x="6972241" y="908766"/>
                    <a:pt x="6638917" y="494486"/>
                    <a:pt x="6196580" y="386925"/>
                  </a:cubicBezTo>
                  <a:cubicBezTo>
                    <a:pt x="5279652" y="163903"/>
                    <a:pt x="4503828" y="719606"/>
                    <a:pt x="3764289" y="1188390"/>
                  </a:cubicBezTo>
                  <a:cubicBezTo>
                    <a:pt x="3201087" y="1545481"/>
                    <a:pt x="2581444" y="1808525"/>
                    <a:pt x="1954888" y="1807362"/>
                  </a:cubicBezTo>
                  <a:close/>
                </a:path>
              </a:pathLst>
            </a:custGeom>
            <a:gradFill flip="none" rotWithShape="1">
              <a:gsLst>
                <a:gs pos="0">
                  <a:schemeClr val="accent1">
                    <a:lumMod val="60000"/>
                    <a:lumOff val="40000"/>
                    <a:alpha val="0"/>
                  </a:schemeClr>
                </a:gs>
                <a:gs pos="80000">
                  <a:schemeClr val="accent1">
                    <a:alpha val="30000"/>
                  </a:schemeClr>
                </a:gs>
              </a:gsLst>
              <a:path path="circle">
                <a:fillToRect r="100000" b="100000"/>
              </a:path>
              <a:tileRect l="-100000" t="-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solidFill>
                  <a:schemeClr val="lt1"/>
                </a:solidFill>
                <a:latin typeface="Calibri"/>
                <a:ea typeface="微软雅黑"/>
                <a:sym typeface="Calibri"/>
              </a:endParaRPr>
            </a:p>
          </p:txBody>
        </p:sp>
      </p:grpSp>
      <p:pic>
        <p:nvPicPr>
          <p:cNvPr id="4" name="图片 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a:stretch>
            <a:fillRect/>
          </a:stretch>
        </p:blipFill>
        <p:spPr>
          <a:xfrm>
            <a:off x="5178840" y="125228"/>
            <a:ext cx="6607543" cy="6607543"/>
          </a:xfrm>
          <a:prstGeom prst="rect">
            <a:avLst/>
          </a:prstGeom>
        </p:spPr>
      </p:pic>
      <p:sp>
        <p:nvSpPr>
          <p:cNvPr id="8" name="TextBox 1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395903" y="3824671"/>
            <a:ext cx="4997466" cy="276422"/>
          </a:xfrm>
          <a:prstGeom prst="rect">
            <a:avLst/>
          </a:prstGeom>
          <a:ln w="12700">
            <a:miter lim="400000"/>
          </a:ln>
          <a:effectLst/>
        </p:spPr>
        <p:txBody>
          <a:bodyPr wrap="square" lIns="25400" tIns="25400" rIns="25400" bIns="25400">
            <a:spAutoFit/>
          </a:bodyPr>
          <a:lstStyle>
            <a:defPPr>
              <a:defRPr lang="zh-CN"/>
            </a:defPPr>
            <a:lvl1pPr algn="ctr">
              <a:lnSpc>
                <a:spcPct val="110000"/>
              </a:lnSpc>
              <a:defRPr sz="9600">
                <a:solidFill>
                  <a:schemeClr val="bg1"/>
                </a:solidFill>
                <a:effectLst>
                  <a:outerShdw blurRad="88900" dist="127000" dir="2700000" algn="tl">
                    <a:srgbClr val="000000">
                      <a:alpha val="35000"/>
                    </a:srgbClr>
                  </a:outerShdw>
                </a:effectLst>
                <a:latin typeface="Poppins SemiBold" panose="02000000000000000000"/>
                <a:ea typeface="Poppins SemiBold" panose="02000000000000000000"/>
                <a:cs typeface="Poppins SemiBold" panose="020000000000000000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a:r>
              <a:rPr lang="en-US" sz="1400" dirty="0">
                <a:solidFill>
                  <a:schemeClr val="tx1">
                    <a:lumMod val="75000"/>
                    <a:lumOff val="25000"/>
                  </a:schemeClr>
                </a:solidFill>
                <a:latin typeface="Calibri"/>
                <a:ea typeface="微软雅黑"/>
                <a:sym typeface="Calibri"/>
              </a:rPr>
              <a:t>Business Presentation  template.</a:t>
            </a:r>
          </a:p>
        </p:txBody>
      </p:sp>
      <p:sp>
        <p:nvSpPr>
          <p:cNvPr id="9" name="缺角矩形 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10" name="缺角矩形 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691024" y="4387605"/>
            <a:ext cx="576775" cy="576776"/>
          </a:xfrm>
          <a:prstGeom prst="plaque">
            <a:avLst>
              <a:gd name="adj" fmla="val 50000"/>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11" name="缺角矩形 1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772464" y="2372275"/>
            <a:ext cx="400093" cy="400094"/>
          </a:xfrm>
          <a:prstGeom prst="plaque">
            <a:avLst>
              <a:gd name="adj" fmla="val 50000"/>
            </a:avLst>
          </a:prstGeom>
          <a:solidFill>
            <a:srgbClr val="F7F797"/>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12" name="缺角矩形 1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13" name="缺角矩形 1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881529" y="5546662"/>
            <a:ext cx="400093" cy="400094"/>
          </a:xfrm>
          <a:prstGeom prst="plaque">
            <a:avLst>
              <a:gd name="adj" fmla="val 50000"/>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14" name="Rectangle: Rounded Corners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395903" y="4506419"/>
            <a:ext cx="1456010" cy="457962"/>
          </a:xfrm>
          <a:prstGeom prst="roundRect">
            <a:avLst>
              <a:gd name="adj" fmla="val 1424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alibri"/>
                <a:ea typeface="微软雅黑"/>
                <a:sym typeface="Calibri"/>
              </a:rPr>
              <a:t>Choose service</a:t>
            </a:r>
          </a:p>
        </p:txBody>
      </p:sp>
      <p:sp>
        <p:nvSpPr>
          <p:cNvPr id="15" name="Rectangle: Rounded Corners 4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281622" y="4506419"/>
            <a:ext cx="1531135" cy="457962"/>
          </a:xfrm>
          <a:prstGeom prst="roundRect">
            <a:avLst>
              <a:gd name="adj" fmla="val 14241"/>
            </a:avLst>
          </a:prstGeom>
          <a:solidFill>
            <a:schemeClr val="accent1">
              <a:alpha val="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1">
                    <a:lumMod val="75000"/>
                  </a:schemeClr>
                </a:solidFill>
                <a:latin typeface="Calibri"/>
                <a:ea typeface="微软雅黑"/>
                <a:sym typeface="Calibri"/>
              </a:rPr>
              <a:t>More info</a:t>
            </a:r>
          </a:p>
        </p:txBody>
      </p:sp>
      <p:sp>
        <p:nvSpPr>
          <p:cNvPr id="16" name="文本框 1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54579" y="2625794"/>
            <a:ext cx="6801728" cy="1323439"/>
          </a:xfrm>
          <a:prstGeom prst="rect">
            <a:avLst/>
          </a:prstGeom>
          <a:noFill/>
        </p:spPr>
        <p:txBody>
          <a:bodyPr wrap="square">
            <a:spAutoFit/>
          </a:bodyPr>
          <a:lstStyle/>
          <a:p>
            <a:r>
              <a:rPr lang="en-US" altLang="zh-CN" sz="8000" b="1" dirty="0">
                <a:solidFill>
                  <a:schemeClr val="tx1">
                    <a:lumMod val="75000"/>
                    <a:lumOff val="25000"/>
                  </a:schemeClr>
                </a:solidFill>
                <a:effectLst>
                  <a:outerShdw blurRad="88900" dist="127000" dir="2700000" algn="tl">
                    <a:srgbClr val="000000">
                      <a:alpha val="35000"/>
                    </a:srgbClr>
                  </a:outerShdw>
                </a:effectLst>
                <a:latin typeface="Calibri"/>
                <a:ea typeface="微软雅黑"/>
                <a:sym typeface="Calibri"/>
              </a:rPr>
              <a:t>PART THREE</a:t>
            </a:r>
            <a:endParaRPr lang="zh-CN" altLang="en-US" sz="8000" b="1" dirty="0">
              <a:solidFill>
                <a:schemeClr val="tx1">
                  <a:lumMod val="75000"/>
                  <a:lumOff val="25000"/>
                </a:schemeClr>
              </a:solidFill>
              <a:latin typeface="Calibri"/>
              <a:ea typeface="微软雅黑"/>
              <a:sym typeface="Calibri"/>
            </a:endParaRPr>
          </a:p>
        </p:txBody>
      </p:sp>
      <p:sp>
        <p:nvSpPr>
          <p:cNvPr id="17" name="矩形: 圆角 1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64942" y="154745"/>
            <a:ext cx="11662116" cy="534572"/>
          </a:xfrm>
          <a:prstGeom prst="roundRect">
            <a:avLst/>
          </a:prstGeom>
          <a:solidFill>
            <a:srgbClr val="F2E9DA">
              <a:alpha val="27059"/>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Calibri"/>
              <a:ea typeface="微软雅黑"/>
              <a:sym typeface="Calibri"/>
            </a:endParaRPr>
          </a:p>
        </p:txBody>
      </p:sp>
      <p:grpSp>
        <p:nvGrpSpPr>
          <p:cNvPr id="18" name="组合 1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384598" y="333328"/>
            <a:ext cx="5876040" cy="261610"/>
            <a:chOff x="6027473" y="260675"/>
            <a:chExt cx="5876040" cy="261610"/>
          </a:xfrm>
        </p:grpSpPr>
        <p:sp>
          <p:nvSpPr>
            <p:cNvPr id="19" name="TextBox 22"/>
            <p:cNvSpPr txBox="1"/>
            <p:nvPr/>
          </p:nvSpPr>
          <p:spPr>
            <a:xfrm>
              <a:off x="6027473" y="260675"/>
              <a:ext cx="578028"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ALL</a:t>
              </a:r>
            </a:p>
          </p:txBody>
        </p:sp>
        <p:sp>
          <p:nvSpPr>
            <p:cNvPr id="20" name="TextBox 29"/>
            <p:cNvSpPr txBox="1"/>
            <p:nvPr/>
          </p:nvSpPr>
          <p:spPr>
            <a:xfrm>
              <a:off x="6670009" y="260675"/>
              <a:ext cx="135789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WEB DESIGN</a:t>
              </a:r>
            </a:p>
          </p:txBody>
        </p:sp>
        <p:sp>
          <p:nvSpPr>
            <p:cNvPr id="21" name="TextBox 35"/>
            <p:cNvSpPr txBox="1"/>
            <p:nvPr/>
          </p:nvSpPr>
          <p:spPr>
            <a:xfrm>
              <a:off x="8093049" y="260675"/>
              <a:ext cx="114135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GRAPHICS</a:t>
              </a:r>
            </a:p>
          </p:txBody>
        </p:sp>
        <p:sp>
          <p:nvSpPr>
            <p:cNvPr id="22" name="TextBox 37"/>
            <p:cNvSpPr txBox="1"/>
            <p:nvPr/>
          </p:nvSpPr>
          <p:spPr>
            <a:xfrm>
              <a:off x="9298318" y="260675"/>
              <a:ext cx="95843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BRANDS</a:t>
              </a:r>
            </a:p>
          </p:txBody>
        </p:sp>
        <p:sp>
          <p:nvSpPr>
            <p:cNvPr id="23" name="TextBox 39"/>
            <p:cNvSpPr txBox="1"/>
            <p:nvPr/>
          </p:nvSpPr>
          <p:spPr>
            <a:xfrm>
              <a:off x="10299559" y="260675"/>
              <a:ext cx="160395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USER INTERFACE</a:t>
              </a:r>
            </a:p>
          </p:txBody>
        </p:sp>
      </p:grpSp>
      <p:sp>
        <p:nvSpPr>
          <p:cNvPr id="24" name="Freeform 6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a:spLocks noEditPoints="1"/>
          </p:cNvSpPr>
          <p:nvPr/>
        </p:nvSpPr>
        <p:spPr bwMode="auto">
          <a:xfrm>
            <a:off x="382441" y="6460951"/>
            <a:ext cx="137450" cy="135137"/>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tx1">
              <a:lumMod val="75000"/>
              <a:lumOff val="25000"/>
            </a:schemeClr>
          </a:solidFill>
          <a:ln>
            <a:noFill/>
          </a:ln>
        </p:spPr>
        <p:txBody>
          <a:bodyPr/>
          <a:lstStyle/>
          <a:p>
            <a:pPr algn="l"/>
            <a:endParaRPr lang="en-US" sz="1000" dirty="0">
              <a:solidFill>
                <a:schemeClr val="bg1"/>
              </a:solidFill>
              <a:latin typeface="Calibri"/>
              <a:ea typeface="微软雅黑"/>
              <a:sym typeface="Calibri"/>
            </a:endParaRPr>
          </a:p>
        </p:txBody>
      </p:sp>
      <p:sp>
        <p:nvSpPr>
          <p:cNvPr id="25" name="TextBox 4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57429" y="6401561"/>
            <a:ext cx="2529860" cy="246221"/>
          </a:xfrm>
          <a:prstGeom prst="rect">
            <a:avLst/>
          </a:prstGeom>
          <a:noFill/>
        </p:spPr>
        <p:txBody>
          <a:bodyPr wrap="none" rtlCol="0">
            <a:spAutoFit/>
          </a:bodyPr>
          <a:lstStyle/>
          <a:p>
            <a:pPr algn="l"/>
            <a:r>
              <a:rPr lang="en-US" sz="1000" spc="300" dirty="0">
                <a:solidFill>
                  <a:schemeClr val="tx1">
                    <a:lumMod val="75000"/>
                    <a:lumOff val="25000"/>
                  </a:schemeClr>
                </a:solidFill>
                <a:latin typeface="Calibri"/>
                <a:ea typeface="微软雅黑"/>
                <a:cs typeface="Segoe UI" panose="020B0502040204020203" pitchFamily="34" charset="0"/>
                <a:sym typeface="Calibri"/>
              </a:rPr>
              <a:t>https://www.freeppt7.com</a:t>
            </a:r>
            <a:endParaRPr lang="id-ID" sz="1000" spc="300" dirty="0">
              <a:solidFill>
                <a:schemeClr val="tx1">
                  <a:lumMod val="75000"/>
                  <a:lumOff val="25000"/>
                </a:schemeClr>
              </a:solidFill>
              <a:latin typeface="Calibri"/>
              <a:ea typeface="微软雅黑"/>
              <a:cs typeface="Segoe UI" panose="020B0502040204020203" pitchFamily="34" charset="0"/>
              <a:sym typeface="Calibri"/>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Rounded Corners 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9358744" y="3840051"/>
            <a:ext cx="2276637" cy="2318395"/>
          </a:xfrm>
          <a:prstGeom prst="roundRect">
            <a:avLst/>
          </a:prstGeom>
          <a:solidFill>
            <a:schemeClr val="bg1"/>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sp>
        <p:nvSpPr>
          <p:cNvPr id="27" name="Rectangle: Rounded Corners 1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888144" y="1359987"/>
            <a:ext cx="2276637" cy="2318395"/>
          </a:xfrm>
          <a:prstGeom prst="roundRect">
            <a:avLst/>
          </a:prstGeom>
          <a:solidFill>
            <a:schemeClr val="bg1"/>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sp>
        <p:nvSpPr>
          <p:cNvPr id="28" name="Rectangle: Rounded Corners 1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888144" y="3840051"/>
            <a:ext cx="2276637" cy="2318395"/>
          </a:xfrm>
          <a:prstGeom prst="roundRect">
            <a:avLst/>
          </a:prstGeom>
          <a:solidFill>
            <a:schemeClr val="bg1"/>
          </a:solidFill>
          <a:ln>
            <a:solidFill>
              <a:schemeClr val="bg1">
                <a:lumMod val="8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sp>
        <p:nvSpPr>
          <p:cNvPr id="29" name="Rectangle: Rounded Corners 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514525" y="200789"/>
            <a:ext cx="2276637" cy="2318395"/>
          </a:xfrm>
          <a:prstGeom prst="roundRect">
            <a:avLst/>
          </a:prstGeom>
          <a:gradFill>
            <a:gsLst>
              <a:gs pos="0">
                <a:schemeClr val="accent1"/>
              </a:gs>
              <a:gs pos="100000">
                <a:schemeClr val="accent1">
                  <a:lumMod val="75000"/>
                </a:schemeClr>
              </a:gs>
            </a:gsLst>
            <a:lin ang="16200000" scaled="1"/>
          </a:gradFill>
          <a:ln>
            <a:noFill/>
          </a:ln>
          <a:effectLst>
            <a:outerShdw blurRad="584200" dist="368300" dir="2700000" algn="tl" rotWithShape="0">
              <a:prstClr val="black">
                <a:alpha val="12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sp>
        <p:nvSpPr>
          <p:cNvPr id="42" name="TextBox 4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22531" y="1078653"/>
            <a:ext cx="2821133" cy="1323439"/>
          </a:xfrm>
          <a:prstGeom prst="rect">
            <a:avLst/>
          </a:prstGeom>
          <a:noFill/>
        </p:spPr>
        <p:txBody>
          <a:bodyPr wrap="square" rtlCol="0">
            <a:spAutoFit/>
          </a:bodyPr>
          <a:lstStyle>
            <a:defPPr>
              <a:defRPr lang="zh-CN"/>
            </a:defPPr>
            <a:lvl1pPr>
              <a:defRPr sz="4000" b="1">
                <a:solidFill>
                  <a:schemeClr val="tx1">
                    <a:lumMod val="85000"/>
                    <a:lumOff val="15000"/>
                  </a:schemeClr>
                </a:solidFill>
                <a:cs typeface="+mn-ea"/>
              </a:defRPr>
            </a:lvl1pPr>
          </a:lstStyle>
          <a:p>
            <a:r>
              <a:rPr lang="en-US" dirty="0">
                <a:latin typeface="Calibri"/>
                <a:ea typeface="微软雅黑"/>
                <a:sym typeface="Calibri"/>
              </a:rPr>
              <a:t>About our </a:t>
            </a:r>
          </a:p>
          <a:p>
            <a:r>
              <a:rPr lang="en-US" dirty="0">
                <a:latin typeface="Calibri"/>
                <a:ea typeface="微软雅黑"/>
                <a:sym typeface="Calibri"/>
              </a:rPr>
              <a:t>Mission</a:t>
            </a:r>
          </a:p>
        </p:txBody>
      </p:sp>
      <p:sp>
        <p:nvSpPr>
          <p:cNvPr id="65" name="Rectangle: Rounded Corners 6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5719797" y="4848737"/>
            <a:ext cx="838200" cy="838200"/>
          </a:xfrm>
          <a:prstGeom prst="roundRect">
            <a:avLst>
              <a:gd name="adj" fmla="val 50000"/>
            </a:avLst>
          </a:prstGeom>
          <a:gradFill>
            <a:gsLst>
              <a:gs pos="0">
                <a:srgbClr val="953CD8"/>
              </a:gs>
              <a:gs pos="100000">
                <a:srgbClr val="7A25B9"/>
              </a:gs>
            </a:gsLst>
            <a:lin ang="16200000" scaled="1"/>
          </a:gradFill>
          <a:ln>
            <a:noFill/>
          </a:ln>
          <a:effectLst>
            <a:outerShdw blurRad="127000" dist="76200" dir="2700000" algn="tl"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cxnSp>
        <p:nvCxnSpPr>
          <p:cNvPr id="67" name="Straight Arrow Connector 6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CxnSpPr/>
          <p:nvPr/>
        </p:nvCxnSpPr>
        <p:spPr>
          <a:xfrm>
            <a:off x="5999751" y="5267837"/>
            <a:ext cx="268121"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4" name="Rectangle: Rounded Corners 3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919890" y="584200"/>
            <a:ext cx="1493130" cy="345223"/>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a:ea typeface="微软雅黑"/>
              <a:sym typeface="Calibri"/>
            </a:endParaRPr>
          </a:p>
        </p:txBody>
      </p:sp>
      <p:sp>
        <p:nvSpPr>
          <p:cNvPr id="35" name="TextBox 3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4903095" y="633869"/>
            <a:ext cx="1526720" cy="261610"/>
          </a:xfrm>
          <a:prstGeom prst="rect">
            <a:avLst/>
          </a:prstGeom>
          <a:noFill/>
        </p:spPr>
        <p:txBody>
          <a:bodyPr wrap="square" rtlCol="0">
            <a:spAutoFit/>
          </a:bodyPr>
          <a:lstStyle/>
          <a:p>
            <a:pPr algn="ctr"/>
            <a:r>
              <a:rPr lang="en-US" sz="1100">
                <a:solidFill>
                  <a:schemeClr val="bg1"/>
                </a:solidFill>
                <a:latin typeface="Calibri"/>
                <a:ea typeface="微软雅黑"/>
                <a:cs typeface="Poppins Medium" panose="00000600000000000000" pitchFamily="2" charset="0"/>
                <a:sym typeface="Calibri"/>
              </a:rPr>
              <a:t>Mission</a:t>
            </a:r>
          </a:p>
        </p:txBody>
      </p:sp>
      <p:sp>
        <p:nvSpPr>
          <p:cNvPr id="37" name="TextBox 3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524655" y="2286226"/>
            <a:ext cx="1944814" cy="830997"/>
          </a:xfrm>
          <a:prstGeom prst="rect">
            <a:avLst/>
          </a:prstGeom>
          <a:noFill/>
        </p:spPr>
        <p:txBody>
          <a:bodyPr wrap="square" rtlCol="0">
            <a:spAutoFit/>
          </a:bodyPr>
          <a:lstStyle/>
          <a:p>
            <a:r>
              <a:rPr lang="en-US" sz="1600" b="0" i="0">
                <a:solidFill>
                  <a:srgbClr val="7A25B9"/>
                </a:solidFill>
                <a:effectLst/>
                <a:latin typeface="Calibri"/>
                <a:ea typeface="微软雅黑"/>
                <a:cs typeface="Poppins Medium" panose="00000600000000000000" pitchFamily="2" charset="0"/>
                <a:sym typeface="Calibri"/>
              </a:rPr>
              <a:t>To create a better </a:t>
            </a:r>
            <a:r>
              <a:rPr lang="en-US" sz="1600" b="0" i="0">
                <a:solidFill>
                  <a:schemeClr val="tx1">
                    <a:lumMod val="95000"/>
                    <a:lumOff val="5000"/>
                  </a:schemeClr>
                </a:solidFill>
                <a:effectLst/>
                <a:latin typeface="Calibri"/>
                <a:ea typeface="微软雅黑"/>
                <a:cs typeface="Poppins Medium" panose="00000600000000000000" pitchFamily="2" charset="0"/>
                <a:sym typeface="Calibri"/>
              </a:rPr>
              <a:t>everyday life for the many people.</a:t>
            </a:r>
            <a:endParaRPr lang="en-US" sz="1600">
              <a:solidFill>
                <a:schemeClr val="tx1">
                  <a:lumMod val="95000"/>
                  <a:lumOff val="5000"/>
                </a:schemeClr>
              </a:solidFill>
              <a:latin typeface="Calibri"/>
              <a:ea typeface="微软雅黑"/>
              <a:cs typeface="Poppins Medium" panose="00000600000000000000" pitchFamily="2" charset="0"/>
              <a:sym typeface="Calibri"/>
            </a:endParaRPr>
          </a:p>
        </p:txBody>
      </p:sp>
      <p:sp>
        <p:nvSpPr>
          <p:cNvPr id="43" name="Rectangle: Rounded Corners 4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7279897" y="4165749"/>
            <a:ext cx="1493130" cy="345223"/>
          </a:xfrm>
          <a:prstGeom prst="roundRect">
            <a:avLst>
              <a:gd name="adj" fmla="val 50000"/>
            </a:avLst>
          </a:prstGeom>
          <a:gradFill>
            <a:gsLst>
              <a:gs pos="0">
                <a:schemeClr val="accent1"/>
              </a:gs>
              <a:gs pos="100000">
                <a:schemeClr val="accent1">
                  <a:lumMod val="75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sp>
        <p:nvSpPr>
          <p:cNvPr id="44" name="TextBox 4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263102" y="4215418"/>
            <a:ext cx="1526720" cy="261610"/>
          </a:xfrm>
          <a:prstGeom prst="rect">
            <a:avLst/>
          </a:prstGeom>
          <a:noFill/>
        </p:spPr>
        <p:txBody>
          <a:bodyPr wrap="square" rtlCol="0">
            <a:spAutoFit/>
          </a:bodyPr>
          <a:lstStyle/>
          <a:p>
            <a:pPr algn="ctr"/>
            <a:r>
              <a:rPr lang="en-US" sz="1100">
                <a:solidFill>
                  <a:schemeClr val="bg1"/>
                </a:solidFill>
                <a:latin typeface="Calibri"/>
                <a:ea typeface="微软雅黑"/>
                <a:cs typeface="Poppins Medium" panose="00000600000000000000" pitchFamily="2" charset="0"/>
                <a:sym typeface="Calibri"/>
              </a:rPr>
              <a:t>Mission</a:t>
            </a:r>
          </a:p>
        </p:txBody>
      </p:sp>
      <p:sp>
        <p:nvSpPr>
          <p:cNvPr id="45" name="Rectangle: Rounded Corners 4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9750497" y="1641035"/>
            <a:ext cx="1493130" cy="345223"/>
          </a:xfrm>
          <a:prstGeom prst="roundRect">
            <a:avLst>
              <a:gd name="adj" fmla="val 50000"/>
            </a:avLst>
          </a:prstGeom>
          <a:gradFill>
            <a:gsLst>
              <a:gs pos="0">
                <a:schemeClr val="accent1">
                  <a:lumMod val="75000"/>
                </a:schemeClr>
              </a:gs>
              <a:gs pos="100000">
                <a:schemeClr val="accent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sp>
        <p:nvSpPr>
          <p:cNvPr id="46" name="TextBox 4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733702" y="1690704"/>
            <a:ext cx="1526720" cy="261610"/>
          </a:xfrm>
          <a:prstGeom prst="rect">
            <a:avLst/>
          </a:prstGeom>
          <a:noFill/>
        </p:spPr>
        <p:txBody>
          <a:bodyPr wrap="square" rtlCol="0">
            <a:spAutoFit/>
          </a:bodyPr>
          <a:lstStyle/>
          <a:p>
            <a:pPr algn="ctr"/>
            <a:r>
              <a:rPr lang="en-US" sz="1100">
                <a:solidFill>
                  <a:schemeClr val="bg1"/>
                </a:solidFill>
                <a:latin typeface="Calibri"/>
                <a:ea typeface="微软雅黑"/>
                <a:cs typeface="Poppins Medium" panose="00000600000000000000" pitchFamily="2" charset="0"/>
                <a:sym typeface="Calibri"/>
              </a:rPr>
              <a:t>Mission</a:t>
            </a:r>
          </a:p>
        </p:txBody>
      </p:sp>
      <p:sp>
        <p:nvSpPr>
          <p:cNvPr id="50" name="Rectangle: Rounded Corners 4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9750497" y="4193195"/>
            <a:ext cx="1493130" cy="345223"/>
          </a:xfrm>
          <a:prstGeom prst="roundRect">
            <a:avLst>
              <a:gd name="adj" fmla="val 50000"/>
            </a:avLst>
          </a:prstGeom>
          <a:gradFill>
            <a:gsLst>
              <a:gs pos="0">
                <a:schemeClr val="accent1"/>
              </a:gs>
              <a:gs pos="100000">
                <a:schemeClr val="accent1">
                  <a:lumMod val="75000"/>
                </a:schemeClr>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sp>
        <p:nvSpPr>
          <p:cNvPr id="52" name="TextBox 5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733702" y="4242864"/>
            <a:ext cx="1526720" cy="261610"/>
          </a:xfrm>
          <a:prstGeom prst="rect">
            <a:avLst/>
          </a:prstGeom>
          <a:noFill/>
        </p:spPr>
        <p:txBody>
          <a:bodyPr wrap="square" rtlCol="0">
            <a:spAutoFit/>
          </a:bodyPr>
          <a:lstStyle/>
          <a:p>
            <a:pPr algn="ctr"/>
            <a:r>
              <a:rPr lang="en-US" sz="1100">
                <a:solidFill>
                  <a:schemeClr val="bg1"/>
                </a:solidFill>
                <a:latin typeface="Calibri"/>
                <a:ea typeface="微软雅黑"/>
                <a:cs typeface="Poppins Medium" panose="00000600000000000000" pitchFamily="2" charset="0"/>
                <a:sym typeface="Calibri"/>
              </a:rPr>
              <a:t>Mission</a:t>
            </a:r>
          </a:p>
        </p:txBody>
      </p:sp>
      <p:sp>
        <p:nvSpPr>
          <p:cNvPr id="55" name="Rectangle: Rounded Corners 5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7279897" y="1690704"/>
            <a:ext cx="1493130" cy="345223"/>
          </a:xfrm>
          <a:prstGeom prst="roundRect">
            <a:avLst>
              <a:gd name="adj" fmla="val 50000"/>
            </a:avLst>
          </a:prstGeom>
          <a:gradFill>
            <a:gsLst>
              <a:gs pos="2000">
                <a:schemeClr val="accent1">
                  <a:lumMod val="75000"/>
                </a:schemeClr>
              </a:gs>
              <a:gs pos="100000">
                <a:schemeClr val="accent1"/>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sp>
        <p:nvSpPr>
          <p:cNvPr id="56" name="TextBox 5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263102" y="1740373"/>
            <a:ext cx="1526720" cy="261610"/>
          </a:xfrm>
          <a:prstGeom prst="rect">
            <a:avLst/>
          </a:prstGeom>
          <a:noFill/>
        </p:spPr>
        <p:txBody>
          <a:bodyPr wrap="square" rtlCol="0">
            <a:spAutoFit/>
          </a:bodyPr>
          <a:lstStyle/>
          <a:p>
            <a:pPr algn="ctr"/>
            <a:r>
              <a:rPr lang="en-US" sz="1100">
                <a:solidFill>
                  <a:schemeClr val="bg1"/>
                </a:solidFill>
                <a:latin typeface="Calibri"/>
                <a:ea typeface="微软雅黑"/>
                <a:cs typeface="Poppins Medium" panose="00000600000000000000" pitchFamily="2" charset="0"/>
                <a:sym typeface="Calibri"/>
              </a:rPr>
              <a:t>Mission</a:t>
            </a:r>
          </a:p>
        </p:txBody>
      </p:sp>
      <p:sp>
        <p:nvSpPr>
          <p:cNvPr id="40" name="Rectangle 6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7154262" y="2323159"/>
            <a:ext cx="1744400" cy="757130"/>
          </a:xfrm>
          <a:prstGeom prst="rect">
            <a:avLst/>
          </a:prstGeom>
        </p:spPr>
        <p:txBody>
          <a:bodyPr wrap="square">
            <a:spAutoFit/>
          </a:bodyPr>
          <a:lstStyle/>
          <a:p>
            <a:pPr algn="ctr">
              <a:lnSpc>
                <a:spcPct val="120000"/>
              </a:lnSpc>
            </a:pPr>
            <a:r>
              <a:rPr lang="en-US" sz="1200" dirty="0">
                <a:solidFill>
                  <a:schemeClr val="tx1">
                    <a:lumMod val="65000"/>
                    <a:lumOff val="35000"/>
                  </a:schemeClr>
                </a:solidFill>
                <a:latin typeface="Calibri"/>
                <a:ea typeface="微软雅黑"/>
                <a:cs typeface="Segoe UI Light" panose="020B0502040204020203" pitchFamily="34" charset="0"/>
                <a:sym typeface="Calibri"/>
              </a:rPr>
              <a:t>A wonderful serenity has taken possession of my entire soul</a:t>
            </a:r>
          </a:p>
        </p:txBody>
      </p:sp>
      <p:sp>
        <p:nvSpPr>
          <p:cNvPr id="41" name="Rectangle 6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7154262" y="4836670"/>
            <a:ext cx="1744400" cy="757130"/>
          </a:xfrm>
          <a:prstGeom prst="rect">
            <a:avLst/>
          </a:prstGeom>
        </p:spPr>
        <p:txBody>
          <a:bodyPr wrap="square">
            <a:spAutoFit/>
          </a:bodyPr>
          <a:lstStyle/>
          <a:p>
            <a:pPr algn="ctr">
              <a:lnSpc>
                <a:spcPct val="120000"/>
              </a:lnSpc>
            </a:pPr>
            <a:r>
              <a:rPr lang="en-US" sz="1200" dirty="0">
                <a:solidFill>
                  <a:schemeClr val="tx1">
                    <a:lumMod val="65000"/>
                    <a:lumOff val="35000"/>
                  </a:schemeClr>
                </a:solidFill>
                <a:latin typeface="Calibri"/>
                <a:ea typeface="微软雅黑"/>
                <a:cs typeface="Segoe UI Light" panose="020B0502040204020203" pitchFamily="34" charset="0"/>
                <a:sym typeface="Calibri"/>
              </a:rPr>
              <a:t>A wonderful serenity has taken possession of my entire soul</a:t>
            </a:r>
          </a:p>
        </p:txBody>
      </p:sp>
      <p:sp>
        <p:nvSpPr>
          <p:cNvPr id="47" name="Rectangle 6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9689882" y="4848737"/>
            <a:ext cx="1744400" cy="757130"/>
          </a:xfrm>
          <a:prstGeom prst="rect">
            <a:avLst/>
          </a:prstGeom>
        </p:spPr>
        <p:txBody>
          <a:bodyPr wrap="square">
            <a:spAutoFit/>
          </a:bodyPr>
          <a:lstStyle/>
          <a:p>
            <a:pPr algn="ctr">
              <a:lnSpc>
                <a:spcPct val="120000"/>
              </a:lnSpc>
            </a:pPr>
            <a:r>
              <a:rPr lang="en-US" sz="1200" dirty="0">
                <a:solidFill>
                  <a:schemeClr val="tx1">
                    <a:lumMod val="65000"/>
                    <a:lumOff val="35000"/>
                  </a:schemeClr>
                </a:solidFill>
                <a:latin typeface="Calibri"/>
                <a:ea typeface="微软雅黑"/>
                <a:cs typeface="Segoe UI Light" panose="020B0502040204020203" pitchFamily="34" charset="0"/>
                <a:sym typeface="Calibri"/>
              </a:rPr>
              <a:t>A wonderful serenity has taken possession of my entire soul</a:t>
            </a:r>
          </a:p>
        </p:txBody>
      </p:sp>
      <p:sp>
        <p:nvSpPr>
          <p:cNvPr id="48" name="Rectangle 6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773968" y="1211685"/>
            <a:ext cx="1744400" cy="757130"/>
          </a:xfrm>
          <a:prstGeom prst="rect">
            <a:avLst/>
          </a:prstGeom>
        </p:spPr>
        <p:txBody>
          <a:bodyPr wrap="square">
            <a:spAutoFit/>
          </a:bodyPr>
          <a:lstStyle/>
          <a:p>
            <a:pPr algn="ctr">
              <a:lnSpc>
                <a:spcPct val="120000"/>
              </a:lnSpc>
            </a:pPr>
            <a:r>
              <a:rPr lang="en-US" sz="1200" dirty="0">
                <a:solidFill>
                  <a:schemeClr val="bg1"/>
                </a:solidFill>
                <a:latin typeface="Calibri"/>
                <a:ea typeface="微软雅黑"/>
                <a:cs typeface="Segoe UI Light" panose="020B0502040204020203" pitchFamily="34" charset="0"/>
                <a:sym typeface="Calibri"/>
              </a:rPr>
              <a:t>A wonderful serenity has taken possession of my entire soul</a:t>
            </a:r>
          </a:p>
        </p:txBody>
      </p:sp>
      <p:grpSp>
        <p:nvGrpSpPr>
          <p:cNvPr id="57" name="Group 3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658813" y="3354119"/>
            <a:ext cx="4953771" cy="924969"/>
            <a:chOff x="5211421" y="8224094"/>
            <a:chExt cx="7244105" cy="1352620"/>
          </a:xfrm>
        </p:grpSpPr>
        <p:grpSp>
          <p:nvGrpSpPr>
            <p:cNvPr id="81" name="Group 39"/>
            <p:cNvGrpSpPr/>
            <p:nvPr/>
          </p:nvGrpSpPr>
          <p:grpSpPr>
            <a:xfrm>
              <a:off x="5211421" y="8224094"/>
              <a:ext cx="7244105" cy="1352620"/>
              <a:chOff x="2006641" y="2397540"/>
              <a:chExt cx="8599254" cy="1179975"/>
            </a:xfrm>
          </p:grpSpPr>
          <p:sp>
            <p:nvSpPr>
              <p:cNvPr id="86" name="Rectangle: Rounded Corners 42"/>
              <p:cNvSpPr/>
              <p:nvPr/>
            </p:nvSpPr>
            <p:spPr>
              <a:xfrm>
                <a:off x="2006641" y="2397544"/>
                <a:ext cx="8599254" cy="1179971"/>
              </a:xfrm>
              <a:prstGeom prst="roundRect">
                <a:avLst>
                  <a:gd name="adj" fmla="val 6269"/>
                </a:avLst>
              </a:prstGeom>
              <a:solidFill>
                <a:schemeClr val="bg1"/>
              </a:solidFill>
              <a:ln>
                <a:noFill/>
              </a:ln>
              <a:effectLst>
                <a:outerShdw blurRad="723900" sx="90000" sy="9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tx1"/>
                  </a:solidFill>
                  <a:latin typeface="Calibri"/>
                  <a:ea typeface="微软雅黑"/>
                  <a:sym typeface="Calibri"/>
                </a:endParaRPr>
              </a:p>
            </p:txBody>
          </p:sp>
          <p:grpSp>
            <p:nvGrpSpPr>
              <p:cNvPr id="87" name="Group 43"/>
              <p:cNvGrpSpPr/>
              <p:nvPr/>
            </p:nvGrpSpPr>
            <p:grpSpPr>
              <a:xfrm>
                <a:off x="2006641" y="2397540"/>
                <a:ext cx="8599254" cy="935242"/>
                <a:chOff x="1093904" y="3847347"/>
                <a:chExt cx="14402898" cy="1235211"/>
              </a:xfrm>
            </p:grpSpPr>
            <p:sp>
              <p:nvSpPr>
                <p:cNvPr id="88" name="Rectangle: Top Corners Rounded 44"/>
                <p:cNvSpPr/>
                <p:nvPr/>
              </p:nvSpPr>
              <p:spPr>
                <a:xfrm>
                  <a:off x="1093904" y="3847347"/>
                  <a:ext cx="14402898" cy="61311"/>
                </a:xfrm>
                <a:prstGeom prst="round2SameRect">
                  <a:avLst>
                    <a:gd name="adj1" fmla="val 50000"/>
                    <a:gd name="adj2" fmla="val 0"/>
                  </a:avLst>
                </a:prstGeom>
                <a:gradFill>
                  <a:gsLst>
                    <a:gs pos="0">
                      <a:schemeClr val="accent4">
                        <a:lumMod val="60000"/>
                        <a:lumOff val="40000"/>
                      </a:schemeClr>
                    </a:gs>
                    <a:gs pos="99000">
                      <a:schemeClr val="accent4"/>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400" dirty="0">
                    <a:solidFill>
                      <a:schemeClr val="tx1"/>
                    </a:solidFill>
                    <a:latin typeface="Calibri"/>
                    <a:ea typeface="微软雅黑"/>
                    <a:sym typeface="Calibri"/>
                  </a:endParaRPr>
                </a:p>
              </p:txBody>
            </p:sp>
            <p:sp>
              <p:nvSpPr>
                <p:cNvPr id="89" name="TextBox 45"/>
                <p:cNvSpPr txBox="1"/>
                <p:nvPr/>
              </p:nvSpPr>
              <p:spPr>
                <a:xfrm>
                  <a:off x="3384814" y="4676064"/>
                  <a:ext cx="11294506" cy="406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lnSpc>
                      <a:spcPct val="130000"/>
                    </a:lnSpc>
                  </a:pPr>
                  <a:r>
                    <a:rPr lang="en-US" sz="1200" dirty="0">
                      <a:solidFill>
                        <a:schemeClr val="tx1"/>
                      </a:solidFill>
                      <a:latin typeface="Calibri"/>
                      <a:ea typeface="微软雅黑"/>
                      <a:sym typeface="Calibri"/>
                    </a:rPr>
                    <a:t>The European languages are members of the same family. Their separate existence</a:t>
                  </a:r>
                </a:p>
              </p:txBody>
            </p:sp>
            <p:sp>
              <p:nvSpPr>
                <p:cNvPr id="90" name="TextBox 46"/>
                <p:cNvSpPr txBox="1"/>
                <p:nvPr/>
              </p:nvSpPr>
              <p:spPr>
                <a:xfrm>
                  <a:off x="3384814" y="4054451"/>
                  <a:ext cx="9432286" cy="406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lgn="l"/>
                  <a:r>
                    <a:rPr lang="en-US" sz="1200" dirty="0">
                      <a:solidFill>
                        <a:schemeClr val="tx1"/>
                      </a:solidFill>
                      <a:latin typeface="Calibri"/>
                      <a:ea typeface="微软雅黑"/>
                      <a:sym typeface="Calibri"/>
                    </a:rPr>
                    <a:t>Insert Your Amazing Statement Here</a:t>
                  </a:r>
                </a:p>
              </p:txBody>
            </p:sp>
          </p:grpSp>
        </p:grpSp>
        <p:grpSp>
          <p:nvGrpSpPr>
            <p:cNvPr id="82" name="Group 35"/>
            <p:cNvGrpSpPr/>
            <p:nvPr/>
          </p:nvGrpSpPr>
          <p:grpSpPr>
            <a:xfrm>
              <a:off x="5600297" y="8510575"/>
              <a:ext cx="485834" cy="485832"/>
              <a:chOff x="8332318" y="3422521"/>
              <a:chExt cx="485834" cy="485832"/>
            </a:xfrm>
          </p:grpSpPr>
          <p:sp>
            <p:nvSpPr>
              <p:cNvPr id="83" name="Oval 36"/>
              <p:cNvSpPr/>
              <p:nvPr/>
            </p:nvSpPr>
            <p:spPr>
              <a:xfrm>
                <a:off x="8332318" y="3422521"/>
                <a:ext cx="485834" cy="485832"/>
              </a:xfrm>
              <a:prstGeom prst="ellipse">
                <a:avLst/>
              </a:prstGeom>
              <a:solidFill>
                <a:schemeClr val="accent4">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a:ea typeface="微软雅黑"/>
                  <a:sym typeface="Calibri"/>
                </a:endParaRPr>
              </a:p>
            </p:txBody>
          </p:sp>
          <p:sp>
            <p:nvSpPr>
              <p:cNvPr id="84" name="Oval 37"/>
              <p:cNvSpPr/>
              <p:nvPr/>
            </p:nvSpPr>
            <p:spPr>
              <a:xfrm>
                <a:off x="8385361" y="3475564"/>
                <a:ext cx="379747" cy="37974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a:ea typeface="微软雅黑"/>
                  <a:sym typeface="Calibri"/>
                </a:endParaRPr>
              </a:p>
            </p:txBody>
          </p:sp>
          <p:sp>
            <p:nvSpPr>
              <p:cNvPr id="85" name="Freeform 229"/>
              <p:cNvSpPr/>
              <p:nvPr/>
            </p:nvSpPr>
            <p:spPr bwMode="auto">
              <a:xfrm>
                <a:off x="8504072" y="3616544"/>
                <a:ext cx="142328" cy="97786"/>
              </a:xfrm>
              <a:custGeom>
                <a:avLst/>
                <a:gdLst>
                  <a:gd name="T0" fmla="*/ 124 w 16128"/>
                  <a:gd name="T1" fmla="*/ 7223 h 11872"/>
                  <a:gd name="T2" fmla="*/ 59 w 16128"/>
                  <a:gd name="T3" fmla="*/ 7113 h 11872"/>
                  <a:gd name="T4" fmla="*/ 18 w 16128"/>
                  <a:gd name="T5" fmla="*/ 6994 h 11872"/>
                  <a:gd name="T6" fmla="*/ 1 w 16128"/>
                  <a:gd name="T7" fmla="*/ 6871 h 11872"/>
                  <a:gd name="T8" fmla="*/ 7 w 16128"/>
                  <a:gd name="T9" fmla="*/ 6747 h 11872"/>
                  <a:gd name="T10" fmla="*/ 36 w 16128"/>
                  <a:gd name="T11" fmla="*/ 6626 h 11872"/>
                  <a:gd name="T12" fmla="*/ 90 w 16128"/>
                  <a:gd name="T13" fmla="*/ 6512 h 11872"/>
                  <a:gd name="T14" fmla="*/ 165 w 16128"/>
                  <a:gd name="T15" fmla="*/ 6408 h 11872"/>
                  <a:gd name="T16" fmla="*/ 1850 w 16128"/>
                  <a:gd name="T17" fmla="*/ 4727 h 11872"/>
                  <a:gd name="T18" fmla="*/ 1957 w 16128"/>
                  <a:gd name="T19" fmla="*/ 4656 h 11872"/>
                  <a:gd name="T20" fmla="*/ 2073 w 16128"/>
                  <a:gd name="T21" fmla="*/ 4609 h 11872"/>
                  <a:gd name="T22" fmla="*/ 2195 w 16128"/>
                  <a:gd name="T23" fmla="*/ 4586 h 11872"/>
                  <a:gd name="T24" fmla="*/ 2319 w 16128"/>
                  <a:gd name="T25" fmla="*/ 4586 h 11872"/>
                  <a:gd name="T26" fmla="*/ 2441 w 16128"/>
                  <a:gd name="T27" fmla="*/ 4609 h 11872"/>
                  <a:gd name="T28" fmla="*/ 2558 w 16128"/>
                  <a:gd name="T29" fmla="*/ 4656 h 11872"/>
                  <a:gd name="T30" fmla="*/ 2665 w 16128"/>
                  <a:gd name="T31" fmla="*/ 4727 h 11872"/>
                  <a:gd name="T32" fmla="*/ 5357 w 16128"/>
                  <a:gd name="T33" fmla="*/ 7406 h 11872"/>
                  <a:gd name="T34" fmla="*/ 5460 w 16128"/>
                  <a:gd name="T35" fmla="*/ 7483 h 11872"/>
                  <a:gd name="T36" fmla="*/ 5575 w 16128"/>
                  <a:gd name="T37" fmla="*/ 7535 h 11872"/>
                  <a:gd name="T38" fmla="*/ 5696 w 16128"/>
                  <a:gd name="T39" fmla="*/ 7565 h 11872"/>
                  <a:gd name="T40" fmla="*/ 5819 w 16128"/>
                  <a:gd name="T41" fmla="*/ 7571 h 11872"/>
                  <a:gd name="T42" fmla="*/ 5942 w 16128"/>
                  <a:gd name="T43" fmla="*/ 7552 h 11872"/>
                  <a:gd name="T44" fmla="*/ 6060 w 16128"/>
                  <a:gd name="T45" fmla="*/ 7512 h 11872"/>
                  <a:gd name="T46" fmla="*/ 6170 w 16128"/>
                  <a:gd name="T47" fmla="*/ 7447 h 11872"/>
                  <a:gd name="T48" fmla="*/ 13421 w 16128"/>
                  <a:gd name="T49" fmla="*/ 190 h 11872"/>
                  <a:gd name="T50" fmla="*/ 13521 w 16128"/>
                  <a:gd name="T51" fmla="*/ 107 h 11872"/>
                  <a:gd name="T52" fmla="*/ 13634 w 16128"/>
                  <a:gd name="T53" fmla="*/ 47 h 11872"/>
                  <a:gd name="T54" fmla="*/ 13753 w 16128"/>
                  <a:gd name="T55" fmla="*/ 12 h 11872"/>
                  <a:gd name="T56" fmla="*/ 13877 w 16128"/>
                  <a:gd name="T57" fmla="*/ 0 h 11872"/>
                  <a:gd name="T58" fmla="*/ 14000 w 16128"/>
                  <a:gd name="T59" fmla="*/ 11 h 11872"/>
                  <a:gd name="T60" fmla="*/ 14120 w 16128"/>
                  <a:gd name="T61" fmla="*/ 46 h 11872"/>
                  <a:gd name="T62" fmla="*/ 14233 w 16128"/>
                  <a:gd name="T63" fmla="*/ 105 h 11872"/>
                  <a:gd name="T64" fmla="*/ 14334 w 16128"/>
                  <a:gd name="T65" fmla="*/ 186 h 11872"/>
                  <a:gd name="T66" fmla="*/ 16003 w 16128"/>
                  <a:gd name="T67" fmla="*/ 1855 h 11872"/>
                  <a:gd name="T68" fmla="*/ 16068 w 16128"/>
                  <a:gd name="T69" fmla="*/ 1964 h 11872"/>
                  <a:gd name="T70" fmla="*/ 16109 w 16128"/>
                  <a:gd name="T71" fmla="*/ 2082 h 11872"/>
                  <a:gd name="T72" fmla="*/ 16127 w 16128"/>
                  <a:gd name="T73" fmla="*/ 2205 h 11872"/>
                  <a:gd name="T74" fmla="*/ 16122 w 16128"/>
                  <a:gd name="T75" fmla="*/ 2328 h 11872"/>
                  <a:gd name="T76" fmla="*/ 16093 w 16128"/>
                  <a:gd name="T77" fmla="*/ 2449 h 11872"/>
                  <a:gd name="T78" fmla="*/ 16039 w 16128"/>
                  <a:gd name="T79" fmla="*/ 2564 h 11872"/>
                  <a:gd name="T80" fmla="*/ 15964 w 16128"/>
                  <a:gd name="T81" fmla="*/ 2667 h 11872"/>
                  <a:gd name="T82" fmla="*/ 7188 w 16128"/>
                  <a:gd name="T83" fmla="*/ 11462 h 11872"/>
                  <a:gd name="T84" fmla="*/ 7074 w 16128"/>
                  <a:gd name="T85" fmla="*/ 11550 h 11872"/>
                  <a:gd name="T86" fmla="*/ 6943 w 16128"/>
                  <a:gd name="T87" fmla="*/ 11632 h 11872"/>
                  <a:gd name="T88" fmla="*/ 6801 w 16128"/>
                  <a:gd name="T89" fmla="*/ 11706 h 11872"/>
                  <a:gd name="T90" fmla="*/ 6652 w 16128"/>
                  <a:gd name="T91" fmla="*/ 11767 h 11872"/>
                  <a:gd name="T92" fmla="*/ 6500 w 16128"/>
                  <a:gd name="T93" fmla="*/ 11817 h 11872"/>
                  <a:gd name="T94" fmla="*/ 6349 w 16128"/>
                  <a:gd name="T95" fmla="*/ 11852 h 11872"/>
                  <a:gd name="T96" fmla="*/ 6205 w 16128"/>
                  <a:gd name="T97" fmla="*/ 11870 h 11872"/>
                  <a:gd name="T98" fmla="*/ 5352 w 16128"/>
                  <a:gd name="T99" fmla="*/ 11871 h 11872"/>
                  <a:gd name="T100" fmla="*/ 5210 w 16128"/>
                  <a:gd name="T101" fmla="*/ 11858 h 11872"/>
                  <a:gd name="T102" fmla="*/ 5062 w 16128"/>
                  <a:gd name="T103" fmla="*/ 11827 h 11872"/>
                  <a:gd name="T104" fmla="*/ 4910 w 16128"/>
                  <a:gd name="T105" fmla="*/ 11780 h 11872"/>
                  <a:gd name="T106" fmla="*/ 4760 w 16128"/>
                  <a:gd name="T107" fmla="*/ 11722 h 11872"/>
                  <a:gd name="T108" fmla="*/ 4615 w 16128"/>
                  <a:gd name="T109" fmla="*/ 11651 h 11872"/>
                  <a:gd name="T110" fmla="*/ 4481 w 16128"/>
                  <a:gd name="T111" fmla="*/ 11572 h 11872"/>
                  <a:gd name="T112" fmla="*/ 4363 w 16128"/>
                  <a:gd name="T113" fmla="*/ 11484 h 11872"/>
                  <a:gd name="T114" fmla="*/ 187 w 16128"/>
                  <a:gd name="T115" fmla="*/ 7297 h 1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28" h="11872">
                    <a:moveTo>
                      <a:pt x="187" y="7297"/>
                    </a:moveTo>
                    <a:lnTo>
                      <a:pt x="164" y="7273"/>
                    </a:lnTo>
                    <a:lnTo>
                      <a:pt x="143" y="7248"/>
                    </a:lnTo>
                    <a:lnTo>
                      <a:pt x="124" y="7223"/>
                    </a:lnTo>
                    <a:lnTo>
                      <a:pt x="106" y="7196"/>
                    </a:lnTo>
                    <a:lnTo>
                      <a:pt x="89" y="7168"/>
                    </a:lnTo>
                    <a:lnTo>
                      <a:pt x="74" y="7141"/>
                    </a:lnTo>
                    <a:lnTo>
                      <a:pt x="59" y="7113"/>
                    </a:lnTo>
                    <a:lnTo>
                      <a:pt x="46" y="7084"/>
                    </a:lnTo>
                    <a:lnTo>
                      <a:pt x="35" y="7054"/>
                    </a:lnTo>
                    <a:lnTo>
                      <a:pt x="26" y="7024"/>
                    </a:lnTo>
                    <a:lnTo>
                      <a:pt x="18" y="6994"/>
                    </a:lnTo>
                    <a:lnTo>
                      <a:pt x="12" y="6964"/>
                    </a:lnTo>
                    <a:lnTo>
                      <a:pt x="6" y="6933"/>
                    </a:lnTo>
                    <a:lnTo>
                      <a:pt x="3" y="6902"/>
                    </a:lnTo>
                    <a:lnTo>
                      <a:pt x="1" y="6871"/>
                    </a:lnTo>
                    <a:lnTo>
                      <a:pt x="0" y="6841"/>
                    </a:lnTo>
                    <a:lnTo>
                      <a:pt x="1" y="6809"/>
                    </a:lnTo>
                    <a:lnTo>
                      <a:pt x="3" y="6778"/>
                    </a:lnTo>
                    <a:lnTo>
                      <a:pt x="7" y="6747"/>
                    </a:lnTo>
                    <a:lnTo>
                      <a:pt x="12" y="6717"/>
                    </a:lnTo>
                    <a:lnTo>
                      <a:pt x="18" y="6687"/>
                    </a:lnTo>
                    <a:lnTo>
                      <a:pt x="26" y="6656"/>
                    </a:lnTo>
                    <a:lnTo>
                      <a:pt x="36" y="6626"/>
                    </a:lnTo>
                    <a:lnTo>
                      <a:pt x="47" y="6597"/>
                    </a:lnTo>
                    <a:lnTo>
                      <a:pt x="59" y="6569"/>
                    </a:lnTo>
                    <a:lnTo>
                      <a:pt x="74" y="6539"/>
                    </a:lnTo>
                    <a:lnTo>
                      <a:pt x="90" y="6512"/>
                    </a:lnTo>
                    <a:lnTo>
                      <a:pt x="106" y="6485"/>
                    </a:lnTo>
                    <a:lnTo>
                      <a:pt x="125" y="6459"/>
                    </a:lnTo>
                    <a:lnTo>
                      <a:pt x="144" y="6432"/>
                    </a:lnTo>
                    <a:lnTo>
                      <a:pt x="165" y="6408"/>
                    </a:lnTo>
                    <a:lnTo>
                      <a:pt x="188" y="6384"/>
                    </a:lnTo>
                    <a:lnTo>
                      <a:pt x="1801" y="4771"/>
                    </a:lnTo>
                    <a:lnTo>
                      <a:pt x="1824" y="4748"/>
                    </a:lnTo>
                    <a:lnTo>
                      <a:pt x="1850" y="4727"/>
                    </a:lnTo>
                    <a:lnTo>
                      <a:pt x="1876" y="4707"/>
                    </a:lnTo>
                    <a:lnTo>
                      <a:pt x="1902" y="4689"/>
                    </a:lnTo>
                    <a:lnTo>
                      <a:pt x="1929" y="4671"/>
                    </a:lnTo>
                    <a:lnTo>
                      <a:pt x="1957" y="4656"/>
                    </a:lnTo>
                    <a:lnTo>
                      <a:pt x="1985" y="4642"/>
                    </a:lnTo>
                    <a:lnTo>
                      <a:pt x="2014" y="4630"/>
                    </a:lnTo>
                    <a:lnTo>
                      <a:pt x="2043" y="4619"/>
                    </a:lnTo>
                    <a:lnTo>
                      <a:pt x="2073" y="4609"/>
                    </a:lnTo>
                    <a:lnTo>
                      <a:pt x="2104" y="4601"/>
                    </a:lnTo>
                    <a:lnTo>
                      <a:pt x="2134" y="4595"/>
                    </a:lnTo>
                    <a:lnTo>
                      <a:pt x="2164" y="4590"/>
                    </a:lnTo>
                    <a:lnTo>
                      <a:pt x="2195" y="4586"/>
                    </a:lnTo>
                    <a:lnTo>
                      <a:pt x="2227" y="4584"/>
                    </a:lnTo>
                    <a:lnTo>
                      <a:pt x="2257" y="4583"/>
                    </a:lnTo>
                    <a:lnTo>
                      <a:pt x="2288" y="4584"/>
                    </a:lnTo>
                    <a:lnTo>
                      <a:pt x="2319" y="4586"/>
                    </a:lnTo>
                    <a:lnTo>
                      <a:pt x="2350" y="4590"/>
                    </a:lnTo>
                    <a:lnTo>
                      <a:pt x="2381" y="4595"/>
                    </a:lnTo>
                    <a:lnTo>
                      <a:pt x="2411" y="4601"/>
                    </a:lnTo>
                    <a:lnTo>
                      <a:pt x="2441" y="4609"/>
                    </a:lnTo>
                    <a:lnTo>
                      <a:pt x="2472" y="4619"/>
                    </a:lnTo>
                    <a:lnTo>
                      <a:pt x="2501" y="4630"/>
                    </a:lnTo>
                    <a:lnTo>
                      <a:pt x="2529" y="4642"/>
                    </a:lnTo>
                    <a:lnTo>
                      <a:pt x="2558" y="4656"/>
                    </a:lnTo>
                    <a:lnTo>
                      <a:pt x="2586" y="4671"/>
                    </a:lnTo>
                    <a:lnTo>
                      <a:pt x="2613" y="4689"/>
                    </a:lnTo>
                    <a:lnTo>
                      <a:pt x="2639" y="4707"/>
                    </a:lnTo>
                    <a:lnTo>
                      <a:pt x="2665" y="4727"/>
                    </a:lnTo>
                    <a:lnTo>
                      <a:pt x="2689" y="4748"/>
                    </a:lnTo>
                    <a:lnTo>
                      <a:pt x="2714" y="4770"/>
                    </a:lnTo>
                    <a:lnTo>
                      <a:pt x="5332" y="7384"/>
                    </a:lnTo>
                    <a:lnTo>
                      <a:pt x="5357" y="7406"/>
                    </a:lnTo>
                    <a:lnTo>
                      <a:pt x="5382" y="7427"/>
                    </a:lnTo>
                    <a:lnTo>
                      <a:pt x="5407" y="7448"/>
                    </a:lnTo>
                    <a:lnTo>
                      <a:pt x="5433" y="7466"/>
                    </a:lnTo>
                    <a:lnTo>
                      <a:pt x="5460" y="7483"/>
                    </a:lnTo>
                    <a:lnTo>
                      <a:pt x="5489" y="7498"/>
                    </a:lnTo>
                    <a:lnTo>
                      <a:pt x="5517" y="7512"/>
                    </a:lnTo>
                    <a:lnTo>
                      <a:pt x="5546" y="7524"/>
                    </a:lnTo>
                    <a:lnTo>
                      <a:pt x="5575" y="7535"/>
                    </a:lnTo>
                    <a:lnTo>
                      <a:pt x="5604" y="7545"/>
                    </a:lnTo>
                    <a:lnTo>
                      <a:pt x="5635" y="7553"/>
                    </a:lnTo>
                    <a:lnTo>
                      <a:pt x="5665" y="7559"/>
                    </a:lnTo>
                    <a:lnTo>
                      <a:pt x="5696" y="7565"/>
                    </a:lnTo>
                    <a:lnTo>
                      <a:pt x="5726" y="7569"/>
                    </a:lnTo>
                    <a:lnTo>
                      <a:pt x="5758" y="7571"/>
                    </a:lnTo>
                    <a:lnTo>
                      <a:pt x="5789" y="7572"/>
                    </a:lnTo>
                    <a:lnTo>
                      <a:pt x="5819" y="7571"/>
                    </a:lnTo>
                    <a:lnTo>
                      <a:pt x="5850" y="7569"/>
                    </a:lnTo>
                    <a:lnTo>
                      <a:pt x="5882" y="7565"/>
                    </a:lnTo>
                    <a:lnTo>
                      <a:pt x="5912" y="7559"/>
                    </a:lnTo>
                    <a:lnTo>
                      <a:pt x="5942" y="7552"/>
                    </a:lnTo>
                    <a:lnTo>
                      <a:pt x="5972" y="7544"/>
                    </a:lnTo>
                    <a:lnTo>
                      <a:pt x="6003" y="7535"/>
                    </a:lnTo>
                    <a:lnTo>
                      <a:pt x="6032" y="7524"/>
                    </a:lnTo>
                    <a:lnTo>
                      <a:pt x="6060" y="7512"/>
                    </a:lnTo>
                    <a:lnTo>
                      <a:pt x="6089" y="7498"/>
                    </a:lnTo>
                    <a:lnTo>
                      <a:pt x="6117" y="7482"/>
                    </a:lnTo>
                    <a:lnTo>
                      <a:pt x="6144" y="7465"/>
                    </a:lnTo>
                    <a:lnTo>
                      <a:pt x="6170" y="7447"/>
                    </a:lnTo>
                    <a:lnTo>
                      <a:pt x="6196" y="7426"/>
                    </a:lnTo>
                    <a:lnTo>
                      <a:pt x="6220" y="7405"/>
                    </a:lnTo>
                    <a:lnTo>
                      <a:pt x="6245" y="7383"/>
                    </a:lnTo>
                    <a:lnTo>
                      <a:pt x="13421" y="190"/>
                    </a:lnTo>
                    <a:lnTo>
                      <a:pt x="13445" y="166"/>
                    </a:lnTo>
                    <a:lnTo>
                      <a:pt x="13470" y="145"/>
                    </a:lnTo>
                    <a:lnTo>
                      <a:pt x="13495" y="125"/>
                    </a:lnTo>
                    <a:lnTo>
                      <a:pt x="13521" y="107"/>
                    </a:lnTo>
                    <a:lnTo>
                      <a:pt x="13549" y="90"/>
                    </a:lnTo>
                    <a:lnTo>
                      <a:pt x="13577" y="75"/>
                    </a:lnTo>
                    <a:lnTo>
                      <a:pt x="13605" y="60"/>
                    </a:lnTo>
                    <a:lnTo>
                      <a:pt x="13634" y="47"/>
                    </a:lnTo>
                    <a:lnTo>
                      <a:pt x="13663" y="36"/>
                    </a:lnTo>
                    <a:lnTo>
                      <a:pt x="13693" y="27"/>
                    </a:lnTo>
                    <a:lnTo>
                      <a:pt x="13723" y="19"/>
                    </a:lnTo>
                    <a:lnTo>
                      <a:pt x="13753" y="12"/>
                    </a:lnTo>
                    <a:lnTo>
                      <a:pt x="13784" y="7"/>
                    </a:lnTo>
                    <a:lnTo>
                      <a:pt x="13815" y="3"/>
                    </a:lnTo>
                    <a:lnTo>
                      <a:pt x="13846" y="1"/>
                    </a:lnTo>
                    <a:lnTo>
                      <a:pt x="13877" y="0"/>
                    </a:lnTo>
                    <a:lnTo>
                      <a:pt x="13908" y="1"/>
                    </a:lnTo>
                    <a:lnTo>
                      <a:pt x="13939" y="3"/>
                    </a:lnTo>
                    <a:lnTo>
                      <a:pt x="13970" y="6"/>
                    </a:lnTo>
                    <a:lnTo>
                      <a:pt x="14000" y="11"/>
                    </a:lnTo>
                    <a:lnTo>
                      <a:pt x="14031" y="18"/>
                    </a:lnTo>
                    <a:lnTo>
                      <a:pt x="14062" y="26"/>
                    </a:lnTo>
                    <a:lnTo>
                      <a:pt x="14091" y="35"/>
                    </a:lnTo>
                    <a:lnTo>
                      <a:pt x="14120" y="46"/>
                    </a:lnTo>
                    <a:lnTo>
                      <a:pt x="14149" y="58"/>
                    </a:lnTo>
                    <a:lnTo>
                      <a:pt x="14178" y="73"/>
                    </a:lnTo>
                    <a:lnTo>
                      <a:pt x="14206" y="88"/>
                    </a:lnTo>
                    <a:lnTo>
                      <a:pt x="14233" y="105"/>
                    </a:lnTo>
                    <a:lnTo>
                      <a:pt x="14259" y="123"/>
                    </a:lnTo>
                    <a:lnTo>
                      <a:pt x="14285" y="143"/>
                    </a:lnTo>
                    <a:lnTo>
                      <a:pt x="14310" y="164"/>
                    </a:lnTo>
                    <a:lnTo>
                      <a:pt x="14334" y="186"/>
                    </a:lnTo>
                    <a:lnTo>
                      <a:pt x="15938" y="1780"/>
                    </a:lnTo>
                    <a:lnTo>
                      <a:pt x="15962" y="1804"/>
                    </a:lnTo>
                    <a:lnTo>
                      <a:pt x="15983" y="1829"/>
                    </a:lnTo>
                    <a:lnTo>
                      <a:pt x="16003" y="1855"/>
                    </a:lnTo>
                    <a:lnTo>
                      <a:pt x="16021" y="1881"/>
                    </a:lnTo>
                    <a:lnTo>
                      <a:pt x="16038" y="1908"/>
                    </a:lnTo>
                    <a:lnTo>
                      <a:pt x="16053" y="1935"/>
                    </a:lnTo>
                    <a:lnTo>
                      <a:pt x="16068" y="1964"/>
                    </a:lnTo>
                    <a:lnTo>
                      <a:pt x="16081" y="1993"/>
                    </a:lnTo>
                    <a:lnTo>
                      <a:pt x="16092" y="2022"/>
                    </a:lnTo>
                    <a:lnTo>
                      <a:pt x="16101" y="2051"/>
                    </a:lnTo>
                    <a:lnTo>
                      <a:pt x="16109" y="2082"/>
                    </a:lnTo>
                    <a:lnTo>
                      <a:pt x="16116" y="2112"/>
                    </a:lnTo>
                    <a:lnTo>
                      <a:pt x="16121" y="2143"/>
                    </a:lnTo>
                    <a:lnTo>
                      <a:pt x="16125" y="2173"/>
                    </a:lnTo>
                    <a:lnTo>
                      <a:pt x="16127" y="2205"/>
                    </a:lnTo>
                    <a:lnTo>
                      <a:pt x="16128" y="2236"/>
                    </a:lnTo>
                    <a:lnTo>
                      <a:pt x="16127" y="2266"/>
                    </a:lnTo>
                    <a:lnTo>
                      <a:pt x="16125" y="2297"/>
                    </a:lnTo>
                    <a:lnTo>
                      <a:pt x="16122" y="2328"/>
                    </a:lnTo>
                    <a:lnTo>
                      <a:pt x="16117" y="2359"/>
                    </a:lnTo>
                    <a:lnTo>
                      <a:pt x="16110" y="2389"/>
                    </a:lnTo>
                    <a:lnTo>
                      <a:pt x="16102" y="2419"/>
                    </a:lnTo>
                    <a:lnTo>
                      <a:pt x="16093" y="2449"/>
                    </a:lnTo>
                    <a:lnTo>
                      <a:pt x="16082" y="2478"/>
                    </a:lnTo>
                    <a:lnTo>
                      <a:pt x="16069" y="2507"/>
                    </a:lnTo>
                    <a:lnTo>
                      <a:pt x="16055" y="2535"/>
                    </a:lnTo>
                    <a:lnTo>
                      <a:pt x="16039" y="2564"/>
                    </a:lnTo>
                    <a:lnTo>
                      <a:pt x="16023" y="2591"/>
                    </a:lnTo>
                    <a:lnTo>
                      <a:pt x="16004" y="2617"/>
                    </a:lnTo>
                    <a:lnTo>
                      <a:pt x="15985" y="2642"/>
                    </a:lnTo>
                    <a:lnTo>
                      <a:pt x="15964" y="2667"/>
                    </a:lnTo>
                    <a:lnTo>
                      <a:pt x="15941" y="2692"/>
                    </a:lnTo>
                    <a:lnTo>
                      <a:pt x="7238" y="11415"/>
                    </a:lnTo>
                    <a:lnTo>
                      <a:pt x="7214" y="11439"/>
                    </a:lnTo>
                    <a:lnTo>
                      <a:pt x="7188" y="11462"/>
                    </a:lnTo>
                    <a:lnTo>
                      <a:pt x="7162" y="11485"/>
                    </a:lnTo>
                    <a:lnTo>
                      <a:pt x="7134" y="11507"/>
                    </a:lnTo>
                    <a:lnTo>
                      <a:pt x="7104" y="11529"/>
                    </a:lnTo>
                    <a:lnTo>
                      <a:pt x="7074" y="11550"/>
                    </a:lnTo>
                    <a:lnTo>
                      <a:pt x="7043" y="11572"/>
                    </a:lnTo>
                    <a:lnTo>
                      <a:pt x="7011" y="11593"/>
                    </a:lnTo>
                    <a:lnTo>
                      <a:pt x="6977" y="11613"/>
                    </a:lnTo>
                    <a:lnTo>
                      <a:pt x="6943" y="11632"/>
                    </a:lnTo>
                    <a:lnTo>
                      <a:pt x="6909" y="11651"/>
                    </a:lnTo>
                    <a:lnTo>
                      <a:pt x="6874" y="11670"/>
                    </a:lnTo>
                    <a:lnTo>
                      <a:pt x="6837" y="11688"/>
                    </a:lnTo>
                    <a:lnTo>
                      <a:pt x="6801" y="11706"/>
                    </a:lnTo>
                    <a:lnTo>
                      <a:pt x="6765" y="11722"/>
                    </a:lnTo>
                    <a:lnTo>
                      <a:pt x="6727" y="11738"/>
                    </a:lnTo>
                    <a:lnTo>
                      <a:pt x="6689" y="11753"/>
                    </a:lnTo>
                    <a:lnTo>
                      <a:pt x="6652" y="11767"/>
                    </a:lnTo>
                    <a:lnTo>
                      <a:pt x="6613" y="11781"/>
                    </a:lnTo>
                    <a:lnTo>
                      <a:pt x="6576" y="11793"/>
                    </a:lnTo>
                    <a:lnTo>
                      <a:pt x="6538" y="11805"/>
                    </a:lnTo>
                    <a:lnTo>
                      <a:pt x="6500" y="11817"/>
                    </a:lnTo>
                    <a:lnTo>
                      <a:pt x="6461" y="11827"/>
                    </a:lnTo>
                    <a:lnTo>
                      <a:pt x="6424" y="11836"/>
                    </a:lnTo>
                    <a:lnTo>
                      <a:pt x="6387" y="11844"/>
                    </a:lnTo>
                    <a:lnTo>
                      <a:pt x="6349" y="11852"/>
                    </a:lnTo>
                    <a:lnTo>
                      <a:pt x="6313" y="11858"/>
                    </a:lnTo>
                    <a:lnTo>
                      <a:pt x="6277" y="11863"/>
                    </a:lnTo>
                    <a:lnTo>
                      <a:pt x="6241" y="11867"/>
                    </a:lnTo>
                    <a:lnTo>
                      <a:pt x="6205" y="11870"/>
                    </a:lnTo>
                    <a:lnTo>
                      <a:pt x="6171" y="11871"/>
                    </a:lnTo>
                    <a:lnTo>
                      <a:pt x="6138" y="11872"/>
                    </a:lnTo>
                    <a:lnTo>
                      <a:pt x="5386" y="11872"/>
                    </a:lnTo>
                    <a:lnTo>
                      <a:pt x="5352" y="11871"/>
                    </a:lnTo>
                    <a:lnTo>
                      <a:pt x="5318" y="11870"/>
                    </a:lnTo>
                    <a:lnTo>
                      <a:pt x="5283" y="11867"/>
                    </a:lnTo>
                    <a:lnTo>
                      <a:pt x="5247" y="11863"/>
                    </a:lnTo>
                    <a:lnTo>
                      <a:pt x="5210" y="11858"/>
                    </a:lnTo>
                    <a:lnTo>
                      <a:pt x="5174" y="11851"/>
                    </a:lnTo>
                    <a:lnTo>
                      <a:pt x="5137" y="11844"/>
                    </a:lnTo>
                    <a:lnTo>
                      <a:pt x="5099" y="11836"/>
                    </a:lnTo>
                    <a:lnTo>
                      <a:pt x="5062" y="11827"/>
                    </a:lnTo>
                    <a:lnTo>
                      <a:pt x="5024" y="11817"/>
                    </a:lnTo>
                    <a:lnTo>
                      <a:pt x="4986" y="11805"/>
                    </a:lnTo>
                    <a:lnTo>
                      <a:pt x="4948" y="11793"/>
                    </a:lnTo>
                    <a:lnTo>
                      <a:pt x="4910" y="11780"/>
                    </a:lnTo>
                    <a:lnTo>
                      <a:pt x="4872" y="11767"/>
                    </a:lnTo>
                    <a:lnTo>
                      <a:pt x="4834" y="11753"/>
                    </a:lnTo>
                    <a:lnTo>
                      <a:pt x="4796" y="11738"/>
                    </a:lnTo>
                    <a:lnTo>
                      <a:pt x="4760" y="11722"/>
                    </a:lnTo>
                    <a:lnTo>
                      <a:pt x="4722" y="11705"/>
                    </a:lnTo>
                    <a:lnTo>
                      <a:pt x="4686" y="11688"/>
                    </a:lnTo>
                    <a:lnTo>
                      <a:pt x="4650" y="11669"/>
                    </a:lnTo>
                    <a:lnTo>
                      <a:pt x="4615" y="11651"/>
                    </a:lnTo>
                    <a:lnTo>
                      <a:pt x="4580" y="11632"/>
                    </a:lnTo>
                    <a:lnTo>
                      <a:pt x="4546" y="11612"/>
                    </a:lnTo>
                    <a:lnTo>
                      <a:pt x="4513" y="11592"/>
                    </a:lnTo>
                    <a:lnTo>
                      <a:pt x="4481" y="11572"/>
                    </a:lnTo>
                    <a:lnTo>
                      <a:pt x="4449" y="11550"/>
                    </a:lnTo>
                    <a:lnTo>
                      <a:pt x="4419" y="11528"/>
                    </a:lnTo>
                    <a:lnTo>
                      <a:pt x="4390" y="11506"/>
                    </a:lnTo>
                    <a:lnTo>
                      <a:pt x="4363" y="11484"/>
                    </a:lnTo>
                    <a:lnTo>
                      <a:pt x="4335" y="11462"/>
                    </a:lnTo>
                    <a:lnTo>
                      <a:pt x="4310" y="11439"/>
                    </a:lnTo>
                    <a:lnTo>
                      <a:pt x="4286" y="11414"/>
                    </a:lnTo>
                    <a:lnTo>
                      <a:pt x="187" y="7297"/>
                    </a:lnTo>
                    <a:close/>
                  </a:path>
                </a:pathLst>
              </a:custGeom>
              <a:solidFill>
                <a:schemeClr val="bg1"/>
              </a:solidFill>
              <a:ln w="19050">
                <a:noFill/>
              </a:ln>
            </p:spPr>
            <p:txBody>
              <a:bodyPr vert="horz" wrap="square" lIns="91440" tIns="45720" rIns="91440" bIns="45720" numCol="1" anchor="t" anchorCtr="0" compatLnSpc="1"/>
              <a:lstStyle/>
              <a:p>
                <a:endParaRPr lang="id-ID" sz="2000">
                  <a:latin typeface="Calibri"/>
                  <a:ea typeface="微软雅黑"/>
                  <a:cs typeface="Open Sans" panose="020B0606030504020204" pitchFamily="34" charset="0"/>
                  <a:sym typeface="Calibri"/>
                </a:endParaRPr>
              </a:p>
            </p:txBody>
          </p:sp>
        </p:grpSp>
      </p:grpSp>
      <p:grpSp>
        <p:nvGrpSpPr>
          <p:cNvPr id="76" name="Group 5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4685496" y="4581720"/>
            <a:ext cx="332230" cy="332229"/>
            <a:chOff x="1407149" y="3549662"/>
            <a:chExt cx="413418" cy="413418"/>
          </a:xfrm>
        </p:grpSpPr>
        <p:sp>
          <p:nvSpPr>
            <p:cNvPr id="78" name="Oval 60"/>
            <p:cNvSpPr/>
            <p:nvPr/>
          </p:nvSpPr>
          <p:spPr>
            <a:xfrm>
              <a:off x="1407149" y="3549662"/>
              <a:ext cx="413418" cy="413418"/>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a:ea typeface="微软雅黑"/>
                <a:sym typeface="Calibri"/>
              </a:endParaRPr>
            </a:p>
          </p:txBody>
        </p:sp>
        <p:sp>
          <p:nvSpPr>
            <p:cNvPr id="79" name="Oval 61"/>
            <p:cNvSpPr/>
            <p:nvPr/>
          </p:nvSpPr>
          <p:spPr>
            <a:xfrm>
              <a:off x="1452286" y="3594799"/>
              <a:ext cx="323144" cy="3231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a:ea typeface="微软雅黑"/>
                <a:sym typeface="Calibri"/>
              </a:endParaRPr>
            </a:p>
          </p:txBody>
        </p:sp>
        <p:sp>
          <p:nvSpPr>
            <p:cNvPr id="80" name="Freeform 229"/>
            <p:cNvSpPr/>
            <p:nvPr/>
          </p:nvSpPr>
          <p:spPr bwMode="auto">
            <a:xfrm>
              <a:off x="1553302" y="3714766"/>
              <a:ext cx="121113" cy="83211"/>
            </a:xfrm>
            <a:custGeom>
              <a:avLst/>
              <a:gdLst>
                <a:gd name="T0" fmla="*/ 124 w 16128"/>
                <a:gd name="T1" fmla="*/ 7223 h 11872"/>
                <a:gd name="T2" fmla="*/ 59 w 16128"/>
                <a:gd name="T3" fmla="*/ 7113 h 11872"/>
                <a:gd name="T4" fmla="*/ 18 w 16128"/>
                <a:gd name="T5" fmla="*/ 6994 h 11872"/>
                <a:gd name="T6" fmla="*/ 1 w 16128"/>
                <a:gd name="T7" fmla="*/ 6871 h 11872"/>
                <a:gd name="T8" fmla="*/ 7 w 16128"/>
                <a:gd name="T9" fmla="*/ 6747 h 11872"/>
                <a:gd name="T10" fmla="*/ 36 w 16128"/>
                <a:gd name="T11" fmla="*/ 6626 h 11872"/>
                <a:gd name="T12" fmla="*/ 90 w 16128"/>
                <a:gd name="T13" fmla="*/ 6512 h 11872"/>
                <a:gd name="T14" fmla="*/ 165 w 16128"/>
                <a:gd name="T15" fmla="*/ 6408 h 11872"/>
                <a:gd name="T16" fmla="*/ 1850 w 16128"/>
                <a:gd name="T17" fmla="*/ 4727 h 11872"/>
                <a:gd name="T18" fmla="*/ 1957 w 16128"/>
                <a:gd name="T19" fmla="*/ 4656 h 11872"/>
                <a:gd name="T20" fmla="*/ 2073 w 16128"/>
                <a:gd name="T21" fmla="*/ 4609 h 11872"/>
                <a:gd name="T22" fmla="*/ 2195 w 16128"/>
                <a:gd name="T23" fmla="*/ 4586 h 11872"/>
                <a:gd name="T24" fmla="*/ 2319 w 16128"/>
                <a:gd name="T25" fmla="*/ 4586 h 11872"/>
                <a:gd name="T26" fmla="*/ 2441 w 16128"/>
                <a:gd name="T27" fmla="*/ 4609 h 11872"/>
                <a:gd name="T28" fmla="*/ 2558 w 16128"/>
                <a:gd name="T29" fmla="*/ 4656 h 11872"/>
                <a:gd name="T30" fmla="*/ 2665 w 16128"/>
                <a:gd name="T31" fmla="*/ 4727 h 11872"/>
                <a:gd name="T32" fmla="*/ 5357 w 16128"/>
                <a:gd name="T33" fmla="*/ 7406 h 11872"/>
                <a:gd name="T34" fmla="*/ 5460 w 16128"/>
                <a:gd name="T35" fmla="*/ 7483 h 11872"/>
                <a:gd name="T36" fmla="*/ 5575 w 16128"/>
                <a:gd name="T37" fmla="*/ 7535 h 11872"/>
                <a:gd name="T38" fmla="*/ 5696 w 16128"/>
                <a:gd name="T39" fmla="*/ 7565 h 11872"/>
                <a:gd name="T40" fmla="*/ 5819 w 16128"/>
                <a:gd name="T41" fmla="*/ 7571 h 11872"/>
                <a:gd name="T42" fmla="*/ 5942 w 16128"/>
                <a:gd name="T43" fmla="*/ 7552 h 11872"/>
                <a:gd name="T44" fmla="*/ 6060 w 16128"/>
                <a:gd name="T45" fmla="*/ 7512 h 11872"/>
                <a:gd name="T46" fmla="*/ 6170 w 16128"/>
                <a:gd name="T47" fmla="*/ 7447 h 11872"/>
                <a:gd name="T48" fmla="*/ 13421 w 16128"/>
                <a:gd name="T49" fmla="*/ 190 h 11872"/>
                <a:gd name="T50" fmla="*/ 13521 w 16128"/>
                <a:gd name="T51" fmla="*/ 107 h 11872"/>
                <a:gd name="T52" fmla="*/ 13634 w 16128"/>
                <a:gd name="T53" fmla="*/ 47 h 11872"/>
                <a:gd name="T54" fmla="*/ 13753 w 16128"/>
                <a:gd name="T55" fmla="*/ 12 h 11872"/>
                <a:gd name="T56" fmla="*/ 13877 w 16128"/>
                <a:gd name="T57" fmla="*/ 0 h 11872"/>
                <a:gd name="T58" fmla="*/ 14000 w 16128"/>
                <a:gd name="T59" fmla="*/ 11 h 11872"/>
                <a:gd name="T60" fmla="*/ 14120 w 16128"/>
                <a:gd name="T61" fmla="*/ 46 h 11872"/>
                <a:gd name="T62" fmla="*/ 14233 w 16128"/>
                <a:gd name="T63" fmla="*/ 105 h 11872"/>
                <a:gd name="T64" fmla="*/ 14334 w 16128"/>
                <a:gd name="T65" fmla="*/ 186 h 11872"/>
                <a:gd name="T66" fmla="*/ 16003 w 16128"/>
                <a:gd name="T67" fmla="*/ 1855 h 11872"/>
                <a:gd name="T68" fmla="*/ 16068 w 16128"/>
                <a:gd name="T69" fmla="*/ 1964 h 11872"/>
                <a:gd name="T70" fmla="*/ 16109 w 16128"/>
                <a:gd name="T71" fmla="*/ 2082 h 11872"/>
                <a:gd name="T72" fmla="*/ 16127 w 16128"/>
                <a:gd name="T73" fmla="*/ 2205 h 11872"/>
                <a:gd name="T74" fmla="*/ 16122 w 16128"/>
                <a:gd name="T75" fmla="*/ 2328 h 11872"/>
                <a:gd name="T76" fmla="*/ 16093 w 16128"/>
                <a:gd name="T77" fmla="*/ 2449 h 11872"/>
                <a:gd name="T78" fmla="*/ 16039 w 16128"/>
                <a:gd name="T79" fmla="*/ 2564 h 11872"/>
                <a:gd name="T80" fmla="*/ 15964 w 16128"/>
                <a:gd name="T81" fmla="*/ 2667 h 11872"/>
                <a:gd name="T82" fmla="*/ 7188 w 16128"/>
                <a:gd name="T83" fmla="*/ 11462 h 11872"/>
                <a:gd name="T84" fmla="*/ 7074 w 16128"/>
                <a:gd name="T85" fmla="*/ 11550 h 11872"/>
                <a:gd name="T86" fmla="*/ 6943 w 16128"/>
                <a:gd name="T87" fmla="*/ 11632 h 11872"/>
                <a:gd name="T88" fmla="*/ 6801 w 16128"/>
                <a:gd name="T89" fmla="*/ 11706 h 11872"/>
                <a:gd name="T90" fmla="*/ 6652 w 16128"/>
                <a:gd name="T91" fmla="*/ 11767 h 11872"/>
                <a:gd name="T92" fmla="*/ 6500 w 16128"/>
                <a:gd name="T93" fmla="*/ 11817 h 11872"/>
                <a:gd name="T94" fmla="*/ 6349 w 16128"/>
                <a:gd name="T95" fmla="*/ 11852 h 11872"/>
                <a:gd name="T96" fmla="*/ 6205 w 16128"/>
                <a:gd name="T97" fmla="*/ 11870 h 11872"/>
                <a:gd name="T98" fmla="*/ 5352 w 16128"/>
                <a:gd name="T99" fmla="*/ 11871 h 11872"/>
                <a:gd name="T100" fmla="*/ 5210 w 16128"/>
                <a:gd name="T101" fmla="*/ 11858 h 11872"/>
                <a:gd name="T102" fmla="*/ 5062 w 16128"/>
                <a:gd name="T103" fmla="*/ 11827 h 11872"/>
                <a:gd name="T104" fmla="*/ 4910 w 16128"/>
                <a:gd name="T105" fmla="*/ 11780 h 11872"/>
                <a:gd name="T106" fmla="*/ 4760 w 16128"/>
                <a:gd name="T107" fmla="*/ 11722 h 11872"/>
                <a:gd name="T108" fmla="*/ 4615 w 16128"/>
                <a:gd name="T109" fmla="*/ 11651 h 11872"/>
                <a:gd name="T110" fmla="*/ 4481 w 16128"/>
                <a:gd name="T111" fmla="*/ 11572 h 11872"/>
                <a:gd name="T112" fmla="*/ 4363 w 16128"/>
                <a:gd name="T113" fmla="*/ 11484 h 11872"/>
                <a:gd name="T114" fmla="*/ 187 w 16128"/>
                <a:gd name="T115" fmla="*/ 7297 h 1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28" h="11872">
                  <a:moveTo>
                    <a:pt x="187" y="7297"/>
                  </a:moveTo>
                  <a:lnTo>
                    <a:pt x="164" y="7273"/>
                  </a:lnTo>
                  <a:lnTo>
                    <a:pt x="143" y="7248"/>
                  </a:lnTo>
                  <a:lnTo>
                    <a:pt x="124" y="7223"/>
                  </a:lnTo>
                  <a:lnTo>
                    <a:pt x="106" y="7196"/>
                  </a:lnTo>
                  <a:lnTo>
                    <a:pt x="89" y="7168"/>
                  </a:lnTo>
                  <a:lnTo>
                    <a:pt x="74" y="7141"/>
                  </a:lnTo>
                  <a:lnTo>
                    <a:pt x="59" y="7113"/>
                  </a:lnTo>
                  <a:lnTo>
                    <a:pt x="46" y="7084"/>
                  </a:lnTo>
                  <a:lnTo>
                    <a:pt x="35" y="7054"/>
                  </a:lnTo>
                  <a:lnTo>
                    <a:pt x="26" y="7024"/>
                  </a:lnTo>
                  <a:lnTo>
                    <a:pt x="18" y="6994"/>
                  </a:lnTo>
                  <a:lnTo>
                    <a:pt x="12" y="6964"/>
                  </a:lnTo>
                  <a:lnTo>
                    <a:pt x="6" y="6933"/>
                  </a:lnTo>
                  <a:lnTo>
                    <a:pt x="3" y="6902"/>
                  </a:lnTo>
                  <a:lnTo>
                    <a:pt x="1" y="6871"/>
                  </a:lnTo>
                  <a:lnTo>
                    <a:pt x="0" y="6841"/>
                  </a:lnTo>
                  <a:lnTo>
                    <a:pt x="1" y="6809"/>
                  </a:lnTo>
                  <a:lnTo>
                    <a:pt x="3" y="6778"/>
                  </a:lnTo>
                  <a:lnTo>
                    <a:pt x="7" y="6747"/>
                  </a:lnTo>
                  <a:lnTo>
                    <a:pt x="12" y="6717"/>
                  </a:lnTo>
                  <a:lnTo>
                    <a:pt x="18" y="6687"/>
                  </a:lnTo>
                  <a:lnTo>
                    <a:pt x="26" y="6656"/>
                  </a:lnTo>
                  <a:lnTo>
                    <a:pt x="36" y="6626"/>
                  </a:lnTo>
                  <a:lnTo>
                    <a:pt x="47" y="6597"/>
                  </a:lnTo>
                  <a:lnTo>
                    <a:pt x="59" y="6569"/>
                  </a:lnTo>
                  <a:lnTo>
                    <a:pt x="74" y="6539"/>
                  </a:lnTo>
                  <a:lnTo>
                    <a:pt x="90" y="6512"/>
                  </a:lnTo>
                  <a:lnTo>
                    <a:pt x="106" y="6485"/>
                  </a:lnTo>
                  <a:lnTo>
                    <a:pt x="125" y="6459"/>
                  </a:lnTo>
                  <a:lnTo>
                    <a:pt x="144" y="6432"/>
                  </a:lnTo>
                  <a:lnTo>
                    <a:pt x="165" y="6408"/>
                  </a:lnTo>
                  <a:lnTo>
                    <a:pt x="188" y="6384"/>
                  </a:lnTo>
                  <a:lnTo>
                    <a:pt x="1801" y="4771"/>
                  </a:lnTo>
                  <a:lnTo>
                    <a:pt x="1824" y="4748"/>
                  </a:lnTo>
                  <a:lnTo>
                    <a:pt x="1850" y="4727"/>
                  </a:lnTo>
                  <a:lnTo>
                    <a:pt x="1876" y="4707"/>
                  </a:lnTo>
                  <a:lnTo>
                    <a:pt x="1902" y="4689"/>
                  </a:lnTo>
                  <a:lnTo>
                    <a:pt x="1929" y="4671"/>
                  </a:lnTo>
                  <a:lnTo>
                    <a:pt x="1957" y="4656"/>
                  </a:lnTo>
                  <a:lnTo>
                    <a:pt x="1985" y="4642"/>
                  </a:lnTo>
                  <a:lnTo>
                    <a:pt x="2014" y="4630"/>
                  </a:lnTo>
                  <a:lnTo>
                    <a:pt x="2043" y="4619"/>
                  </a:lnTo>
                  <a:lnTo>
                    <a:pt x="2073" y="4609"/>
                  </a:lnTo>
                  <a:lnTo>
                    <a:pt x="2104" y="4601"/>
                  </a:lnTo>
                  <a:lnTo>
                    <a:pt x="2134" y="4595"/>
                  </a:lnTo>
                  <a:lnTo>
                    <a:pt x="2164" y="4590"/>
                  </a:lnTo>
                  <a:lnTo>
                    <a:pt x="2195" y="4586"/>
                  </a:lnTo>
                  <a:lnTo>
                    <a:pt x="2227" y="4584"/>
                  </a:lnTo>
                  <a:lnTo>
                    <a:pt x="2257" y="4583"/>
                  </a:lnTo>
                  <a:lnTo>
                    <a:pt x="2288" y="4584"/>
                  </a:lnTo>
                  <a:lnTo>
                    <a:pt x="2319" y="4586"/>
                  </a:lnTo>
                  <a:lnTo>
                    <a:pt x="2350" y="4590"/>
                  </a:lnTo>
                  <a:lnTo>
                    <a:pt x="2381" y="4595"/>
                  </a:lnTo>
                  <a:lnTo>
                    <a:pt x="2411" y="4601"/>
                  </a:lnTo>
                  <a:lnTo>
                    <a:pt x="2441" y="4609"/>
                  </a:lnTo>
                  <a:lnTo>
                    <a:pt x="2472" y="4619"/>
                  </a:lnTo>
                  <a:lnTo>
                    <a:pt x="2501" y="4630"/>
                  </a:lnTo>
                  <a:lnTo>
                    <a:pt x="2529" y="4642"/>
                  </a:lnTo>
                  <a:lnTo>
                    <a:pt x="2558" y="4656"/>
                  </a:lnTo>
                  <a:lnTo>
                    <a:pt x="2586" y="4671"/>
                  </a:lnTo>
                  <a:lnTo>
                    <a:pt x="2613" y="4689"/>
                  </a:lnTo>
                  <a:lnTo>
                    <a:pt x="2639" y="4707"/>
                  </a:lnTo>
                  <a:lnTo>
                    <a:pt x="2665" y="4727"/>
                  </a:lnTo>
                  <a:lnTo>
                    <a:pt x="2689" y="4748"/>
                  </a:lnTo>
                  <a:lnTo>
                    <a:pt x="2714" y="4770"/>
                  </a:lnTo>
                  <a:lnTo>
                    <a:pt x="5332" y="7384"/>
                  </a:lnTo>
                  <a:lnTo>
                    <a:pt x="5357" y="7406"/>
                  </a:lnTo>
                  <a:lnTo>
                    <a:pt x="5382" y="7427"/>
                  </a:lnTo>
                  <a:lnTo>
                    <a:pt x="5407" y="7448"/>
                  </a:lnTo>
                  <a:lnTo>
                    <a:pt x="5433" y="7466"/>
                  </a:lnTo>
                  <a:lnTo>
                    <a:pt x="5460" y="7483"/>
                  </a:lnTo>
                  <a:lnTo>
                    <a:pt x="5489" y="7498"/>
                  </a:lnTo>
                  <a:lnTo>
                    <a:pt x="5517" y="7512"/>
                  </a:lnTo>
                  <a:lnTo>
                    <a:pt x="5546" y="7524"/>
                  </a:lnTo>
                  <a:lnTo>
                    <a:pt x="5575" y="7535"/>
                  </a:lnTo>
                  <a:lnTo>
                    <a:pt x="5604" y="7545"/>
                  </a:lnTo>
                  <a:lnTo>
                    <a:pt x="5635" y="7553"/>
                  </a:lnTo>
                  <a:lnTo>
                    <a:pt x="5665" y="7559"/>
                  </a:lnTo>
                  <a:lnTo>
                    <a:pt x="5696" y="7565"/>
                  </a:lnTo>
                  <a:lnTo>
                    <a:pt x="5726" y="7569"/>
                  </a:lnTo>
                  <a:lnTo>
                    <a:pt x="5758" y="7571"/>
                  </a:lnTo>
                  <a:lnTo>
                    <a:pt x="5789" y="7572"/>
                  </a:lnTo>
                  <a:lnTo>
                    <a:pt x="5819" y="7571"/>
                  </a:lnTo>
                  <a:lnTo>
                    <a:pt x="5850" y="7569"/>
                  </a:lnTo>
                  <a:lnTo>
                    <a:pt x="5882" y="7565"/>
                  </a:lnTo>
                  <a:lnTo>
                    <a:pt x="5912" y="7559"/>
                  </a:lnTo>
                  <a:lnTo>
                    <a:pt x="5942" y="7552"/>
                  </a:lnTo>
                  <a:lnTo>
                    <a:pt x="5972" y="7544"/>
                  </a:lnTo>
                  <a:lnTo>
                    <a:pt x="6003" y="7535"/>
                  </a:lnTo>
                  <a:lnTo>
                    <a:pt x="6032" y="7524"/>
                  </a:lnTo>
                  <a:lnTo>
                    <a:pt x="6060" y="7512"/>
                  </a:lnTo>
                  <a:lnTo>
                    <a:pt x="6089" y="7498"/>
                  </a:lnTo>
                  <a:lnTo>
                    <a:pt x="6117" y="7482"/>
                  </a:lnTo>
                  <a:lnTo>
                    <a:pt x="6144" y="7465"/>
                  </a:lnTo>
                  <a:lnTo>
                    <a:pt x="6170" y="7447"/>
                  </a:lnTo>
                  <a:lnTo>
                    <a:pt x="6196" y="7426"/>
                  </a:lnTo>
                  <a:lnTo>
                    <a:pt x="6220" y="7405"/>
                  </a:lnTo>
                  <a:lnTo>
                    <a:pt x="6245" y="7383"/>
                  </a:lnTo>
                  <a:lnTo>
                    <a:pt x="13421" y="190"/>
                  </a:lnTo>
                  <a:lnTo>
                    <a:pt x="13445" y="166"/>
                  </a:lnTo>
                  <a:lnTo>
                    <a:pt x="13470" y="145"/>
                  </a:lnTo>
                  <a:lnTo>
                    <a:pt x="13495" y="125"/>
                  </a:lnTo>
                  <a:lnTo>
                    <a:pt x="13521" y="107"/>
                  </a:lnTo>
                  <a:lnTo>
                    <a:pt x="13549" y="90"/>
                  </a:lnTo>
                  <a:lnTo>
                    <a:pt x="13577" y="75"/>
                  </a:lnTo>
                  <a:lnTo>
                    <a:pt x="13605" y="60"/>
                  </a:lnTo>
                  <a:lnTo>
                    <a:pt x="13634" y="47"/>
                  </a:lnTo>
                  <a:lnTo>
                    <a:pt x="13663" y="36"/>
                  </a:lnTo>
                  <a:lnTo>
                    <a:pt x="13693" y="27"/>
                  </a:lnTo>
                  <a:lnTo>
                    <a:pt x="13723" y="19"/>
                  </a:lnTo>
                  <a:lnTo>
                    <a:pt x="13753" y="12"/>
                  </a:lnTo>
                  <a:lnTo>
                    <a:pt x="13784" y="7"/>
                  </a:lnTo>
                  <a:lnTo>
                    <a:pt x="13815" y="3"/>
                  </a:lnTo>
                  <a:lnTo>
                    <a:pt x="13846" y="1"/>
                  </a:lnTo>
                  <a:lnTo>
                    <a:pt x="13877" y="0"/>
                  </a:lnTo>
                  <a:lnTo>
                    <a:pt x="13908" y="1"/>
                  </a:lnTo>
                  <a:lnTo>
                    <a:pt x="13939" y="3"/>
                  </a:lnTo>
                  <a:lnTo>
                    <a:pt x="13970" y="6"/>
                  </a:lnTo>
                  <a:lnTo>
                    <a:pt x="14000" y="11"/>
                  </a:lnTo>
                  <a:lnTo>
                    <a:pt x="14031" y="18"/>
                  </a:lnTo>
                  <a:lnTo>
                    <a:pt x="14062" y="26"/>
                  </a:lnTo>
                  <a:lnTo>
                    <a:pt x="14091" y="35"/>
                  </a:lnTo>
                  <a:lnTo>
                    <a:pt x="14120" y="46"/>
                  </a:lnTo>
                  <a:lnTo>
                    <a:pt x="14149" y="58"/>
                  </a:lnTo>
                  <a:lnTo>
                    <a:pt x="14178" y="73"/>
                  </a:lnTo>
                  <a:lnTo>
                    <a:pt x="14206" y="88"/>
                  </a:lnTo>
                  <a:lnTo>
                    <a:pt x="14233" y="105"/>
                  </a:lnTo>
                  <a:lnTo>
                    <a:pt x="14259" y="123"/>
                  </a:lnTo>
                  <a:lnTo>
                    <a:pt x="14285" y="143"/>
                  </a:lnTo>
                  <a:lnTo>
                    <a:pt x="14310" y="164"/>
                  </a:lnTo>
                  <a:lnTo>
                    <a:pt x="14334" y="186"/>
                  </a:lnTo>
                  <a:lnTo>
                    <a:pt x="15938" y="1780"/>
                  </a:lnTo>
                  <a:lnTo>
                    <a:pt x="15962" y="1804"/>
                  </a:lnTo>
                  <a:lnTo>
                    <a:pt x="15983" y="1829"/>
                  </a:lnTo>
                  <a:lnTo>
                    <a:pt x="16003" y="1855"/>
                  </a:lnTo>
                  <a:lnTo>
                    <a:pt x="16021" y="1881"/>
                  </a:lnTo>
                  <a:lnTo>
                    <a:pt x="16038" y="1908"/>
                  </a:lnTo>
                  <a:lnTo>
                    <a:pt x="16053" y="1935"/>
                  </a:lnTo>
                  <a:lnTo>
                    <a:pt x="16068" y="1964"/>
                  </a:lnTo>
                  <a:lnTo>
                    <a:pt x="16081" y="1993"/>
                  </a:lnTo>
                  <a:lnTo>
                    <a:pt x="16092" y="2022"/>
                  </a:lnTo>
                  <a:lnTo>
                    <a:pt x="16101" y="2051"/>
                  </a:lnTo>
                  <a:lnTo>
                    <a:pt x="16109" y="2082"/>
                  </a:lnTo>
                  <a:lnTo>
                    <a:pt x="16116" y="2112"/>
                  </a:lnTo>
                  <a:lnTo>
                    <a:pt x="16121" y="2143"/>
                  </a:lnTo>
                  <a:lnTo>
                    <a:pt x="16125" y="2173"/>
                  </a:lnTo>
                  <a:lnTo>
                    <a:pt x="16127" y="2205"/>
                  </a:lnTo>
                  <a:lnTo>
                    <a:pt x="16128" y="2236"/>
                  </a:lnTo>
                  <a:lnTo>
                    <a:pt x="16127" y="2266"/>
                  </a:lnTo>
                  <a:lnTo>
                    <a:pt x="16125" y="2297"/>
                  </a:lnTo>
                  <a:lnTo>
                    <a:pt x="16122" y="2328"/>
                  </a:lnTo>
                  <a:lnTo>
                    <a:pt x="16117" y="2359"/>
                  </a:lnTo>
                  <a:lnTo>
                    <a:pt x="16110" y="2389"/>
                  </a:lnTo>
                  <a:lnTo>
                    <a:pt x="16102" y="2419"/>
                  </a:lnTo>
                  <a:lnTo>
                    <a:pt x="16093" y="2449"/>
                  </a:lnTo>
                  <a:lnTo>
                    <a:pt x="16082" y="2478"/>
                  </a:lnTo>
                  <a:lnTo>
                    <a:pt x="16069" y="2507"/>
                  </a:lnTo>
                  <a:lnTo>
                    <a:pt x="16055" y="2535"/>
                  </a:lnTo>
                  <a:lnTo>
                    <a:pt x="16039" y="2564"/>
                  </a:lnTo>
                  <a:lnTo>
                    <a:pt x="16023" y="2591"/>
                  </a:lnTo>
                  <a:lnTo>
                    <a:pt x="16004" y="2617"/>
                  </a:lnTo>
                  <a:lnTo>
                    <a:pt x="15985" y="2642"/>
                  </a:lnTo>
                  <a:lnTo>
                    <a:pt x="15964" y="2667"/>
                  </a:lnTo>
                  <a:lnTo>
                    <a:pt x="15941" y="2692"/>
                  </a:lnTo>
                  <a:lnTo>
                    <a:pt x="7238" y="11415"/>
                  </a:lnTo>
                  <a:lnTo>
                    <a:pt x="7214" y="11439"/>
                  </a:lnTo>
                  <a:lnTo>
                    <a:pt x="7188" y="11462"/>
                  </a:lnTo>
                  <a:lnTo>
                    <a:pt x="7162" y="11485"/>
                  </a:lnTo>
                  <a:lnTo>
                    <a:pt x="7134" y="11507"/>
                  </a:lnTo>
                  <a:lnTo>
                    <a:pt x="7104" y="11529"/>
                  </a:lnTo>
                  <a:lnTo>
                    <a:pt x="7074" y="11550"/>
                  </a:lnTo>
                  <a:lnTo>
                    <a:pt x="7043" y="11572"/>
                  </a:lnTo>
                  <a:lnTo>
                    <a:pt x="7011" y="11593"/>
                  </a:lnTo>
                  <a:lnTo>
                    <a:pt x="6977" y="11613"/>
                  </a:lnTo>
                  <a:lnTo>
                    <a:pt x="6943" y="11632"/>
                  </a:lnTo>
                  <a:lnTo>
                    <a:pt x="6909" y="11651"/>
                  </a:lnTo>
                  <a:lnTo>
                    <a:pt x="6874" y="11670"/>
                  </a:lnTo>
                  <a:lnTo>
                    <a:pt x="6837" y="11688"/>
                  </a:lnTo>
                  <a:lnTo>
                    <a:pt x="6801" y="11706"/>
                  </a:lnTo>
                  <a:lnTo>
                    <a:pt x="6765" y="11722"/>
                  </a:lnTo>
                  <a:lnTo>
                    <a:pt x="6727" y="11738"/>
                  </a:lnTo>
                  <a:lnTo>
                    <a:pt x="6689" y="11753"/>
                  </a:lnTo>
                  <a:lnTo>
                    <a:pt x="6652" y="11767"/>
                  </a:lnTo>
                  <a:lnTo>
                    <a:pt x="6613" y="11781"/>
                  </a:lnTo>
                  <a:lnTo>
                    <a:pt x="6576" y="11793"/>
                  </a:lnTo>
                  <a:lnTo>
                    <a:pt x="6538" y="11805"/>
                  </a:lnTo>
                  <a:lnTo>
                    <a:pt x="6500" y="11817"/>
                  </a:lnTo>
                  <a:lnTo>
                    <a:pt x="6461" y="11827"/>
                  </a:lnTo>
                  <a:lnTo>
                    <a:pt x="6424" y="11836"/>
                  </a:lnTo>
                  <a:lnTo>
                    <a:pt x="6387" y="11844"/>
                  </a:lnTo>
                  <a:lnTo>
                    <a:pt x="6349" y="11852"/>
                  </a:lnTo>
                  <a:lnTo>
                    <a:pt x="6313" y="11858"/>
                  </a:lnTo>
                  <a:lnTo>
                    <a:pt x="6277" y="11863"/>
                  </a:lnTo>
                  <a:lnTo>
                    <a:pt x="6241" y="11867"/>
                  </a:lnTo>
                  <a:lnTo>
                    <a:pt x="6205" y="11870"/>
                  </a:lnTo>
                  <a:lnTo>
                    <a:pt x="6171" y="11871"/>
                  </a:lnTo>
                  <a:lnTo>
                    <a:pt x="6138" y="11872"/>
                  </a:lnTo>
                  <a:lnTo>
                    <a:pt x="5386" y="11872"/>
                  </a:lnTo>
                  <a:lnTo>
                    <a:pt x="5352" y="11871"/>
                  </a:lnTo>
                  <a:lnTo>
                    <a:pt x="5318" y="11870"/>
                  </a:lnTo>
                  <a:lnTo>
                    <a:pt x="5283" y="11867"/>
                  </a:lnTo>
                  <a:lnTo>
                    <a:pt x="5247" y="11863"/>
                  </a:lnTo>
                  <a:lnTo>
                    <a:pt x="5210" y="11858"/>
                  </a:lnTo>
                  <a:lnTo>
                    <a:pt x="5174" y="11851"/>
                  </a:lnTo>
                  <a:lnTo>
                    <a:pt x="5137" y="11844"/>
                  </a:lnTo>
                  <a:lnTo>
                    <a:pt x="5099" y="11836"/>
                  </a:lnTo>
                  <a:lnTo>
                    <a:pt x="5062" y="11827"/>
                  </a:lnTo>
                  <a:lnTo>
                    <a:pt x="5024" y="11817"/>
                  </a:lnTo>
                  <a:lnTo>
                    <a:pt x="4986" y="11805"/>
                  </a:lnTo>
                  <a:lnTo>
                    <a:pt x="4948" y="11793"/>
                  </a:lnTo>
                  <a:lnTo>
                    <a:pt x="4910" y="11780"/>
                  </a:lnTo>
                  <a:lnTo>
                    <a:pt x="4872" y="11767"/>
                  </a:lnTo>
                  <a:lnTo>
                    <a:pt x="4834" y="11753"/>
                  </a:lnTo>
                  <a:lnTo>
                    <a:pt x="4796" y="11738"/>
                  </a:lnTo>
                  <a:lnTo>
                    <a:pt x="4760" y="11722"/>
                  </a:lnTo>
                  <a:lnTo>
                    <a:pt x="4722" y="11705"/>
                  </a:lnTo>
                  <a:lnTo>
                    <a:pt x="4686" y="11688"/>
                  </a:lnTo>
                  <a:lnTo>
                    <a:pt x="4650" y="11669"/>
                  </a:lnTo>
                  <a:lnTo>
                    <a:pt x="4615" y="11651"/>
                  </a:lnTo>
                  <a:lnTo>
                    <a:pt x="4580" y="11632"/>
                  </a:lnTo>
                  <a:lnTo>
                    <a:pt x="4546" y="11612"/>
                  </a:lnTo>
                  <a:lnTo>
                    <a:pt x="4513" y="11592"/>
                  </a:lnTo>
                  <a:lnTo>
                    <a:pt x="4481" y="11572"/>
                  </a:lnTo>
                  <a:lnTo>
                    <a:pt x="4449" y="11550"/>
                  </a:lnTo>
                  <a:lnTo>
                    <a:pt x="4419" y="11528"/>
                  </a:lnTo>
                  <a:lnTo>
                    <a:pt x="4390" y="11506"/>
                  </a:lnTo>
                  <a:lnTo>
                    <a:pt x="4363" y="11484"/>
                  </a:lnTo>
                  <a:lnTo>
                    <a:pt x="4335" y="11462"/>
                  </a:lnTo>
                  <a:lnTo>
                    <a:pt x="4310" y="11439"/>
                  </a:lnTo>
                  <a:lnTo>
                    <a:pt x="4286" y="11414"/>
                  </a:lnTo>
                  <a:lnTo>
                    <a:pt x="187" y="7297"/>
                  </a:lnTo>
                  <a:close/>
                </a:path>
              </a:pathLst>
            </a:custGeom>
            <a:solidFill>
              <a:schemeClr val="bg1"/>
            </a:solidFill>
            <a:ln w="19050">
              <a:noFill/>
            </a:ln>
          </p:spPr>
          <p:txBody>
            <a:bodyPr vert="horz" wrap="square" lIns="91440" tIns="45720" rIns="91440" bIns="45720" numCol="1" anchor="t" anchorCtr="0" compatLnSpc="1"/>
            <a:lstStyle/>
            <a:p>
              <a:endParaRPr lang="id-ID" sz="2000">
                <a:latin typeface="Calibri"/>
                <a:ea typeface="微软雅黑"/>
                <a:cs typeface="Open Sans" panose="020B0606030504020204" pitchFamily="34" charset="0"/>
                <a:sym typeface="Calibri"/>
              </a:endParaRPr>
            </a:p>
          </p:txBody>
        </p:sp>
      </p:grpSp>
      <p:sp>
        <p:nvSpPr>
          <p:cNvPr id="77" name="Rectangle 5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013092" y="4581720"/>
            <a:ext cx="4025686" cy="307777"/>
          </a:xfrm>
          <a:prstGeom prst="rect">
            <a:avLst/>
          </a:prstGeom>
        </p:spPr>
        <p:txBody>
          <a:bodyPr wrap="square">
            <a:spAutoFit/>
          </a:bodyPr>
          <a:lstStyle/>
          <a:p>
            <a:r>
              <a:rPr lang="en-US" sz="1400" dirty="0">
                <a:latin typeface="Calibri"/>
                <a:ea typeface="微软雅黑"/>
                <a:cs typeface="Open Sans Light" panose="020B0306030504020204" pitchFamily="34" charset="0"/>
                <a:sym typeface="Calibri"/>
              </a:rPr>
              <a:t>Insert Your Amazing Statement Here</a:t>
            </a:r>
            <a:endParaRPr lang="id-ID" sz="1400" dirty="0">
              <a:latin typeface="Calibri"/>
              <a:ea typeface="微软雅黑"/>
              <a:sym typeface="Calibri"/>
            </a:endParaRPr>
          </a:p>
        </p:txBody>
      </p:sp>
      <p:grpSp>
        <p:nvGrpSpPr>
          <p:cNvPr id="71" name="Group 6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4685496" y="5156576"/>
            <a:ext cx="332230" cy="332229"/>
            <a:chOff x="1407149" y="3549662"/>
            <a:chExt cx="413418" cy="413418"/>
          </a:xfrm>
        </p:grpSpPr>
        <p:sp>
          <p:nvSpPr>
            <p:cNvPr id="73" name="Oval 66"/>
            <p:cNvSpPr/>
            <p:nvPr/>
          </p:nvSpPr>
          <p:spPr>
            <a:xfrm>
              <a:off x="1407149" y="3549662"/>
              <a:ext cx="413418" cy="413418"/>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a:ea typeface="微软雅黑"/>
                <a:sym typeface="Calibri"/>
              </a:endParaRPr>
            </a:p>
          </p:txBody>
        </p:sp>
        <p:sp>
          <p:nvSpPr>
            <p:cNvPr id="74" name="Oval 67"/>
            <p:cNvSpPr/>
            <p:nvPr/>
          </p:nvSpPr>
          <p:spPr>
            <a:xfrm>
              <a:off x="1452286" y="3594799"/>
              <a:ext cx="323144" cy="3231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a:ea typeface="微软雅黑"/>
                <a:sym typeface="Calibri"/>
              </a:endParaRPr>
            </a:p>
          </p:txBody>
        </p:sp>
        <p:sp>
          <p:nvSpPr>
            <p:cNvPr id="75" name="Freeform 229"/>
            <p:cNvSpPr/>
            <p:nvPr/>
          </p:nvSpPr>
          <p:spPr bwMode="auto">
            <a:xfrm>
              <a:off x="1553302" y="3714766"/>
              <a:ext cx="121113" cy="83211"/>
            </a:xfrm>
            <a:custGeom>
              <a:avLst/>
              <a:gdLst>
                <a:gd name="T0" fmla="*/ 124 w 16128"/>
                <a:gd name="T1" fmla="*/ 7223 h 11872"/>
                <a:gd name="T2" fmla="*/ 59 w 16128"/>
                <a:gd name="T3" fmla="*/ 7113 h 11872"/>
                <a:gd name="T4" fmla="*/ 18 w 16128"/>
                <a:gd name="T5" fmla="*/ 6994 h 11872"/>
                <a:gd name="T6" fmla="*/ 1 w 16128"/>
                <a:gd name="T7" fmla="*/ 6871 h 11872"/>
                <a:gd name="T8" fmla="*/ 7 w 16128"/>
                <a:gd name="T9" fmla="*/ 6747 h 11872"/>
                <a:gd name="T10" fmla="*/ 36 w 16128"/>
                <a:gd name="T11" fmla="*/ 6626 h 11872"/>
                <a:gd name="T12" fmla="*/ 90 w 16128"/>
                <a:gd name="T13" fmla="*/ 6512 h 11872"/>
                <a:gd name="T14" fmla="*/ 165 w 16128"/>
                <a:gd name="T15" fmla="*/ 6408 h 11872"/>
                <a:gd name="T16" fmla="*/ 1850 w 16128"/>
                <a:gd name="T17" fmla="*/ 4727 h 11872"/>
                <a:gd name="T18" fmla="*/ 1957 w 16128"/>
                <a:gd name="T19" fmla="*/ 4656 h 11872"/>
                <a:gd name="T20" fmla="*/ 2073 w 16128"/>
                <a:gd name="T21" fmla="*/ 4609 h 11872"/>
                <a:gd name="T22" fmla="*/ 2195 w 16128"/>
                <a:gd name="T23" fmla="*/ 4586 h 11872"/>
                <a:gd name="T24" fmla="*/ 2319 w 16128"/>
                <a:gd name="T25" fmla="*/ 4586 h 11872"/>
                <a:gd name="T26" fmla="*/ 2441 w 16128"/>
                <a:gd name="T27" fmla="*/ 4609 h 11872"/>
                <a:gd name="T28" fmla="*/ 2558 w 16128"/>
                <a:gd name="T29" fmla="*/ 4656 h 11872"/>
                <a:gd name="T30" fmla="*/ 2665 w 16128"/>
                <a:gd name="T31" fmla="*/ 4727 h 11872"/>
                <a:gd name="T32" fmla="*/ 5357 w 16128"/>
                <a:gd name="T33" fmla="*/ 7406 h 11872"/>
                <a:gd name="T34" fmla="*/ 5460 w 16128"/>
                <a:gd name="T35" fmla="*/ 7483 h 11872"/>
                <a:gd name="T36" fmla="*/ 5575 w 16128"/>
                <a:gd name="T37" fmla="*/ 7535 h 11872"/>
                <a:gd name="T38" fmla="*/ 5696 w 16128"/>
                <a:gd name="T39" fmla="*/ 7565 h 11872"/>
                <a:gd name="T40" fmla="*/ 5819 w 16128"/>
                <a:gd name="T41" fmla="*/ 7571 h 11872"/>
                <a:gd name="T42" fmla="*/ 5942 w 16128"/>
                <a:gd name="T43" fmla="*/ 7552 h 11872"/>
                <a:gd name="T44" fmla="*/ 6060 w 16128"/>
                <a:gd name="T45" fmla="*/ 7512 h 11872"/>
                <a:gd name="T46" fmla="*/ 6170 w 16128"/>
                <a:gd name="T47" fmla="*/ 7447 h 11872"/>
                <a:gd name="T48" fmla="*/ 13421 w 16128"/>
                <a:gd name="T49" fmla="*/ 190 h 11872"/>
                <a:gd name="T50" fmla="*/ 13521 w 16128"/>
                <a:gd name="T51" fmla="*/ 107 h 11872"/>
                <a:gd name="T52" fmla="*/ 13634 w 16128"/>
                <a:gd name="T53" fmla="*/ 47 h 11872"/>
                <a:gd name="T54" fmla="*/ 13753 w 16128"/>
                <a:gd name="T55" fmla="*/ 12 h 11872"/>
                <a:gd name="T56" fmla="*/ 13877 w 16128"/>
                <a:gd name="T57" fmla="*/ 0 h 11872"/>
                <a:gd name="T58" fmla="*/ 14000 w 16128"/>
                <a:gd name="T59" fmla="*/ 11 h 11872"/>
                <a:gd name="T60" fmla="*/ 14120 w 16128"/>
                <a:gd name="T61" fmla="*/ 46 h 11872"/>
                <a:gd name="T62" fmla="*/ 14233 w 16128"/>
                <a:gd name="T63" fmla="*/ 105 h 11872"/>
                <a:gd name="T64" fmla="*/ 14334 w 16128"/>
                <a:gd name="T65" fmla="*/ 186 h 11872"/>
                <a:gd name="T66" fmla="*/ 16003 w 16128"/>
                <a:gd name="T67" fmla="*/ 1855 h 11872"/>
                <a:gd name="T68" fmla="*/ 16068 w 16128"/>
                <a:gd name="T69" fmla="*/ 1964 h 11872"/>
                <a:gd name="T70" fmla="*/ 16109 w 16128"/>
                <a:gd name="T71" fmla="*/ 2082 h 11872"/>
                <a:gd name="T72" fmla="*/ 16127 w 16128"/>
                <a:gd name="T73" fmla="*/ 2205 h 11872"/>
                <a:gd name="T74" fmla="*/ 16122 w 16128"/>
                <a:gd name="T75" fmla="*/ 2328 h 11872"/>
                <a:gd name="T76" fmla="*/ 16093 w 16128"/>
                <a:gd name="T77" fmla="*/ 2449 h 11872"/>
                <a:gd name="T78" fmla="*/ 16039 w 16128"/>
                <a:gd name="T79" fmla="*/ 2564 h 11872"/>
                <a:gd name="T80" fmla="*/ 15964 w 16128"/>
                <a:gd name="T81" fmla="*/ 2667 h 11872"/>
                <a:gd name="T82" fmla="*/ 7188 w 16128"/>
                <a:gd name="T83" fmla="*/ 11462 h 11872"/>
                <a:gd name="T84" fmla="*/ 7074 w 16128"/>
                <a:gd name="T85" fmla="*/ 11550 h 11872"/>
                <a:gd name="T86" fmla="*/ 6943 w 16128"/>
                <a:gd name="T87" fmla="*/ 11632 h 11872"/>
                <a:gd name="T88" fmla="*/ 6801 w 16128"/>
                <a:gd name="T89" fmla="*/ 11706 h 11872"/>
                <a:gd name="T90" fmla="*/ 6652 w 16128"/>
                <a:gd name="T91" fmla="*/ 11767 h 11872"/>
                <a:gd name="T92" fmla="*/ 6500 w 16128"/>
                <a:gd name="T93" fmla="*/ 11817 h 11872"/>
                <a:gd name="T94" fmla="*/ 6349 w 16128"/>
                <a:gd name="T95" fmla="*/ 11852 h 11872"/>
                <a:gd name="T96" fmla="*/ 6205 w 16128"/>
                <a:gd name="T97" fmla="*/ 11870 h 11872"/>
                <a:gd name="T98" fmla="*/ 5352 w 16128"/>
                <a:gd name="T99" fmla="*/ 11871 h 11872"/>
                <a:gd name="T100" fmla="*/ 5210 w 16128"/>
                <a:gd name="T101" fmla="*/ 11858 h 11872"/>
                <a:gd name="T102" fmla="*/ 5062 w 16128"/>
                <a:gd name="T103" fmla="*/ 11827 h 11872"/>
                <a:gd name="T104" fmla="*/ 4910 w 16128"/>
                <a:gd name="T105" fmla="*/ 11780 h 11872"/>
                <a:gd name="T106" fmla="*/ 4760 w 16128"/>
                <a:gd name="T107" fmla="*/ 11722 h 11872"/>
                <a:gd name="T108" fmla="*/ 4615 w 16128"/>
                <a:gd name="T109" fmla="*/ 11651 h 11872"/>
                <a:gd name="T110" fmla="*/ 4481 w 16128"/>
                <a:gd name="T111" fmla="*/ 11572 h 11872"/>
                <a:gd name="T112" fmla="*/ 4363 w 16128"/>
                <a:gd name="T113" fmla="*/ 11484 h 11872"/>
                <a:gd name="T114" fmla="*/ 187 w 16128"/>
                <a:gd name="T115" fmla="*/ 7297 h 1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28" h="11872">
                  <a:moveTo>
                    <a:pt x="187" y="7297"/>
                  </a:moveTo>
                  <a:lnTo>
                    <a:pt x="164" y="7273"/>
                  </a:lnTo>
                  <a:lnTo>
                    <a:pt x="143" y="7248"/>
                  </a:lnTo>
                  <a:lnTo>
                    <a:pt x="124" y="7223"/>
                  </a:lnTo>
                  <a:lnTo>
                    <a:pt x="106" y="7196"/>
                  </a:lnTo>
                  <a:lnTo>
                    <a:pt x="89" y="7168"/>
                  </a:lnTo>
                  <a:lnTo>
                    <a:pt x="74" y="7141"/>
                  </a:lnTo>
                  <a:lnTo>
                    <a:pt x="59" y="7113"/>
                  </a:lnTo>
                  <a:lnTo>
                    <a:pt x="46" y="7084"/>
                  </a:lnTo>
                  <a:lnTo>
                    <a:pt x="35" y="7054"/>
                  </a:lnTo>
                  <a:lnTo>
                    <a:pt x="26" y="7024"/>
                  </a:lnTo>
                  <a:lnTo>
                    <a:pt x="18" y="6994"/>
                  </a:lnTo>
                  <a:lnTo>
                    <a:pt x="12" y="6964"/>
                  </a:lnTo>
                  <a:lnTo>
                    <a:pt x="6" y="6933"/>
                  </a:lnTo>
                  <a:lnTo>
                    <a:pt x="3" y="6902"/>
                  </a:lnTo>
                  <a:lnTo>
                    <a:pt x="1" y="6871"/>
                  </a:lnTo>
                  <a:lnTo>
                    <a:pt x="0" y="6841"/>
                  </a:lnTo>
                  <a:lnTo>
                    <a:pt x="1" y="6809"/>
                  </a:lnTo>
                  <a:lnTo>
                    <a:pt x="3" y="6778"/>
                  </a:lnTo>
                  <a:lnTo>
                    <a:pt x="7" y="6747"/>
                  </a:lnTo>
                  <a:lnTo>
                    <a:pt x="12" y="6717"/>
                  </a:lnTo>
                  <a:lnTo>
                    <a:pt x="18" y="6687"/>
                  </a:lnTo>
                  <a:lnTo>
                    <a:pt x="26" y="6656"/>
                  </a:lnTo>
                  <a:lnTo>
                    <a:pt x="36" y="6626"/>
                  </a:lnTo>
                  <a:lnTo>
                    <a:pt x="47" y="6597"/>
                  </a:lnTo>
                  <a:lnTo>
                    <a:pt x="59" y="6569"/>
                  </a:lnTo>
                  <a:lnTo>
                    <a:pt x="74" y="6539"/>
                  </a:lnTo>
                  <a:lnTo>
                    <a:pt x="90" y="6512"/>
                  </a:lnTo>
                  <a:lnTo>
                    <a:pt x="106" y="6485"/>
                  </a:lnTo>
                  <a:lnTo>
                    <a:pt x="125" y="6459"/>
                  </a:lnTo>
                  <a:lnTo>
                    <a:pt x="144" y="6432"/>
                  </a:lnTo>
                  <a:lnTo>
                    <a:pt x="165" y="6408"/>
                  </a:lnTo>
                  <a:lnTo>
                    <a:pt x="188" y="6384"/>
                  </a:lnTo>
                  <a:lnTo>
                    <a:pt x="1801" y="4771"/>
                  </a:lnTo>
                  <a:lnTo>
                    <a:pt x="1824" y="4748"/>
                  </a:lnTo>
                  <a:lnTo>
                    <a:pt x="1850" y="4727"/>
                  </a:lnTo>
                  <a:lnTo>
                    <a:pt x="1876" y="4707"/>
                  </a:lnTo>
                  <a:lnTo>
                    <a:pt x="1902" y="4689"/>
                  </a:lnTo>
                  <a:lnTo>
                    <a:pt x="1929" y="4671"/>
                  </a:lnTo>
                  <a:lnTo>
                    <a:pt x="1957" y="4656"/>
                  </a:lnTo>
                  <a:lnTo>
                    <a:pt x="1985" y="4642"/>
                  </a:lnTo>
                  <a:lnTo>
                    <a:pt x="2014" y="4630"/>
                  </a:lnTo>
                  <a:lnTo>
                    <a:pt x="2043" y="4619"/>
                  </a:lnTo>
                  <a:lnTo>
                    <a:pt x="2073" y="4609"/>
                  </a:lnTo>
                  <a:lnTo>
                    <a:pt x="2104" y="4601"/>
                  </a:lnTo>
                  <a:lnTo>
                    <a:pt x="2134" y="4595"/>
                  </a:lnTo>
                  <a:lnTo>
                    <a:pt x="2164" y="4590"/>
                  </a:lnTo>
                  <a:lnTo>
                    <a:pt x="2195" y="4586"/>
                  </a:lnTo>
                  <a:lnTo>
                    <a:pt x="2227" y="4584"/>
                  </a:lnTo>
                  <a:lnTo>
                    <a:pt x="2257" y="4583"/>
                  </a:lnTo>
                  <a:lnTo>
                    <a:pt x="2288" y="4584"/>
                  </a:lnTo>
                  <a:lnTo>
                    <a:pt x="2319" y="4586"/>
                  </a:lnTo>
                  <a:lnTo>
                    <a:pt x="2350" y="4590"/>
                  </a:lnTo>
                  <a:lnTo>
                    <a:pt x="2381" y="4595"/>
                  </a:lnTo>
                  <a:lnTo>
                    <a:pt x="2411" y="4601"/>
                  </a:lnTo>
                  <a:lnTo>
                    <a:pt x="2441" y="4609"/>
                  </a:lnTo>
                  <a:lnTo>
                    <a:pt x="2472" y="4619"/>
                  </a:lnTo>
                  <a:lnTo>
                    <a:pt x="2501" y="4630"/>
                  </a:lnTo>
                  <a:lnTo>
                    <a:pt x="2529" y="4642"/>
                  </a:lnTo>
                  <a:lnTo>
                    <a:pt x="2558" y="4656"/>
                  </a:lnTo>
                  <a:lnTo>
                    <a:pt x="2586" y="4671"/>
                  </a:lnTo>
                  <a:lnTo>
                    <a:pt x="2613" y="4689"/>
                  </a:lnTo>
                  <a:lnTo>
                    <a:pt x="2639" y="4707"/>
                  </a:lnTo>
                  <a:lnTo>
                    <a:pt x="2665" y="4727"/>
                  </a:lnTo>
                  <a:lnTo>
                    <a:pt x="2689" y="4748"/>
                  </a:lnTo>
                  <a:lnTo>
                    <a:pt x="2714" y="4770"/>
                  </a:lnTo>
                  <a:lnTo>
                    <a:pt x="5332" y="7384"/>
                  </a:lnTo>
                  <a:lnTo>
                    <a:pt x="5357" y="7406"/>
                  </a:lnTo>
                  <a:lnTo>
                    <a:pt x="5382" y="7427"/>
                  </a:lnTo>
                  <a:lnTo>
                    <a:pt x="5407" y="7448"/>
                  </a:lnTo>
                  <a:lnTo>
                    <a:pt x="5433" y="7466"/>
                  </a:lnTo>
                  <a:lnTo>
                    <a:pt x="5460" y="7483"/>
                  </a:lnTo>
                  <a:lnTo>
                    <a:pt x="5489" y="7498"/>
                  </a:lnTo>
                  <a:lnTo>
                    <a:pt x="5517" y="7512"/>
                  </a:lnTo>
                  <a:lnTo>
                    <a:pt x="5546" y="7524"/>
                  </a:lnTo>
                  <a:lnTo>
                    <a:pt x="5575" y="7535"/>
                  </a:lnTo>
                  <a:lnTo>
                    <a:pt x="5604" y="7545"/>
                  </a:lnTo>
                  <a:lnTo>
                    <a:pt x="5635" y="7553"/>
                  </a:lnTo>
                  <a:lnTo>
                    <a:pt x="5665" y="7559"/>
                  </a:lnTo>
                  <a:lnTo>
                    <a:pt x="5696" y="7565"/>
                  </a:lnTo>
                  <a:lnTo>
                    <a:pt x="5726" y="7569"/>
                  </a:lnTo>
                  <a:lnTo>
                    <a:pt x="5758" y="7571"/>
                  </a:lnTo>
                  <a:lnTo>
                    <a:pt x="5789" y="7572"/>
                  </a:lnTo>
                  <a:lnTo>
                    <a:pt x="5819" y="7571"/>
                  </a:lnTo>
                  <a:lnTo>
                    <a:pt x="5850" y="7569"/>
                  </a:lnTo>
                  <a:lnTo>
                    <a:pt x="5882" y="7565"/>
                  </a:lnTo>
                  <a:lnTo>
                    <a:pt x="5912" y="7559"/>
                  </a:lnTo>
                  <a:lnTo>
                    <a:pt x="5942" y="7552"/>
                  </a:lnTo>
                  <a:lnTo>
                    <a:pt x="5972" y="7544"/>
                  </a:lnTo>
                  <a:lnTo>
                    <a:pt x="6003" y="7535"/>
                  </a:lnTo>
                  <a:lnTo>
                    <a:pt x="6032" y="7524"/>
                  </a:lnTo>
                  <a:lnTo>
                    <a:pt x="6060" y="7512"/>
                  </a:lnTo>
                  <a:lnTo>
                    <a:pt x="6089" y="7498"/>
                  </a:lnTo>
                  <a:lnTo>
                    <a:pt x="6117" y="7482"/>
                  </a:lnTo>
                  <a:lnTo>
                    <a:pt x="6144" y="7465"/>
                  </a:lnTo>
                  <a:lnTo>
                    <a:pt x="6170" y="7447"/>
                  </a:lnTo>
                  <a:lnTo>
                    <a:pt x="6196" y="7426"/>
                  </a:lnTo>
                  <a:lnTo>
                    <a:pt x="6220" y="7405"/>
                  </a:lnTo>
                  <a:lnTo>
                    <a:pt x="6245" y="7383"/>
                  </a:lnTo>
                  <a:lnTo>
                    <a:pt x="13421" y="190"/>
                  </a:lnTo>
                  <a:lnTo>
                    <a:pt x="13445" y="166"/>
                  </a:lnTo>
                  <a:lnTo>
                    <a:pt x="13470" y="145"/>
                  </a:lnTo>
                  <a:lnTo>
                    <a:pt x="13495" y="125"/>
                  </a:lnTo>
                  <a:lnTo>
                    <a:pt x="13521" y="107"/>
                  </a:lnTo>
                  <a:lnTo>
                    <a:pt x="13549" y="90"/>
                  </a:lnTo>
                  <a:lnTo>
                    <a:pt x="13577" y="75"/>
                  </a:lnTo>
                  <a:lnTo>
                    <a:pt x="13605" y="60"/>
                  </a:lnTo>
                  <a:lnTo>
                    <a:pt x="13634" y="47"/>
                  </a:lnTo>
                  <a:lnTo>
                    <a:pt x="13663" y="36"/>
                  </a:lnTo>
                  <a:lnTo>
                    <a:pt x="13693" y="27"/>
                  </a:lnTo>
                  <a:lnTo>
                    <a:pt x="13723" y="19"/>
                  </a:lnTo>
                  <a:lnTo>
                    <a:pt x="13753" y="12"/>
                  </a:lnTo>
                  <a:lnTo>
                    <a:pt x="13784" y="7"/>
                  </a:lnTo>
                  <a:lnTo>
                    <a:pt x="13815" y="3"/>
                  </a:lnTo>
                  <a:lnTo>
                    <a:pt x="13846" y="1"/>
                  </a:lnTo>
                  <a:lnTo>
                    <a:pt x="13877" y="0"/>
                  </a:lnTo>
                  <a:lnTo>
                    <a:pt x="13908" y="1"/>
                  </a:lnTo>
                  <a:lnTo>
                    <a:pt x="13939" y="3"/>
                  </a:lnTo>
                  <a:lnTo>
                    <a:pt x="13970" y="6"/>
                  </a:lnTo>
                  <a:lnTo>
                    <a:pt x="14000" y="11"/>
                  </a:lnTo>
                  <a:lnTo>
                    <a:pt x="14031" y="18"/>
                  </a:lnTo>
                  <a:lnTo>
                    <a:pt x="14062" y="26"/>
                  </a:lnTo>
                  <a:lnTo>
                    <a:pt x="14091" y="35"/>
                  </a:lnTo>
                  <a:lnTo>
                    <a:pt x="14120" y="46"/>
                  </a:lnTo>
                  <a:lnTo>
                    <a:pt x="14149" y="58"/>
                  </a:lnTo>
                  <a:lnTo>
                    <a:pt x="14178" y="73"/>
                  </a:lnTo>
                  <a:lnTo>
                    <a:pt x="14206" y="88"/>
                  </a:lnTo>
                  <a:lnTo>
                    <a:pt x="14233" y="105"/>
                  </a:lnTo>
                  <a:lnTo>
                    <a:pt x="14259" y="123"/>
                  </a:lnTo>
                  <a:lnTo>
                    <a:pt x="14285" y="143"/>
                  </a:lnTo>
                  <a:lnTo>
                    <a:pt x="14310" y="164"/>
                  </a:lnTo>
                  <a:lnTo>
                    <a:pt x="14334" y="186"/>
                  </a:lnTo>
                  <a:lnTo>
                    <a:pt x="15938" y="1780"/>
                  </a:lnTo>
                  <a:lnTo>
                    <a:pt x="15962" y="1804"/>
                  </a:lnTo>
                  <a:lnTo>
                    <a:pt x="15983" y="1829"/>
                  </a:lnTo>
                  <a:lnTo>
                    <a:pt x="16003" y="1855"/>
                  </a:lnTo>
                  <a:lnTo>
                    <a:pt x="16021" y="1881"/>
                  </a:lnTo>
                  <a:lnTo>
                    <a:pt x="16038" y="1908"/>
                  </a:lnTo>
                  <a:lnTo>
                    <a:pt x="16053" y="1935"/>
                  </a:lnTo>
                  <a:lnTo>
                    <a:pt x="16068" y="1964"/>
                  </a:lnTo>
                  <a:lnTo>
                    <a:pt x="16081" y="1993"/>
                  </a:lnTo>
                  <a:lnTo>
                    <a:pt x="16092" y="2022"/>
                  </a:lnTo>
                  <a:lnTo>
                    <a:pt x="16101" y="2051"/>
                  </a:lnTo>
                  <a:lnTo>
                    <a:pt x="16109" y="2082"/>
                  </a:lnTo>
                  <a:lnTo>
                    <a:pt x="16116" y="2112"/>
                  </a:lnTo>
                  <a:lnTo>
                    <a:pt x="16121" y="2143"/>
                  </a:lnTo>
                  <a:lnTo>
                    <a:pt x="16125" y="2173"/>
                  </a:lnTo>
                  <a:lnTo>
                    <a:pt x="16127" y="2205"/>
                  </a:lnTo>
                  <a:lnTo>
                    <a:pt x="16128" y="2236"/>
                  </a:lnTo>
                  <a:lnTo>
                    <a:pt x="16127" y="2266"/>
                  </a:lnTo>
                  <a:lnTo>
                    <a:pt x="16125" y="2297"/>
                  </a:lnTo>
                  <a:lnTo>
                    <a:pt x="16122" y="2328"/>
                  </a:lnTo>
                  <a:lnTo>
                    <a:pt x="16117" y="2359"/>
                  </a:lnTo>
                  <a:lnTo>
                    <a:pt x="16110" y="2389"/>
                  </a:lnTo>
                  <a:lnTo>
                    <a:pt x="16102" y="2419"/>
                  </a:lnTo>
                  <a:lnTo>
                    <a:pt x="16093" y="2449"/>
                  </a:lnTo>
                  <a:lnTo>
                    <a:pt x="16082" y="2478"/>
                  </a:lnTo>
                  <a:lnTo>
                    <a:pt x="16069" y="2507"/>
                  </a:lnTo>
                  <a:lnTo>
                    <a:pt x="16055" y="2535"/>
                  </a:lnTo>
                  <a:lnTo>
                    <a:pt x="16039" y="2564"/>
                  </a:lnTo>
                  <a:lnTo>
                    <a:pt x="16023" y="2591"/>
                  </a:lnTo>
                  <a:lnTo>
                    <a:pt x="16004" y="2617"/>
                  </a:lnTo>
                  <a:lnTo>
                    <a:pt x="15985" y="2642"/>
                  </a:lnTo>
                  <a:lnTo>
                    <a:pt x="15964" y="2667"/>
                  </a:lnTo>
                  <a:lnTo>
                    <a:pt x="15941" y="2692"/>
                  </a:lnTo>
                  <a:lnTo>
                    <a:pt x="7238" y="11415"/>
                  </a:lnTo>
                  <a:lnTo>
                    <a:pt x="7214" y="11439"/>
                  </a:lnTo>
                  <a:lnTo>
                    <a:pt x="7188" y="11462"/>
                  </a:lnTo>
                  <a:lnTo>
                    <a:pt x="7162" y="11485"/>
                  </a:lnTo>
                  <a:lnTo>
                    <a:pt x="7134" y="11507"/>
                  </a:lnTo>
                  <a:lnTo>
                    <a:pt x="7104" y="11529"/>
                  </a:lnTo>
                  <a:lnTo>
                    <a:pt x="7074" y="11550"/>
                  </a:lnTo>
                  <a:lnTo>
                    <a:pt x="7043" y="11572"/>
                  </a:lnTo>
                  <a:lnTo>
                    <a:pt x="7011" y="11593"/>
                  </a:lnTo>
                  <a:lnTo>
                    <a:pt x="6977" y="11613"/>
                  </a:lnTo>
                  <a:lnTo>
                    <a:pt x="6943" y="11632"/>
                  </a:lnTo>
                  <a:lnTo>
                    <a:pt x="6909" y="11651"/>
                  </a:lnTo>
                  <a:lnTo>
                    <a:pt x="6874" y="11670"/>
                  </a:lnTo>
                  <a:lnTo>
                    <a:pt x="6837" y="11688"/>
                  </a:lnTo>
                  <a:lnTo>
                    <a:pt x="6801" y="11706"/>
                  </a:lnTo>
                  <a:lnTo>
                    <a:pt x="6765" y="11722"/>
                  </a:lnTo>
                  <a:lnTo>
                    <a:pt x="6727" y="11738"/>
                  </a:lnTo>
                  <a:lnTo>
                    <a:pt x="6689" y="11753"/>
                  </a:lnTo>
                  <a:lnTo>
                    <a:pt x="6652" y="11767"/>
                  </a:lnTo>
                  <a:lnTo>
                    <a:pt x="6613" y="11781"/>
                  </a:lnTo>
                  <a:lnTo>
                    <a:pt x="6576" y="11793"/>
                  </a:lnTo>
                  <a:lnTo>
                    <a:pt x="6538" y="11805"/>
                  </a:lnTo>
                  <a:lnTo>
                    <a:pt x="6500" y="11817"/>
                  </a:lnTo>
                  <a:lnTo>
                    <a:pt x="6461" y="11827"/>
                  </a:lnTo>
                  <a:lnTo>
                    <a:pt x="6424" y="11836"/>
                  </a:lnTo>
                  <a:lnTo>
                    <a:pt x="6387" y="11844"/>
                  </a:lnTo>
                  <a:lnTo>
                    <a:pt x="6349" y="11852"/>
                  </a:lnTo>
                  <a:lnTo>
                    <a:pt x="6313" y="11858"/>
                  </a:lnTo>
                  <a:lnTo>
                    <a:pt x="6277" y="11863"/>
                  </a:lnTo>
                  <a:lnTo>
                    <a:pt x="6241" y="11867"/>
                  </a:lnTo>
                  <a:lnTo>
                    <a:pt x="6205" y="11870"/>
                  </a:lnTo>
                  <a:lnTo>
                    <a:pt x="6171" y="11871"/>
                  </a:lnTo>
                  <a:lnTo>
                    <a:pt x="6138" y="11872"/>
                  </a:lnTo>
                  <a:lnTo>
                    <a:pt x="5386" y="11872"/>
                  </a:lnTo>
                  <a:lnTo>
                    <a:pt x="5352" y="11871"/>
                  </a:lnTo>
                  <a:lnTo>
                    <a:pt x="5318" y="11870"/>
                  </a:lnTo>
                  <a:lnTo>
                    <a:pt x="5283" y="11867"/>
                  </a:lnTo>
                  <a:lnTo>
                    <a:pt x="5247" y="11863"/>
                  </a:lnTo>
                  <a:lnTo>
                    <a:pt x="5210" y="11858"/>
                  </a:lnTo>
                  <a:lnTo>
                    <a:pt x="5174" y="11851"/>
                  </a:lnTo>
                  <a:lnTo>
                    <a:pt x="5137" y="11844"/>
                  </a:lnTo>
                  <a:lnTo>
                    <a:pt x="5099" y="11836"/>
                  </a:lnTo>
                  <a:lnTo>
                    <a:pt x="5062" y="11827"/>
                  </a:lnTo>
                  <a:lnTo>
                    <a:pt x="5024" y="11817"/>
                  </a:lnTo>
                  <a:lnTo>
                    <a:pt x="4986" y="11805"/>
                  </a:lnTo>
                  <a:lnTo>
                    <a:pt x="4948" y="11793"/>
                  </a:lnTo>
                  <a:lnTo>
                    <a:pt x="4910" y="11780"/>
                  </a:lnTo>
                  <a:lnTo>
                    <a:pt x="4872" y="11767"/>
                  </a:lnTo>
                  <a:lnTo>
                    <a:pt x="4834" y="11753"/>
                  </a:lnTo>
                  <a:lnTo>
                    <a:pt x="4796" y="11738"/>
                  </a:lnTo>
                  <a:lnTo>
                    <a:pt x="4760" y="11722"/>
                  </a:lnTo>
                  <a:lnTo>
                    <a:pt x="4722" y="11705"/>
                  </a:lnTo>
                  <a:lnTo>
                    <a:pt x="4686" y="11688"/>
                  </a:lnTo>
                  <a:lnTo>
                    <a:pt x="4650" y="11669"/>
                  </a:lnTo>
                  <a:lnTo>
                    <a:pt x="4615" y="11651"/>
                  </a:lnTo>
                  <a:lnTo>
                    <a:pt x="4580" y="11632"/>
                  </a:lnTo>
                  <a:lnTo>
                    <a:pt x="4546" y="11612"/>
                  </a:lnTo>
                  <a:lnTo>
                    <a:pt x="4513" y="11592"/>
                  </a:lnTo>
                  <a:lnTo>
                    <a:pt x="4481" y="11572"/>
                  </a:lnTo>
                  <a:lnTo>
                    <a:pt x="4449" y="11550"/>
                  </a:lnTo>
                  <a:lnTo>
                    <a:pt x="4419" y="11528"/>
                  </a:lnTo>
                  <a:lnTo>
                    <a:pt x="4390" y="11506"/>
                  </a:lnTo>
                  <a:lnTo>
                    <a:pt x="4363" y="11484"/>
                  </a:lnTo>
                  <a:lnTo>
                    <a:pt x="4335" y="11462"/>
                  </a:lnTo>
                  <a:lnTo>
                    <a:pt x="4310" y="11439"/>
                  </a:lnTo>
                  <a:lnTo>
                    <a:pt x="4286" y="11414"/>
                  </a:lnTo>
                  <a:lnTo>
                    <a:pt x="187" y="7297"/>
                  </a:lnTo>
                  <a:close/>
                </a:path>
              </a:pathLst>
            </a:custGeom>
            <a:solidFill>
              <a:schemeClr val="bg1"/>
            </a:solidFill>
            <a:ln w="19050">
              <a:noFill/>
            </a:ln>
          </p:spPr>
          <p:txBody>
            <a:bodyPr vert="horz" wrap="square" lIns="91440" tIns="45720" rIns="91440" bIns="45720" numCol="1" anchor="t" anchorCtr="0" compatLnSpc="1"/>
            <a:lstStyle/>
            <a:p>
              <a:endParaRPr lang="id-ID" sz="2000">
                <a:latin typeface="Calibri"/>
                <a:ea typeface="微软雅黑"/>
                <a:cs typeface="Open Sans" panose="020B0606030504020204" pitchFamily="34" charset="0"/>
                <a:sym typeface="Calibri"/>
              </a:endParaRPr>
            </a:p>
          </p:txBody>
        </p:sp>
      </p:grpSp>
      <p:sp>
        <p:nvSpPr>
          <p:cNvPr id="72" name="Rectangle 6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013092" y="5156576"/>
            <a:ext cx="4025686" cy="307777"/>
          </a:xfrm>
          <a:prstGeom prst="rect">
            <a:avLst/>
          </a:prstGeom>
        </p:spPr>
        <p:txBody>
          <a:bodyPr wrap="square">
            <a:spAutoFit/>
          </a:bodyPr>
          <a:lstStyle/>
          <a:p>
            <a:r>
              <a:rPr lang="en-US" sz="1400" dirty="0">
                <a:latin typeface="Calibri"/>
                <a:ea typeface="微软雅黑"/>
                <a:cs typeface="Open Sans Light" panose="020B0306030504020204" pitchFamily="34" charset="0"/>
                <a:sym typeface="Calibri"/>
              </a:rPr>
              <a:t>Insert Your Amazing Statement Here</a:t>
            </a:r>
            <a:endParaRPr lang="id-ID" sz="1400" dirty="0">
              <a:latin typeface="Calibri"/>
              <a:ea typeface="微软雅黑"/>
              <a:sym typeface="Calibri"/>
            </a:endParaRPr>
          </a:p>
        </p:txBody>
      </p:sp>
      <p:grpSp>
        <p:nvGrpSpPr>
          <p:cNvPr id="61" name="Group 7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4685496" y="5731432"/>
            <a:ext cx="332230" cy="332229"/>
            <a:chOff x="1407149" y="3549662"/>
            <a:chExt cx="413418" cy="413418"/>
          </a:xfrm>
        </p:grpSpPr>
        <p:sp>
          <p:nvSpPr>
            <p:cNvPr id="68" name="Oval 72"/>
            <p:cNvSpPr/>
            <p:nvPr/>
          </p:nvSpPr>
          <p:spPr>
            <a:xfrm>
              <a:off x="1407149" y="3549662"/>
              <a:ext cx="413418" cy="413418"/>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a:ea typeface="微软雅黑"/>
                <a:sym typeface="Calibri"/>
              </a:endParaRPr>
            </a:p>
          </p:txBody>
        </p:sp>
        <p:sp>
          <p:nvSpPr>
            <p:cNvPr id="69" name="Oval 73"/>
            <p:cNvSpPr/>
            <p:nvPr/>
          </p:nvSpPr>
          <p:spPr>
            <a:xfrm>
              <a:off x="1452286" y="3594799"/>
              <a:ext cx="323144" cy="32314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solidFill>
                  <a:schemeClr val="tx1"/>
                </a:solidFill>
                <a:latin typeface="Calibri"/>
                <a:ea typeface="微软雅黑"/>
                <a:sym typeface="Calibri"/>
              </a:endParaRPr>
            </a:p>
          </p:txBody>
        </p:sp>
        <p:sp>
          <p:nvSpPr>
            <p:cNvPr id="70" name="Freeform 229"/>
            <p:cNvSpPr/>
            <p:nvPr/>
          </p:nvSpPr>
          <p:spPr bwMode="auto">
            <a:xfrm>
              <a:off x="1553302" y="3714766"/>
              <a:ext cx="121113" cy="83211"/>
            </a:xfrm>
            <a:custGeom>
              <a:avLst/>
              <a:gdLst>
                <a:gd name="T0" fmla="*/ 124 w 16128"/>
                <a:gd name="T1" fmla="*/ 7223 h 11872"/>
                <a:gd name="T2" fmla="*/ 59 w 16128"/>
                <a:gd name="T3" fmla="*/ 7113 h 11872"/>
                <a:gd name="T4" fmla="*/ 18 w 16128"/>
                <a:gd name="T5" fmla="*/ 6994 h 11872"/>
                <a:gd name="T6" fmla="*/ 1 w 16128"/>
                <a:gd name="T7" fmla="*/ 6871 h 11872"/>
                <a:gd name="T8" fmla="*/ 7 w 16128"/>
                <a:gd name="T9" fmla="*/ 6747 h 11872"/>
                <a:gd name="T10" fmla="*/ 36 w 16128"/>
                <a:gd name="T11" fmla="*/ 6626 h 11872"/>
                <a:gd name="T12" fmla="*/ 90 w 16128"/>
                <a:gd name="T13" fmla="*/ 6512 h 11872"/>
                <a:gd name="T14" fmla="*/ 165 w 16128"/>
                <a:gd name="T15" fmla="*/ 6408 h 11872"/>
                <a:gd name="T16" fmla="*/ 1850 w 16128"/>
                <a:gd name="T17" fmla="*/ 4727 h 11872"/>
                <a:gd name="T18" fmla="*/ 1957 w 16128"/>
                <a:gd name="T19" fmla="*/ 4656 h 11872"/>
                <a:gd name="T20" fmla="*/ 2073 w 16128"/>
                <a:gd name="T21" fmla="*/ 4609 h 11872"/>
                <a:gd name="T22" fmla="*/ 2195 w 16128"/>
                <a:gd name="T23" fmla="*/ 4586 h 11872"/>
                <a:gd name="T24" fmla="*/ 2319 w 16128"/>
                <a:gd name="T25" fmla="*/ 4586 h 11872"/>
                <a:gd name="T26" fmla="*/ 2441 w 16128"/>
                <a:gd name="T27" fmla="*/ 4609 h 11872"/>
                <a:gd name="T28" fmla="*/ 2558 w 16128"/>
                <a:gd name="T29" fmla="*/ 4656 h 11872"/>
                <a:gd name="T30" fmla="*/ 2665 w 16128"/>
                <a:gd name="T31" fmla="*/ 4727 h 11872"/>
                <a:gd name="T32" fmla="*/ 5357 w 16128"/>
                <a:gd name="T33" fmla="*/ 7406 h 11872"/>
                <a:gd name="T34" fmla="*/ 5460 w 16128"/>
                <a:gd name="T35" fmla="*/ 7483 h 11872"/>
                <a:gd name="T36" fmla="*/ 5575 w 16128"/>
                <a:gd name="T37" fmla="*/ 7535 h 11872"/>
                <a:gd name="T38" fmla="*/ 5696 w 16128"/>
                <a:gd name="T39" fmla="*/ 7565 h 11872"/>
                <a:gd name="T40" fmla="*/ 5819 w 16128"/>
                <a:gd name="T41" fmla="*/ 7571 h 11872"/>
                <a:gd name="T42" fmla="*/ 5942 w 16128"/>
                <a:gd name="T43" fmla="*/ 7552 h 11872"/>
                <a:gd name="T44" fmla="*/ 6060 w 16128"/>
                <a:gd name="T45" fmla="*/ 7512 h 11872"/>
                <a:gd name="T46" fmla="*/ 6170 w 16128"/>
                <a:gd name="T47" fmla="*/ 7447 h 11872"/>
                <a:gd name="T48" fmla="*/ 13421 w 16128"/>
                <a:gd name="T49" fmla="*/ 190 h 11872"/>
                <a:gd name="T50" fmla="*/ 13521 w 16128"/>
                <a:gd name="T51" fmla="*/ 107 h 11872"/>
                <a:gd name="T52" fmla="*/ 13634 w 16128"/>
                <a:gd name="T53" fmla="*/ 47 h 11872"/>
                <a:gd name="T54" fmla="*/ 13753 w 16128"/>
                <a:gd name="T55" fmla="*/ 12 h 11872"/>
                <a:gd name="T56" fmla="*/ 13877 w 16128"/>
                <a:gd name="T57" fmla="*/ 0 h 11872"/>
                <a:gd name="T58" fmla="*/ 14000 w 16128"/>
                <a:gd name="T59" fmla="*/ 11 h 11872"/>
                <a:gd name="T60" fmla="*/ 14120 w 16128"/>
                <a:gd name="T61" fmla="*/ 46 h 11872"/>
                <a:gd name="T62" fmla="*/ 14233 w 16128"/>
                <a:gd name="T63" fmla="*/ 105 h 11872"/>
                <a:gd name="T64" fmla="*/ 14334 w 16128"/>
                <a:gd name="T65" fmla="*/ 186 h 11872"/>
                <a:gd name="T66" fmla="*/ 16003 w 16128"/>
                <a:gd name="T67" fmla="*/ 1855 h 11872"/>
                <a:gd name="T68" fmla="*/ 16068 w 16128"/>
                <a:gd name="T69" fmla="*/ 1964 h 11872"/>
                <a:gd name="T70" fmla="*/ 16109 w 16128"/>
                <a:gd name="T71" fmla="*/ 2082 h 11872"/>
                <a:gd name="T72" fmla="*/ 16127 w 16128"/>
                <a:gd name="T73" fmla="*/ 2205 h 11872"/>
                <a:gd name="T74" fmla="*/ 16122 w 16128"/>
                <a:gd name="T75" fmla="*/ 2328 h 11872"/>
                <a:gd name="T76" fmla="*/ 16093 w 16128"/>
                <a:gd name="T77" fmla="*/ 2449 h 11872"/>
                <a:gd name="T78" fmla="*/ 16039 w 16128"/>
                <a:gd name="T79" fmla="*/ 2564 h 11872"/>
                <a:gd name="T80" fmla="*/ 15964 w 16128"/>
                <a:gd name="T81" fmla="*/ 2667 h 11872"/>
                <a:gd name="T82" fmla="*/ 7188 w 16128"/>
                <a:gd name="T83" fmla="*/ 11462 h 11872"/>
                <a:gd name="T84" fmla="*/ 7074 w 16128"/>
                <a:gd name="T85" fmla="*/ 11550 h 11872"/>
                <a:gd name="T86" fmla="*/ 6943 w 16128"/>
                <a:gd name="T87" fmla="*/ 11632 h 11872"/>
                <a:gd name="T88" fmla="*/ 6801 w 16128"/>
                <a:gd name="T89" fmla="*/ 11706 h 11872"/>
                <a:gd name="T90" fmla="*/ 6652 w 16128"/>
                <a:gd name="T91" fmla="*/ 11767 h 11872"/>
                <a:gd name="T92" fmla="*/ 6500 w 16128"/>
                <a:gd name="T93" fmla="*/ 11817 h 11872"/>
                <a:gd name="T94" fmla="*/ 6349 w 16128"/>
                <a:gd name="T95" fmla="*/ 11852 h 11872"/>
                <a:gd name="T96" fmla="*/ 6205 w 16128"/>
                <a:gd name="T97" fmla="*/ 11870 h 11872"/>
                <a:gd name="T98" fmla="*/ 5352 w 16128"/>
                <a:gd name="T99" fmla="*/ 11871 h 11872"/>
                <a:gd name="T100" fmla="*/ 5210 w 16128"/>
                <a:gd name="T101" fmla="*/ 11858 h 11872"/>
                <a:gd name="T102" fmla="*/ 5062 w 16128"/>
                <a:gd name="T103" fmla="*/ 11827 h 11872"/>
                <a:gd name="T104" fmla="*/ 4910 w 16128"/>
                <a:gd name="T105" fmla="*/ 11780 h 11872"/>
                <a:gd name="T106" fmla="*/ 4760 w 16128"/>
                <a:gd name="T107" fmla="*/ 11722 h 11872"/>
                <a:gd name="T108" fmla="*/ 4615 w 16128"/>
                <a:gd name="T109" fmla="*/ 11651 h 11872"/>
                <a:gd name="T110" fmla="*/ 4481 w 16128"/>
                <a:gd name="T111" fmla="*/ 11572 h 11872"/>
                <a:gd name="T112" fmla="*/ 4363 w 16128"/>
                <a:gd name="T113" fmla="*/ 11484 h 11872"/>
                <a:gd name="T114" fmla="*/ 187 w 16128"/>
                <a:gd name="T115" fmla="*/ 7297 h 118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128" h="11872">
                  <a:moveTo>
                    <a:pt x="187" y="7297"/>
                  </a:moveTo>
                  <a:lnTo>
                    <a:pt x="164" y="7273"/>
                  </a:lnTo>
                  <a:lnTo>
                    <a:pt x="143" y="7248"/>
                  </a:lnTo>
                  <a:lnTo>
                    <a:pt x="124" y="7223"/>
                  </a:lnTo>
                  <a:lnTo>
                    <a:pt x="106" y="7196"/>
                  </a:lnTo>
                  <a:lnTo>
                    <a:pt x="89" y="7168"/>
                  </a:lnTo>
                  <a:lnTo>
                    <a:pt x="74" y="7141"/>
                  </a:lnTo>
                  <a:lnTo>
                    <a:pt x="59" y="7113"/>
                  </a:lnTo>
                  <a:lnTo>
                    <a:pt x="46" y="7084"/>
                  </a:lnTo>
                  <a:lnTo>
                    <a:pt x="35" y="7054"/>
                  </a:lnTo>
                  <a:lnTo>
                    <a:pt x="26" y="7024"/>
                  </a:lnTo>
                  <a:lnTo>
                    <a:pt x="18" y="6994"/>
                  </a:lnTo>
                  <a:lnTo>
                    <a:pt x="12" y="6964"/>
                  </a:lnTo>
                  <a:lnTo>
                    <a:pt x="6" y="6933"/>
                  </a:lnTo>
                  <a:lnTo>
                    <a:pt x="3" y="6902"/>
                  </a:lnTo>
                  <a:lnTo>
                    <a:pt x="1" y="6871"/>
                  </a:lnTo>
                  <a:lnTo>
                    <a:pt x="0" y="6841"/>
                  </a:lnTo>
                  <a:lnTo>
                    <a:pt x="1" y="6809"/>
                  </a:lnTo>
                  <a:lnTo>
                    <a:pt x="3" y="6778"/>
                  </a:lnTo>
                  <a:lnTo>
                    <a:pt x="7" y="6747"/>
                  </a:lnTo>
                  <a:lnTo>
                    <a:pt x="12" y="6717"/>
                  </a:lnTo>
                  <a:lnTo>
                    <a:pt x="18" y="6687"/>
                  </a:lnTo>
                  <a:lnTo>
                    <a:pt x="26" y="6656"/>
                  </a:lnTo>
                  <a:lnTo>
                    <a:pt x="36" y="6626"/>
                  </a:lnTo>
                  <a:lnTo>
                    <a:pt x="47" y="6597"/>
                  </a:lnTo>
                  <a:lnTo>
                    <a:pt x="59" y="6569"/>
                  </a:lnTo>
                  <a:lnTo>
                    <a:pt x="74" y="6539"/>
                  </a:lnTo>
                  <a:lnTo>
                    <a:pt x="90" y="6512"/>
                  </a:lnTo>
                  <a:lnTo>
                    <a:pt x="106" y="6485"/>
                  </a:lnTo>
                  <a:lnTo>
                    <a:pt x="125" y="6459"/>
                  </a:lnTo>
                  <a:lnTo>
                    <a:pt x="144" y="6432"/>
                  </a:lnTo>
                  <a:lnTo>
                    <a:pt x="165" y="6408"/>
                  </a:lnTo>
                  <a:lnTo>
                    <a:pt x="188" y="6384"/>
                  </a:lnTo>
                  <a:lnTo>
                    <a:pt x="1801" y="4771"/>
                  </a:lnTo>
                  <a:lnTo>
                    <a:pt x="1824" y="4748"/>
                  </a:lnTo>
                  <a:lnTo>
                    <a:pt x="1850" y="4727"/>
                  </a:lnTo>
                  <a:lnTo>
                    <a:pt x="1876" y="4707"/>
                  </a:lnTo>
                  <a:lnTo>
                    <a:pt x="1902" y="4689"/>
                  </a:lnTo>
                  <a:lnTo>
                    <a:pt x="1929" y="4671"/>
                  </a:lnTo>
                  <a:lnTo>
                    <a:pt x="1957" y="4656"/>
                  </a:lnTo>
                  <a:lnTo>
                    <a:pt x="1985" y="4642"/>
                  </a:lnTo>
                  <a:lnTo>
                    <a:pt x="2014" y="4630"/>
                  </a:lnTo>
                  <a:lnTo>
                    <a:pt x="2043" y="4619"/>
                  </a:lnTo>
                  <a:lnTo>
                    <a:pt x="2073" y="4609"/>
                  </a:lnTo>
                  <a:lnTo>
                    <a:pt x="2104" y="4601"/>
                  </a:lnTo>
                  <a:lnTo>
                    <a:pt x="2134" y="4595"/>
                  </a:lnTo>
                  <a:lnTo>
                    <a:pt x="2164" y="4590"/>
                  </a:lnTo>
                  <a:lnTo>
                    <a:pt x="2195" y="4586"/>
                  </a:lnTo>
                  <a:lnTo>
                    <a:pt x="2227" y="4584"/>
                  </a:lnTo>
                  <a:lnTo>
                    <a:pt x="2257" y="4583"/>
                  </a:lnTo>
                  <a:lnTo>
                    <a:pt x="2288" y="4584"/>
                  </a:lnTo>
                  <a:lnTo>
                    <a:pt x="2319" y="4586"/>
                  </a:lnTo>
                  <a:lnTo>
                    <a:pt x="2350" y="4590"/>
                  </a:lnTo>
                  <a:lnTo>
                    <a:pt x="2381" y="4595"/>
                  </a:lnTo>
                  <a:lnTo>
                    <a:pt x="2411" y="4601"/>
                  </a:lnTo>
                  <a:lnTo>
                    <a:pt x="2441" y="4609"/>
                  </a:lnTo>
                  <a:lnTo>
                    <a:pt x="2472" y="4619"/>
                  </a:lnTo>
                  <a:lnTo>
                    <a:pt x="2501" y="4630"/>
                  </a:lnTo>
                  <a:lnTo>
                    <a:pt x="2529" y="4642"/>
                  </a:lnTo>
                  <a:lnTo>
                    <a:pt x="2558" y="4656"/>
                  </a:lnTo>
                  <a:lnTo>
                    <a:pt x="2586" y="4671"/>
                  </a:lnTo>
                  <a:lnTo>
                    <a:pt x="2613" y="4689"/>
                  </a:lnTo>
                  <a:lnTo>
                    <a:pt x="2639" y="4707"/>
                  </a:lnTo>
                  <a:lnTo>
                    <a:pt x="2665" y="4727"/>
                  </a:lnTo>
                  <a:lnTo>
                    <a:pt x="2689" y="4748"/>
                  </a:lnTo>
                  <a:lnTo>
                    <a:pt x="2714" y="4770"/>
                  </a:lnTo>
                  <a:lnTo>
                    <a:pt x="5332" y="7384"/>
                  </a:lnTo>
                  <a:lnTo>
                    <a:pt x="5357" y="7406"/>
                  </a:lnTo>
                  <a:lnTo>
                    <a:pt x="5382" y="7427"/>
                  </a:lnTo>
                  <a:lnTo>
                    <a:pt x="5407" y="7448"/>
                  </a:lnTo>
                  <a:lnTo>
                    <a:pt x="5433" y="7466"/>
                  </a:lnTo>
                  <a:lnTo>
                    <a:pt x="5460" y="7483"/>
                  </a:lnTo>
                  <a:lnTo>
                    <a:pt x="5489" y="7498"/>
                  </a:lnTo>
                  <a:lnTo>
                    <a:pt x="5517" y="7512"/>
                  </a:lnTo>
                  <a:lnTo>
                    <a:pt x="5546" y="7524"/>
                  </a:lnTo>
                  <a:lnTo>
                    <a:pt x="5575" y="7535"/>
                  </a:lnTo>
                  <a:lnTo>
                    <a:pt x="5604" y="7545"/>
                  </a:lnTo>
                  <a:lnTo>
                    <a:pt x="5635" y="7553"/>
                  </a:lnTo>
                  <a:lnTo>
                    <a:pt x="5665" y="7559"/>
                  </a:lnTo>
                  <a:lnTo>
                    <a:pt x="5696" y="7565"/>
                  </a:lnTo>
                  <a:lnTo>
                    <a:pt x="5726" y="7569"/>
                  </a:lnTo>
                  <a:lnTo>
                    <a:pt x="5758" y="7571"/>
                  </a:lnTo>
                  <a:lnTo>
                    <a:pt x="5789" y="7572"/>
                  </a:lnTo>
                  <a:lnTo>
                    <a:pt x="5819" y="7571"/>
                  </a:lnTo>
                  <a:lnTo>
                    <a:pt x="5850" y="7569"/>
                  </a:lnTo>
                  <a:lnTo>
                    <a:pt x="5882" y="7565"/>
                  </a:lnTo>
                  <a:lnTo>
                    <a:pt x="5912" y="7559"/>
                  </a:lnTo>
                  <a:lnTo>
                    <a:pt x="5942" y="7552"/>
                  </a:lnTo>
                  <a:lnTo>
                    <a:pt x="5972" y="7544"/>
                  </a:lnTo>
                  <a:lnTo>
                    <a:pt x="6003" y="7535"/>
                  </a:lnTo>
                  <a:lnTo>
                    <a:pt x="6032" y="7524"/>
                  </a:lnTo>
                  <a:lnTo>
                    <a:pt x="6060" y="7512"/>
                  </a:lnTo>
                  <a:lnTo>
                    <a:pt x="6089" y="7498"/>
                  </a:lnTo>
                  <a:lnTo>
                    <a:pt x="6117" y="7482"/>
                  </a:lnTo>
                  <a:lnTo>
                    <a:pt x="6144" y="7465"/>
                  </a:lnTo>
                  <a:lnTo>
                    <a:pt x="6170" y="7447"/>
                  </a:lnTo>
                  <a:lnTo>
                    <a:pt x="6196" y="7426"/>
                  </a:lnTo>
                  <a:lnTo>
                    <a:pt x="6220" y="7405"/>
                  </a:lnTo>
                  <a:lnTo>
                    <a:pt x="6245" y="7383"/>
                  </a:lnTo>
                  <a:lnTo>
                    <a:pt x="13421" y="190"/>
                  </a:lnTo>
                  <a:lnTo>
                    <a:pt x="13445" y="166"/>
                  </a:lnTo>
                  <a:lnTo>
                    <a:pt x="13470" y="145"/>
                  </a:lnTo>
                  <a:lnTo>
                    <a:pt x="13495" y="125"/>
                  </a:lnTo>
                  <a:lnTo>
                    <a:pt x="13521" y="107"/>
                  </a:lnTo>
                  <a:lnTo>
                    <a:pt x="13549" y="90"/>
                  </a:lnTo>
                  <a:lnTo>
                    <a:pt x="13577" y="75"/>
                  </a:lnTo>
                  <a:lnTo>
                    <a:pt x="13605" y="60"/>
                  </a:lnTo>
                  <a:lnTo>
                    <a:pt x="13634" y="47"/>
                  </a:lnTo>
                  <a:lnTo>
                    <a:pt x="13663" y="36"/>
                  </a:lnTo>
                  <a:lnTo>
                    <a:pt x="13693" y="27"/>
                  </a:lnTo>
                  <a:lnTo>
                    <a:pt x="13723" y="19"/>
                  </a:lnTo>
                  <a:lnTo>
                    <a:pt x="13753" y="12"/>
                  </a:lnTo>
                  <a:lnTo>
                    <a:pt x="13784" y="7"/>
                  </a:lnTo>
                  <a:lnTo>
                    <a:pt x="13815" y="3"/>
                  </a:lnTo>
                  <a:lnTo>
                    <a:pt x="13846" y="1"/>
                  </a:lnTo>
                  <a:lnTo>
                    <a:pt x="13877" y="0"/>
                  </a:lnTo>
                  <a:lnTo>
                    <a:pt x="13908" y="1"/>
                  </a:lnTo>
                  <a:lnTo>
                    <a:pt x="13939" y="3"/>
                  </a:lnTo>
                  <a:lnTo>
                    <a:pt x="13970" y="6"/>
                  </a:lnTo>
                  <a:lnTo>
                    <a:pt x="14000" y="11"/>
                  </a:lnTo>
                  <a:lnTo>
                    <a:pt x="14031" y="18"/>
                  </a:lnTo>
                  <a:lnTo>
                    <a:pt x="14062" y="26"/>
                  </a:lnTo>
                  <a:lnTo>
                    <a:pt x="14091" y="35"/>
                  </a:lnTo>
                  <a:lnTo>
                    <a:pt x="14120" y="46"/>
                  </a:lnTo>
                  <a:lnTo>
                    <a:pt x="14149" y="58"/>
                  </a:lnTo>
                  <a:lnTo>
                    <a:pt x="14178" y="73"/>
                  </a:lnTo>
                  <a:lnTo>
                    <a:pt x="14206" y="88"/>
                  </a:lnTo>
                  <a:lnTo>
                    <a:pt x="14233" y="105"/>
                  </a:lnTo>
                  <a:lnTo>
                    <a:pt x="14259" y="123"/>
                  </a:lnTo>
                  <a:lnTo>
                    <a:pt x="14285" y="143"/>
                  </a:lnTo>
                  <a:lnTo>
                    <a:pt x="14310" y="164"/>
                  </a:lnTo>
                  <a:lnTo>
                    <a:pt x="14334" y="186"/>
                  </a:lnTo>
                  <a:lnTo>
                    <a:pt x="15938" y="1780"/>
                  </a:lnTo>
                  <a:lnTo>
                    <a:pt x="15962" y="1804"/>
                  </a:lnTo>
                  <a:lnTo>
                    <a:pt x="15983" y="1829"/>
                  </a:lnTo>
                  <a:lnTo>
                    <a:pt x="16003" y="1855"/>
                  </a:lnTo>
                  <a:lnTo>
                    <a:pt x="16021" y="1881"/>
                  </a:lnTo>
                  <a:lnTo>
                    <a:pt x="16038" y="1908"/>
                  </a:lnTo>
                  <a:lnTo>
                    <a:pt x="16053" y="1935"/>
                  </a:lnTo>
                  <a:lnTo>
                    <a:pt x="16068" y="1964"/>
                  </a:lnTo>
                  <a:lnTo>
                    <a:pt x="16081" y="1993"/>
                  </a:lnTo>
                  <a:lnTo>
                    <a:pt x="16092" y="2022"/>
                  </a:lnTo>
                  <a:lnTo>
                    <a:pt x="16101" y="2051"/>
                  </a:lnTo>
                  <a:lnTo>
                    <a:pt x="16109" y="2082"/>
                  </a:lnTo>
                  <a:lnTo>
                    <a:pt x="16116" y="2112"/>
                  </a:lnTo>
                  <a:lnTo>
                    <a:pt x="16121" y="2143"/>
                  </a:lnTo>
                  <a:lnTo>
                    <a:pt x="16125" y="2173"/>
                  </a:lnTo>
                  <a:lnTo>
                    <a:pt x="16127" y="2205"/>
                  </a:lnTo>
                  <a:lnTo>
                    <a:pt x="16128" y="2236"/>
                  </a:lnTo>
                  <a:lnTo>
                    <a:pt x="16127" y="2266"/>
                  </a:lnTo>
                  <a:lnTo>
                    <a:pt x="16125" y="2297"/>
                  </a:lnTo>
                  <a:lnTo>
                    <a:pt x="16122" y="2328"/>
                  </a:lnTo>
                  <a:lnTo>
                    <a:pt x="16117" y="2359"/>
                  </a:lnTo>
                  <a:lnTo>
                    <a:pt x="16110" y="2389"/>
                  </a:lnTo>
                  <a:lnTo>
                    <a:pt x="16102" y="2419"/>
                  </a:lnTo>
                  <a:lnTo>
                    <a:pt x="16093" y="2449"/>
                  </a:lnTo>
                  <a:lnTo>
                    <a:pt x="16082" y="2478"/>
                  </a:lnTo>
                  <a:lnTo>
                    <a:pt x="16069" y="2507"/>
                  </a:lnTo>
                  <a:lnTo>
                    <a:pt x="16055" y="2535"/>
                  </a:lnTo>
                  <a:lnTo>
                    <a:pt x="16039" y="2564"/>
                  </a:lnTo>
                  <a:lnTo>
                    <a:pt x="16023" y="2591"/>
                  </a:lnTo>
                  <a:lnTo>
                    <a:pt x="16004" y="2617"/>
                  </a:lnTo>
                  <a:lnTo>
                    <a:pt x="15985" y="2642"/>
                  </a:lnTo>
                  <a:lnTo>
                    <a:pt x="15964" y="2667"/>
                  </a:lnTo>
                  <a:lnTo>
                    <a:pt x="15941" y="2692"/>
                  </a:lnTo>
                  <a:lnTo>
                    <a:pt x="7238" y="11415"/>
                  </a:lnTo>
                  <a:lnTo>
                    <a:pt x="7214" y="11439"/>
                  </a:lnTo>
                  <a:lnTo>
                    <a:pt x="7188" y="11462"/>
                  </a:lnTo>
                  <a:lnTo>
                    <a:pt x="7162" y="11485"/>
                  </a:lnTo>
                  <a:lnTo>
                    <a:pt x="7134" y="11507"/>
                  </a:lnTo>
                  <a:lnTo>
                    <a:pt x="7104" y="11529"/>
                  </a:lnTo>
                  <a:lnTo>
                    <a:pt x="7074" y="11550"/>
                  </a:lnTo>
                  <a:lnTo>
                    <a:pt x="7043" y="11572"/>
                  </a:lnTo>
                  <a:lnTo>
                    <a:pt x="7011" y="11593"/>
                  </a:lnTo>
                  <a:lnTo>
                    <a:pt x="6977" y="11613"/>
                  </a:lnTo>
                  <a:lnTo>
                    <a:pt x="6943" y="11632"/>
                  </a:lnTo>
                  <a:lnTo>
                    <a:pt x="6909" y="11651"/>
                  </a:lnTo>
                  <a:lnTo>
                    <a:pt x="6874" y="11670"/>
                  </a:lnTo>
                  <a:lnTo>
                    <a:pt x="6837" y="11688"/>
                  </a:lnTo>
                  <a:lnTo>
                    <a:pt x="6801" y="11706"/>
                  </a:lnTo>
                  <a:lnTo>
                    <a:pt x="6765" y="11722"/>
                  </a:lnTo>
                  <a:lnTo>
                    <a:pt x="6727" y="11738"/>
                  </a:lnTo>
                  <a:lnTo>
                    <a:pt x="6689" y="11753"/>
                  </a:lnTo>
                  <a:lnTo>
                    <a:pt x="6652" y="11767"/>
                  </a:lnTo>
                  <a:lnTo>
                    <a:pt x="6613" y="11781"/>
                  </a:lnTo>
                  <a:lnTo>
                    <a:pt x="6576" y="11793"/>
                  </a:lnTo>
                  <a:lnTo>
                    <a:pt x="6538" y="11805"/>
                  </a:lnTo>
                  <a:lnTo>
                    <a:pt x="6500" y="11817"/>
                  </a:lnTo>
                  <a:lnTo>
                    <a:pt x="6461" y="11827"/>
                  </a:lnTo>
                  <a:lnTo>
                    <a:pt x="6424" y="11836"/>
                  </a:lnTo>
                  <a:lnTo>
                    <a:pt x="6387" y="11844"/>
                  </a:lnTo>
                  <a:lnTo>
                    <a:pt x="6349" y="11852"/>
                  </a:lnTo>
                  <a:lnTo>
                    <a:pt x="6313" y="11858"/>
                  </a:lnTo>
                  <a:lnTo>
                    <a:pt x="6277" y="11863"/>
                  </a:lnTo>
                  <a:lnTo>
                    <a:pt x="6241" y="11867"/>
                  </a:lnTo>
                  <a:lnTo>
                    <a:pt x="6205" y="11870"/>
                  </a:lnTo>
                  <a:lnTo>
                    <a:pt x="6171" y="11871"/>
                  </a:lnTo>
                  <a:lnTo>
                    <a:pt x="6138" y="11872"/>
                  </a:lnTo>
                  <a:lnTo>
                    <a:pt x="5386" y="11872"/>
                  </a:lnTo>
                  <a:lnTo>
                    <a:pt x="5352" y="11871"/>
                  </a:lnTo>
                  <a:lnTo>
                    <a:pt x="5318" y="11870"/>
                  </a:lnTo>
                  <a:lnTo>
                    <a:pt x="5283" y="11867"/>
                  </a:lnTo>
                  <a:lnTo>
                    <a:pt x="5247" y="11863"/>
                  </a:lnTo>
                  <a:lnTo>
                    <a:pt x="5210" y="11858"/>
                  </a:lnTo>
                  <a:lnTo>
                    <a:pt x="5174" y="11851"/>
                  </a:lnTo>
                  <a:lnTo>
                    <a:pt x="5137" y="11844"/>
                  </a:lnTo>
                  <a:lnTo>
                    <a:pt x="5099" y="11836"/>
                  </a:lnTo>
                  <a:lnTo>
                    <a:pt x="5062" y="11827"/>
                  </a:lnTo>
                  <a:lnTo>
                    <a:pt x="5024" y="11817"/>
                  </a:lnTo>
                  <a:lnTo>
                    <a:pt x="4986" y="11805"/>
                  </a:lnTo>
                  <a:lnTo>
                    <a:pt x="4948" y="11793"/>
                  </a:lnTo>
                  <a:lnTo>
                    <a:pt x="4910" y="11780"/>
                  </a:lnTo>
                  <a:lnTo>
                    <a:pt x="4872" y="11767"/>
                  </a:lnTo>
                  <a:lnTo>
                    <a:pt x="4834" y="11753"/>
                  </a:lnTo>
                  <a:lnTo>
                    <a:pt x="4796" y="11738"/>
                  </a:lnTo>
                  <a:lnTo>
                    <a:pt x="4760" y="11722"/>
                  </a:lnTo>
                  <a:lnTo>
                    <a:pt x="4722" y="11705"/>
                  </a:lnTo>
                  <a:lnTo>
                    <a:pt x="4686" y="11688"/>
                  </a:lnTo>
                  <a:lnTo>
                    <a:pt x="4650" y="11669"/>
                  </a:lnTo>
                  <a:lnTo>
                    <a:pt x="4615" y="11651"/>
                  </a:lnTo>
                  <a:lnTo>
                    <a:pt x="4580" y="11632"/>
                  </a:lnTo>
                  <a:lnTo>
                    <a:pt x="4546" y="11612"/>
                  </a:lnTo>
                  <a:lnTo>
                    <a:pt x="4513" y="11592"/>
                  </a:lnTo>
                  <a:lnTo>
                    <a:pt x="4481" y="11572"/>
                  </a:lnTo>
                  <a:lnTo>
                    <a:pt x="4449" y="11550"/>
                  </a:lnTo>
                  <a:lnTo>
                    <a:pt x="4419" y="11528"/>
                  </a:lnTo>
                  <a:lnTo>
                    <a:pt x="4390" y="11506"/>
                  </a:lnTo>
                  <a:lnTo>
                    <a:pt x="4363" y="11484"/>
                  </a:lnTo>
                  <a:lnTo>
                    <a:pt x="4335" y="11462"/>
                  </a:lnTo>
                  <a:lnTo>
                    <a:pt x="4310" y="11439"/>
                  </a:lnTo>
                  <a:lnTo>
                    <a:pt x="4286" y="11414"/>
                  </a:lnTo>
                  <a:lnTo>
                    <a:pt x="187" y="7297"/>
                  </a:lnTo>
                  <a:close/>
                </a:path>
              </a:pathLst>
            </a:custGeom>
            <a:solidFill>
              <a:schemeClr val="bg1"/>
            </a:solidFill>
            <a:ln w="19050">
              <a:noFill/>
            </a:ln>
          </p:spPr>
          <p:txBody>
            <a:bodyPr vert="horz" wrap="square" lIns="91440" tIns="45720" rIns="91440" bIns="45720" numCol="1" anchor="t" anchorCtr="0" compatLnSpc="1"/>
            <a:lstStyle/>
            <a:p>
              <a:endParaRPr lang="id-ID" sz="2000">
                <a:latin typeface="Calibri"/>
                <a:ea typeface="微软雅黑"/>
                <a:cs typeface="Open Sans" panose="020B0606030504020204" pitchFamily="34" charset="0"/>
                <a:sym typeface="Calibri"/>
              </a:endParaRPr>
            </a:p>
          </p:txBody>
        </p:sp>
      </p:grpSp>
      <p:sp>
        <p:nvSpPr>
          <p:cNvPr id="66" name="Rectangle 7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013092" y="5731432"/>
            <a:ext cx="4025686" cy="307777"/>
          </a:xfrm>
          <a:prstGeom prst="rect">
            <a:avLst/>
          </a:prstGeom>
        </p:spPr>
        <p:txBody>
          <a:bodyPr wrap="square">
            <a:spAutoFit/>
          </a:bodyPr>
          <a:lstStyle/>
          <a:p>
            <a:r>
              <a:rPr lang="en-US" sz="1400" dirty="0">
                <a:latin typeface="Calibri"/>
                <a:ea typeface="微软雅黑"/>
                <a:cs typeface="Open Sans Light" panose="020B0306030504020204" pitchFamily="34" charset="0"/>
                <a:sym typeface="Calibri"/>
              </a:rPr>
              <a:t>Insert Your Amazing Statement Here</a:t>
            </a:r>
            <a:endParaRPr lang="id-ID" sz="1400" dirty="0">
              <a:latin typeface="Calibri"/>
              <a:ea typeface="微软雅黑"/>
              <a:sym typeface="Calibri"/>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5" name="Freeform: Shape 51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891994" y="850966"/>
            <a:ext cx="3349986" cy="5156068"/>
          </a:xfrm>
          <a:custGeom>
            <a:avLst/>
            <a:gdLst/>
            <a:ahLst/>
            <a:cxnLst/>
            <a:rect l="l" t="t" r="r" b="b"/>
            <a:pathLst>
              <a:path w="2046160" h="3149308">
                <a:moveTo>
                  <a:pt x="1014184" y="0"/>
                </a:moveTo>
                <a:cubicBezTo>
                  <a:pt x="1242524" y="0"/>
                  <a:pt x="1512380" y="26689"/>
                  <a:pt x="1823752" y="80067"/>
                </a:cubicBezTo>
                <a:lnTo>
                  <a:pt x="1979438" y="106756"/>
                </a:lnTo>
                <a:lnTo>
                  <a:pt x="1939404" y="507092"/>
                </a:lnTo>
                <a:cubicBezTo>
                  <a:pt x="1524242" y="459645"/>
                  <a:pt x="1230662" y="435921"/>
                  <a:pt x="1058666" y="435921"/>
                </a:cubicBezTo>
                <a:cubicBezTo>
                  <a:pt x="682054" y="435921"/>
                  <a:pt x="493748" y="567884"/>
                  <a:pt x="493748" y="831809"/>
                </a:cubicBezTo>
                <a:cubicBezTo>
                  <a:pt x="493748" y="968220"/>
                  <a:pt x="538230" y="1065338"/>
                  <a:pt x="627193" y="1123164"/>
                </a:cubicBezTo>
                <a:cubicBezTo>
                  <a:pt x="716156" y="1180991"/>
                  <a:pt x="912618" y="1252161"/>
                  <a:pt x="1216576" y="1336677"/>
                </a:cubicBezTo>
                <a:cubicBezTo>
                  <a:pt x="1520535" y="1421192"/>
                  <a:pt x="1734788" y="1522017"/>
                  <a:pt x="1859338" y="1639153"/>
                </a:cubicBezTo>
                <a:cubicBezTo>
                  <a:pt x="1983886" y="1756288"/>
                  <a:pt x="2046160" y="1940887"/>
                  <a:pt x="2046160" y="2192951"/>
                </a:cubicBezTo>
                <a:cubicBezTo>
                  <a:pt x="2046160" y="2513219"/>
                  <a:pt x="1954974" y="2752679"/>
                  <a:pt x="1772598" y="2911331"/>
                </a:cubicBezTo>
                <a:cubicBezTo>
                  <a:pt x="1590223" y="3069982"/>
                  <a:pt x="1341866" y="3149308"/>
                  <a:pt x="1027529" y="3149308"/>
                </a:cubicBezTo>
                <a:cubicBezTo>
                  <a:pt x="775466" y="3149308"/>
                  <a:pt x="496713" y="3119654"/>
                  <a:pt x="191272" y="3060344"/>
                </a:cubicBezTo>
                <a:lnTo>
                  <a:pt x="31138" y="3029207"/>
                </a:lnTo>
                <a:lnTo>
                  <a:pt x="80068" y="2633320"/>
                </a:lnTo>
                <a:cubicBezTo>
                  <a:pt x="480403" y="2686698"/>
                  <a:pt x="785845" y="2713387"/>
                  <a:pt x="996392" y="2713387"/>
                </a:cubicBezTo>
                <a:cubicBezTo>
                  <a:pt x="1364108" y="2713387"/>
                  <a:pt x="1547965" y="2550287"/>
                  <a:pt x="1547965" y="2224088"/>
                </a:cubicBezTo>
                <a:cubicBezTo>
                  <a:pt x="1547965" y="2096573"/>
                  <a:pt x="1506449" y="2002420"/>
                  <a:pt x="1423416" y="1941628"/>
                </a:cubicBezTo>
                <a:cubicBezTo>
                  <a:pt x="1340384" y="1880837"/>
                  <a:pt x="1153560" y="1814114"/>
                  <a:pt x="862946" y="1741461"/>
                </a:cubicBezTo>
                <a:cubicBezTo>
                  <a:pt x="572332" y="1668807"/>
                  <a:pt x="355854" y="1568723"/>
                  <a:pt x="213513" y="1441209"/>
                </a:cubicBezTo>
                <a:cubicBezTo>
                  <a:pt x="71171" y="1313695"/>
                  <a:pt x="0" y="1112044"/>
                  <a:pt x="0" y="836257"/>
                </a:cubicBezTo>
                <a:cubicBezTo>
                  <a:pt x="0" y="560470"/>
                  <a:pt x="89705" y="352147"/>
                  <a:pt x="269115" y="211289"/>
                </a:cubicBezTo>
                <a:cubicBezTo>
                  <a:pt x="448525" y="70430"/>
                  <a:pt x="696881" y="0"/>
                  <a:pt x="1014184"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id-ID">
              <a:latin typeface="Calibri"/>
              <a:ea typeface="微软雅黑"/>
              <a:cs typeface="+mn-ea"/>
              <a:sym typeface="Calibri"/>
            </a:endParaRPr>
          </a:p>
        </p:txBody>
      </p:sp>
      <p:sp>
        <p:nvSpPr>
          <p:cNvPr id="492" name="TextBox 49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18459" y="1123473"/>
            <a:ext cx="4454152" cy="1200329"/>
          </a:xfrm>
          <a:prstGeom prst="rect">
            <a:avLst/>
          </a:prstGeom>
          <a:noFill/>
        </p:spPr>
        <p:txBody>
          <a:bodyPr wrap="square" rtlCol="0" anchor="t">
            <a:spAutoFit/>
          </a:bodyPr>
          <a:lstStyle/>
          <a:p>
            <a:r>
              <a:rPr lang="id-ID" sz="3600" spc="100" dirty="0">
                <a:solidFill>
                  <a:schemeClr val="tx1">
                    <a:lumMod val="65000"/>
                    <a:lumOff val="35000"/>
                  </a:schemeClr>
                </a:solidFill>
                <a:latin typeface="Calibri"/>
                <a:ea typeface="微软雅黑"/>
                <a:cs typeface="+mn-ea"/>
                <a:sym typeface="Calibri"/>
              </a:rPr>
              <a:t>SWOT Analysis</a:t>
            </a:r>
            <a:br>
              <a:rPr lang="id-ID" sz="3600" spc="100" dirty="0">
                <a:solidFill>
                  <a:schemeClr val="tx1">
                    <a:lumMod val="65000"/>
                    <a:lumOff val="35000"/>
                  </a:schemeClr>
                </a:solidFill>
                <a:latin typeface="Calibri"/>
                <a:ea typeface="微软雅黑"/>
                <a:cs typeface="+mn-ea"/>
                <a:sym typeface="Calibri"/>
              </a:rPr>
            </a:br>
            <a:r>
              <a:rPr lang="id-ID" sz="3600" spc="100" dirty="0">
                <a:gradFill>
                  <a:gsLst>
                    <a:gs pos="0">
                      <a:schemeClr val="accent1"/>
                    </a:gs>
                    <a:gs pos="100000">
                      <a:schemeClr val="accent2"/>
                    </a:gs>
                  </a:gsLst>
                  <a:lin ang="0" scaled="0"/>
                </a:gradFill>
                <a:latin typeface="Calibri"/>
                <a:ea typeface="微软雅黑"/>
                <a:cs typeface="+mn-ea"/>
                <a:sym typeface="Calibri"/>
              </a:rPr>
              <a:t>Streghts</a:t>
            </a:r>
          </a:p>
        </p:txBody>
      </p:sp>
      <p:sp>
        <p:nvSpPr>
          <p:cNvPr id="493" name="TextBox 49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03863" y="2403161"/>
            <a:ext cx="4038038"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1200" dirty="0">
                <a:latin typeface="Calibri"/>
                <a:ea typeface="微软雅黑"/>
                <a:cs typeface="+mn-ea"/>
                <a:sym typeface="Calibri"/>
              </a:rPr>
              <a:t>Hey, hey, hey! It's Fat Company! Now I'm </a:t>
            </a:r>
            <a:r>
              <a:rPr lang="en-US" sz="1200" dirty="0" err="1">
                <a:latin typeface="Calibri"/>
                <a:ea typeface="微软雅黑"/>
                <a:cs typeface="+mn-ea"/>
                <a:sym typeface="Calibri"/>
              </a:rPr>
              <a:t>gonna</a:t>
            </a:r>
            <a:r>
              <a:rPr lang="en-US" sz="1200" dirty="0">
                <a:latin typeface="Calibri"/>
                <a:ea typeface="微软雅黑"/>
                <a:cs typeface="+mn-ea"/>
                <a:sym typeface="Calibri"/>
              </a:rPr>
              <a:t> sing a song for you, and this is </a:t>
            </a:r>
            <a:r>
              <a:rPr lang="en-US" sz="1200" dirty="0" err="1">
                <a:latin typeface="Calibri"/>
                <a:ea typeface="微软雅黑"/>
                <a:cs typeface="+mn-ea"/>
                <a:sym typeface="Calibri"/>
              </a:rPr>
              <a:t>gonna</a:t>
            </a:r>
            <a:r>
              <a:rPr lang="en-US" sz="1200" dirty="0">
                <a:latin typeface="Calibri"/>
                <a:ea typeface="微软雅黑"/>
                <a:cs typeface="+mn-ea"/>
                <a:sym typeface="Calibri"/>
              </a:rPr>
              <a:t> show you a thing or two. </a:t>
            </a:r>
          </a:p>
        </p:txBody>
      </p:sp>
      <p:sp>
        <p:nvSpPr>
          <p:cNvPr id="498"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58565" y="3278122"/>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501"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132286" y="3278122"/>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
        <p:nvSpPr>
          <p:cNvPr id="118" name="Hexagon 1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7157183" y="5404042"/>
            <a:ext cx="1347186" cy="321697"/>
          </a:xfrm>
          <a:prstGeom prst="hexagon">
            <a:avLst/>
          </a:prstGeom>
          <a:gradFill flip="none" rotWithShape="1">
            <a:gsLst>
              <a:gs pos="0">
                <a:schemeClr val="accent1"/>
              </a:gs>
              <a:gs pos="100000">
                <a:schemeClr val="accent2"/>
              </a:gs>
            </a:gsLst>
            <a:lin ang="0" scaled="1"/>
            <a:tileRect/>
          </a:gradFill>
          <a:ln>
            <a:noFill/>
          </a:ln>
          <a:effectLst>
            <a:outerShdw blurRad="152400" dist="38100" dir="5400000" algn="t" rotWithShape="0">
              <a:schemeClr val="accent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bg1"/>
                </a:solidFill>
                <a:latin typeface="Calibri"/>
                <a:ea typeface="微软雅黑"/>
                <a:cs typeface="+mn-ea"/>
                <a:sym typeface="Calibri"/>
              </a:rPr>
              <a:t>Read </a:t>
            </a:r>
            <a:r>
              <a:rPr lang="id-ID" sz="1200" dirty="0">
                <a:solidFill>
                  <a:schemeClr val="bg1"/>
                </a:solidFill>
                <a:latin typeface="Calibri"/>
                <a:ea typeface="微软雅黑"/>
                <a:cs typeface="+mn-ea"/>
                <a:sym typeface="Calibri"/>
              </a:rPr>
              <a:t>M</a:t>
            </a:r>
            <a:r>
              <a:rPr lang="en-US" sz="1200" dirty="0">
                <a:solidFill>
                  <a:schemeClr val="bg1"/>
                </a:solidFill>
                <a:latin typeface="Calibri"/>
                <a:ea typeface="微软雅黑"/>
                <a:cs typeface="+mn-ea"/>
                <a:sym typeface="Calibri"/>
              </a:rPr>
              <a:t>ore</a:t>
            </a:r>
          </a:p>
        </p:txBody>
      </p:sp>
      <p:sp>
        <p:nvSpPr>
          <p:cNvPr id="120" name="Hexagon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8609256" y="5404042"/>
            <a:ext cx="1347186" cy="321697"/>
          </a:xfrm>
          <a:prstGeom prst="hexagon">
            <a:avLst/>
          </a:prstGeom>
          <a:noFill/>
          <a:ln>
            <a:solidFill>
              <a:schemeClr val="accent1"/>
            </a:solidFill>
          </a:ln>
          <a:effectLst>
            <a:outerShdw blurRad="152400" dist="38100" dir="5400000" algn="t" rotWithShape="0">
              <a:schemeClr val="accent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dirty="0">
                <a:solidFill>
                  <a:schemeClr val="tx1">
                    <a:lumMod val="50000"/>
                    <a:lumOff val="50000"/>
                  </a:schemeClr>
                </a:solidFill>
                <a:latin typeface="Calibri"/>
                <a:ea typeface="微软雅黑"/>
                <a:cs typeface="+mn-ea"/>
                <a:sym typeface="Calibri"/>
              </a:rPr>
              <a:t>O</a:t>
            </a:r>
            <a:r>
              <a:rPr lang="id-ID" sz="1050" dirty="0">
                <a:solidFill>
                  <a:schemeClr val="tx1">
                    <a:lumMod val="50000"/>
                    <a:lumOff val="50000"/>
                  </a:schemeClr>
                </a:solidFill>
                <a:latin typeface="Calibri"/>
                <a:ea typeface="微软雅黑"/>
                <a:cs typeface="+mn-ea"/>
                <a:sym typeface="Calibri"/>
              </a:rPr>
              <a:t>ption Two</a:t>
            </a:r>
            <a:endParaRPr lang="en-US" sz="1050" dirty="0">
              <a:solidFill>
                <a:schemeClr val="tx1">
                  <a:lumMod val="50000"/>
                  <a:lumOff val="50000"/>
                </a:schemeClr>
              </a:solidFill>
              <a:latin typeface="Calibri"/>
              <a:ea typeface="微软雅黑"/>
              <a:cs typeface="+mn-ea"/>
              <a:sym typeface="Calibri"/>
            </a:endParaRPr>
          </a:p>
        </p:txBody>
      </p:sp>
      <p:sp>
        <p:nvSpPr>
          <p:cNvPr id="121"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18459" y="3847617"/>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122"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092180" y="3847617"/>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pic>
        <p:nvPicPr>
          <p:cNvPr id="124" name="图片 12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9097" y="1123473"/>
            <a:ext cx="5455780" cy="5523978"/>
          </a:xfrm>
          <a:prstGeom prst="rect">
            <a:avLst/>
          </a:prstGeom>
        </p:spPr>
      </p:pic>
      <p:sp>
        <p:nvSpPr>
          <p:cNvPr id="126"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03863" y="4464491"/>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127"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077584" y="4464491"/>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 name="Freeform: Shape 24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5936703" y="850965"/>
            <a:ext cx="6495891" cy="5156067"/>
          </a:xfrm>
          <a:custGeom>
            <a:avLst/>
            <a:gdLst/>
            <a:ahLst/>
            <a:cxnLst/>
            <a:rect l="l" t="t" r="r" b="b"/>
            <a:pathLst>
              <a:path w="3838775" h="3047000">
                <a:moveTo>
                  <a:pt x="0" y="0"/>
                </a:moveTo>
                <a:lnTo>
                  <a:pt x="520437" y="0"/>
                </a:lnTo>
                <a:lnTo>
                  <a:pt x="956358" y="2619975"/>
                </a:lnTo>
                <a:lnTo>
                  <a:pt x="1049770" y="2619975"/>
                </a:lnTo>
                <a:lnTo>
                  <a:pt x="1628032" y="8897"/>
                </a:lnTo>
                <a:lnTo>
                  <a:pt x="2206295" y="8897"/>
                </a:lnTo>
                <a:lnTo>
                  <a:pt x="2784558" y="2619975"/>
                </a:lnTo>
                <a:lnTo>
                  <a:pt x="2882418" y="2619975"/>
                </a:lnTo>
                <a:lnTo>
                  <a:pt x="3318339" y="0"/>
                </a:lnTo>
                <a:lnTo>
                  <a:pt x="3838775" y="0"/>
                </a:lnTo>
                <a:lnTo>
                  <a:pt x="3238272" y="3047000"/>
                </a:lnTo>
                <a:lnTo>
                  <a:pt x="2442048" y="3047000"/>
                </a:lnTo>
                <a:lnTo>
                  <a:pt x="1917164" y="604952"/>
                </a:lnTo>
                <a:lnTo>
                  <a:pt x="1396727" y="3047000"/>
                </a:lnTo>
                <a:lnTo>
                  <a:pt x="596056" y="304700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id-ID">
              <a:latin typeface="Calibri"/>
              <a:ea typeface="微软雅黑"/>
              <a:cs typeface="+mn-ea"/>
              <a:sym typeface="Calibri"/>
            </a:endParaRPr>
          </a:p>
        </p:txBody>
      </p:sp>
      <p:sp>
        <p:nvSpPr>
          <p:cNvPr id="95" name="TextBox 9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76899" y="1177108"/>
            <a:ext cx="4145067" cy="1200329"/>
          </a:xfrm>
          <a:prstGeom prst="rect">
            <a:avLst/>
          </a:prstGeom>
          <a:noFill/>
        </p:spPr>
        <p:txBody>
          <a:bodyPr wrap="square" rtlCol="0" anchor="t">
            <a:spAutoFit/>
          </a:bodyPr>
          <a:lstStyle/>
          <a:p>
            <a:r>
              <a:rPr lang="id-ID" sz="3600" spc="100" dirty="0">
                <a:solidFill>
                  <a:schemeClr val="tx1">
                    <a:lumMod val="65000"/>
                    <a:lumOff val="35000"/>
                  </a:schemeClr>
                </a:solidFill>
                <a:latin typeface="Calibri"/>
                <a:ea typeface="微软雅黑"/>
                <a:cs typeface="+mn-ea"/>
                <a:sym typeface="Calibri"/>
              </a:rPr>
              <a:t>SWOT Analysis</a:t>
            </a:r>
            <a:br>
              <a:rPr lang="id-ID" sz="3600" spc="100" dirty="0">
                <a:solidFill>
                  <a:schemeClr val="tx1">
                    <a:lumMod val="65000"/>
                    <a:lumOff val="35000"/>
                  </a:schemeClr>
                </a:solidFill>
                <a:latin typeface="Calibri"/>
                <a:ea typeface="微软雅黑"/>
                <a:cs typeface="+mn-ea"/>
                <a:sym typeface="Calibri"/>
              </a:rPr>
            </a:br>
            <a:r>
              <a:rPr lang="id-ID" sz="3600" spc="100" dirty="0">
                <a:gradFill>
                  <a:gsLst>
                    <a:gs pos="0">
                      <a:schemeClr val="accent1"/>
                    </a:gs>
                    <a:gs pos="100000">
                      <a:schemeClr val="accent2"/>
                    </a:gs>
                  </a:gsLst>
                  <a:lin ang="0" scaled="0"/>
                </a:gradFill>
                <a:latin typeface="Calibri"/>
                <a:ea typeface="微软雅黑"/>
                <a:cs typeface="+mn-ea"/>
                <a:sym typeface="Calibri"/>
              </a:rPr>
              <a:t>Weakness</a:t>
            </a:r>
          </a:p>
        </p:txBody>
      </p:sp>
      <p:sp>
        <p:nvSpPr>
          <p:cNvPr id="85" name="Hexagon 1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09310" y="5291746"/>
            <a:ext cx="1347186" cy="321697"/>
          </a:xfrm>
          <a:prstGeom prst="hexagon">
            <a:avLst/>
          </a:prstGeom>
          <a:gradFill flip="none" rotWithShape="1">
            <a:gsLst>
              <a:gs pos="0">
                <a:schemeClr val="accent1"/>
              </a:gs>
              <a:gs pos="100000">
                <a:schemeClr val="accent2"/>
              </a:gs>
            </a:gsLst>
            <a:lin ang="0" scaled="1"/>
            <a:tileRect/>
          </a:gradFill>
          <a:ln>
            <a:noFill/>
          </a:ln>
          <a:effectLst>
            <a:outerShdw blurRad="152400" dist="38100" dir="5400000" algn="t" rotWithShape="0">
              <a:schemeClr val="accent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bg1"/>
                </a:solidFill>
                <a:latin typeface="Calibri"/>
                <a:ea typeface="微软雅黑"/>
                <a:cs typeface="+mn-ea"/>
                <a:sym typeface="Calibri"/>
              </a:rPr>
              <a:t>Read </a:t>
            </a:r>
            <a:r>
              <a:rPr lang="id-ID" sz="1200" dirty="0">
                <a:solidFill>
                  <a:schemeClr val="bg1"/>
                </a:solidFill>
                <a:latin typeface="Calibri"/>
                <a:ea typeface="微软雅黑"/>
                <a:cs typeface="+mn-ea"/>
                <a:sym typeface="Calibri"/>
              </a:rPr>
              <a:t>M</a:t>
            </a:r>
            <a:r>
              <a:rPr lang="en-US" sz="1200" dirty="0">
                <a:solidFill>
                  <a:schemeClr val="bg1"/>
                </a:solidFill>
                <a:latin typeface="Calibri"/>
                <a:ea typeface="微软雅黑"/>
                <a:cs typeface="+mn-ea"/>
                <a:sym typeface="Calibri"/>
              </a:rPr>
              <a:t>ore</a:t>
            </a:r>
          </a:p>
        </p:txBody>
      </p:sp>
      <p:sp>
        <p:nvSpPr>
          <p:cNvPr id="86" name="Hexagon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561383" y="5291746"/>
            <a:ext cx="1347186" cy="321697"/>
          </a:xfrm>
          <a:prstGeom prst="hexagon">
            <a:avLst/>
          </a:prstGeom>
          <a:noFill/>
          <a:ln>
            <a:solidFill>
              <a:schemeClr val="accent1"/>
            </a:solidFill>
          </a:ln>
          <a:effectLst>
            <a:outerShdw blurRad="152400" dist="38100" dir="5400000" algn="t" rotWithShape="0">
              <a:schemeClr val="accent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dirty="0">
                <a:solidFill>
                  <a:schemeClr val="tx1">
                    <a:lumMod val="50000"/>
                    <a:lumOff val="50000"/>
                  </a:schemeClr>
                </a:solidFill>
                <a:latin typeface="Calibri"/>
                <a:ea typeface="微软雅黑"/>
                <a:cs typeface="+mn-ea"/>
                <a:sym typeface="Calibri"/>
              </a:rPr>
              <a:t>O</a:t>
            </a:r>
            <a:r>
              <a:rPr lang="id-ID" sz="1050" dirty="0">
                <a:solidFill>
                  <a:schemeClr val="tx1">
                    <a:lumMod val="50000"/>
                    <a:lumOff val="50000"/>
                  </a:schemeClr>
                </a:solidFill>
                <a:latin typeface="Calibri"/>
                <a:ea typeface="微软雅黑"/>
                <a:cs typeface="+mn-ea"/>
                <a:sym typeface="Calibri"/>
              </a:rPr>
              <a:t>ption Two</a:t>
            </a:r>
            <a:endParaRPr lang="en-US" sz="1050" dirty="0">
              <a:solidFill>
                <a:schemeClr val="tx1">
                  <a:lumMod val="50000"/>
                  <a:lumOff val="50000"/>
                </a:schemeClr>
              </a:solidFill>
              <a:latin typeface="Calibri"/>
              <a:ea typeface="微软雅黑"/>
              <a:cs typeface="+mn-ea"/>
              <a:sym typeface="Calibri"/>
            </a:endParaRPr>
          </a:p>
        </p:txBody>
      </p:sp>
      <p:sp>
        <p:nvSpPr>
          <p:cNvPr id="87" name="TextBox 49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76899" y="2428447"/>
            <a:ext cx="4038038"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1200" dirty="0">
                <a:latin typeface="Calibri"/>
                <a:ea typeface="微软雅黑"/>
                <a:cs typeface="+mn-ea"/>
                <a:sym typeface="Calibri"/>
              </a:rPr>
              <a:t>Hey, hey, hey! It's Fat Company! Now I'm </a:t>
            </a:r>
            <a:r>
              <a:rPr lang="en-US" sz="1200" dirty="0" err="1">
                <a:latin typeface="Calibri"/>
                <a:ea typeface="微软雅黑"/>
                <a:cs typeface="+mn-ea"/>
                <a:sym typeface="Calibri"/>
              </a:rPr>
              <a:t>gonna</a:t>
            </a:r>
            <a:r>
              <a:rPr lang="en-US" sz="1200" dirty="0">
                <a:latin typeface="Calibri"/>
                <a:ea typeface="微软雅黑"/>
                <a:cs typeface="+mn-ea"/>
                <a:sym typeface="Calibri"/>
              </a:rPr>
              <a:t> sing a song for you, and this is </a:t>
            </a:r>
            <a:r>
              <a:rPr lang="en-US" sz="1200" dirty="0" err="1">
                <a:latin typeface="Calibri"/>
                <a:ea typeface="微软雅黑"/>
                <a:cs typeface="+mn-ea"/>
                <a:sym typeface="Calibri"/>
              </a:rPr>
              <a:t>gonna</a:t>
            </a:r>
            <a:r>
              <a:rPr lang="en-US" sz="1200" dirty="0">
                <a:latin typeface="Calibri"/>
                <a:ea typeface="微软雅黑"/>
                <a:cs typeface="+mn-ea"/>
                <a:sym typeface="Calibri"/>
              </a:rPr>
              <a:t> show you a thing or two. </a:t>
            </a:r>
          </a:p>
        </p:txBody>
      </p:sp>
      <p:pic>
        <p:nvPicPr>
          <p:cNvPr id="92" name="图片 9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54046" y="745829"/>
            <a:ext cx="5261203" cy="5261203"/>
          </a:xfrm>
          <a:prstGeom prst="rect">
            <a:avLst/>
          </a:prstGeom>
        </p:spPr>
      </p:pic>
      <p:sp>
        <p:nvSpPr>
          <p:cNvPr id="93"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852689" y="3348439"/>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94"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926410" y="3348439"/>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
        <p:nvSpPr>
          <p:cNvPr id="96"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812583" y="3917934"/>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98"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886304" y="3917934"/>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
        <p:nvSpPr>
          <p:cNvPr id="99"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97987" y="4534808"/>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100"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871708" y="4534808"/>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rotWithShape="1">
          <a:blip r:embed="rId2" cstate="screen">
            <a:extLst>
              <a:ext uri="{28A0092B-C50C-407E-A947-70E740481C1C}">
                <a14:useLocalDpi xmlns:a14="http://schemas.microsoft.com/office/drawing/2010/main"/>
              </a:ext>
            </a:extLst>
          </a:blip>
          <a:srcRect b="1636"/>
          <a:stretch>
            <a:fillRect/>
          </a:stretch>
        </p:blipFill>
        <p:spPr>
          <a:xfrm>
            <a:off x="-58227" y="-309489"/>
            <a:ext cx="12250227" cy="7167489"/>
          </a:xfrm>
          <a:prstGeom prst="rect">
            <a:avLst/>
          </a:prstGeom>
        </p:spPr>
      </p:pic>
      <p:sp>
        <p:nvSpPr>
          <p:cNvPr id="3" name="圆角矩形 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317727" y="375557"/>
            <a:ext cx="11413671" cy="6106886"/>
          </a:xfrm>
          <a:prstGeom prst="roundRect">
            <a:avLst>
              <a:gd name="adj" fmla="val 5971"/>
            </a:avLst>
          </a:prstGeom>
          <a:solidFill>
            <a:srgbClr val="FFFFFF">
              <a:alpha val="43922"/>
            </a:srgbClr>
          </a:solidFill>
          <a:ln>
            <a:solidFill>
              <a:schemeClr val="bg1"/>
            </a:solidFill>
          </a:ln>
          <a:effectLst>
            <a:outerShdw blurRad="558800" dist="50800" dir="5400000" algn="ctr" rotWithShape="0">
              <a:schemeClr val="bg1">
                <a:alpha val="44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pic>
        <p:nvPicPr>
          <p:cNvPr id="5" name="图片 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28147" y="-571501"/>
            <a:ext cx="8077478" cy="4543581"/>
          </a:xfrm>
          <a:prstGeom prst="rect">
            <a:avLst/>
          </a:prstGeom>
        </p:spPr>
      </p:pic>
      <p:sp>
        <p:nvSpPr>
          <p:cNvPr id="36" name="矩形 3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963318" y="3191104"/>
            <a:ext cx="2085975" cy="3117621"/>
          </a:xfrm>
          <a:prstGeom prst="rect">
            <a:avLst/>
          </a:prstGeom>
          <a:solidFill>
            <a:srgbClr val="C0C5F6"/>
          </a:solidFill>
          <a:ln>
            <a:noFill/>
          </a:ln>
          <a:effectLst>
            <a:outerShdw blurRad="419100" dist="330200" dir="2700000" algn="tl" rotWithShape="0">
              <a:prstClr val="black">
                <a:alpha val="21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cs typeface="+mn-ea"/>
              <a:sym typeface="Calibri"/>
            </a:endParaRPr>
          </a:p>
        </p:txBody>
      </p:sp>
      <p:sp>
        <p:nvSpPr>
          <p:cNvPr id="41" name="矩形 4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3694612" y="3191104"/>
            <a:ext cx="2085975" cy="3117621"/>
          </a:xfrm>
          <a:prstGeom prst="rect">
            <a:avLst/>
          </a:prstGeom>
          <a:solidFill>
            <a:srgbClr val="C0D3F6"/>
          </a:solidFill>
          <a:ln>
            <a:noFill/>
          </a:ln>
          <a:effectLst>
            <a:outerShdw blurRad="304800" dist="279400" dir="2700000" algn="tl" rotWithShape="0">
              <a:prstClr val="black">
                <a:alpha val="1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cs typeface="+mn-ea"/>
              <a:sym typeface="Calibri"/>
            </a:endParaRPr>
          </a:p>
        </p:txBody>
      </p:sp>
      <p:sp>
        <p:nvSpPr>
          <p:cNvPr id="44" name="矩形 4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425906" y="3191104"/>
            <a:ext cx="2085975" cy="3117621"/>
          </a:xfrm>
          <a:prstGeom prst="rect">
            <a:avLst/>
          </a:prstGeom>
          <a:solidFill>
            <a:srgbClr val="C0E2F6"/>
          </a:solidFill>
          <a:ln>
            <a:noFill/>
          </a:ln>
          <a:effectLst>
            <a:outerShdw blurRad="381000" dist="1905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cs typeface="+mn-ea"/>
              <a:sym typeface="Calibri"/>
            </a:endParaRPr>
          </a:p>
        </p:txBody>
      </p:sp>
      <p:sp>
        <p:nvSpPr>
          <p:cNvPr id="45" name="矩形 4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9157199" y="3191104"/>
            <a:ext cx="2085975" cy="3117621"/>
          </a:xfrm>
          <a:prstGeom prst="rect">
            <a:avLst/>
          </a:prstGeom>
          <a:solidFill>
            <a:srgbClr val="C1F7F8"/>
          </a:solidFill>
          <a:ln>
            <a:noFill/>
          </a:ln>
          <a:effectLst>
            <a:outerShdw blurRad="342900" dist="292100" dir="2700000" algn="tl" rotWithShape="0">
              <a:prstClr val="black">
                <a:alpha val="1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cs typeface="+mn-ea"/>
              <a:sym typeface="Calibri"/>
            </a:endParaRPr>
          </a:p>
        </p:txBody>
      </p:sp>
      <p:grpSp>
        <p:nvGrpSpPr>
          <p:cNvPr id="46" name="Group 6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1167344" y="5113489"/>
            <a:ext cx="1744400" cy="981828"/>
            <a:chOff x="3356900" y="4306879"/>
            <a:chExt cx="1744400" cy="981828"/>
          </a:xfrm>
        </p:grpSpPr>
        <p:sp>
          <p:nvSpPr>
            <p:cNvPr id="47" name="Rectangle 63"/>
            <p:cNvSpPr/>
            <p:nvPr/>
          </p:nvSpPr>
          <p:spPr>
            <a:xfrm>
              <a:off x="3356900" y="4586976"/>
              <a:ext cx="1744400" cy="701731"/>
            </a:xfrm>
            <a:prstGeom prst="rect">
              <a:avLst/>
            </a:prstGeom>
          </p:spPr>
          <p:txBody>
            <a:bodyPr wrap="square">
              <a:spAutoFit/>
            </a:bodyPr>
            <a:lstStyle/>
            <a:p>
              <a:pPr algn="ctr">
                <a:lnSpc>
                  <a:spcPct val="120000"/>
                </a:lnSpc>
              </a:pPr>
              <a:r>
                <a:rPr lang="en-US" sz="1100" dirty="0">
                  <a:solidFill>
                    <a:schemeClr val="tx1">
                      <a:lumMod val="75000"/>
                      <a:lumOff val="25000"/>
                    </a:schemeClr>
                  </a:solidFill>
                  <a:latin typeface="Calibri"/>
                  <a:ea typeface="微软雅黑"/>
                  <a:cs typeface="Segoe UI Light" panose="020B0502040204020203" pitchFamily="34" charset="0"/>
                  <a:sym typeface="Calibri"/>
                </a:rPr>
                <a:t>A wonderful serenity has taken possession of my entire soul</a:t>
              </a:r>
            </a:p>
          </p:txBody>
        </p:sp>
        <p:sp>
          <p:nvSpPr>
            <p:cNvPr id="48" name="Text Placeholder 2"/>
            <p:cNvSpPr txBox="1"/>
            <p:nvPr/>
          </p:nvSpPr>
          <p:spPr>
            <a:xfrm>
              <a:off x="3356900" y="4306879"/>
              <a:ext cx="1744400" cy="475747"/>
            </a:xfrm>
            <a:prstGeom prst="rect">
              <a:avLst/>
            </a:prstGeom>
          </p:spPr>
          <p:txBody>
            <a:bodyPr/>
            <a:lstStyle>
              <a:lvl1pPr marL="0" indent="0" algn="ctr" defTabSz="1460500" rtl="0" eaLnBrk="1" latinLnBrk="0" hangingPunct="1">
                <a:lnSpc>
                  <a:spcPct val="90000"/>
                </a:lnSpc>
                <a:spcBef>
                  <a:spcPts val="1600"/>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sz="1200" dirty="0">
                  <a:solidFill>
                    <a:schemeClr val="tx1">
                      <a:lumMod val="75000"/>
                      <a:lumOff val="25000"/>
                    </a:schemeClr>
                  </a:solidFill>
                  <a:latin typeface="Calibri"/>
                  <a:ea typeface="微软雅黑"/>
                  <a:sym typeface="Calibri"/>
                </a:rPr>
                <a:t>#1 Your Title Here</a:t>
              </a:r>
              <a:endParaRPr lang="id-ID" sz="1200" dirty="0">
                <a:solidFill>
                  <a:schemeClr val="tx1">
                    <a:lumMod val="75000"/>
                    <a:lumOff val="25000"/>
                  </a:schemeClr>
                </a:solidFill>
                <a:latin typeface="Calibri"/>
                <a:ea typeface="微软雅黑"/>
                <a:sym typeface="Calibri"/>
              </a:endParaRPr>
            </a:p>
          </p:txBody>
        </p:sp>
      </p:grpSp>
      <p:grpSp>
        <p:nvGrpSpPr>
          <p:cNvPr id="49" name="Group 6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3921544" y="5113489"/>
            <a:ext cx="1744400" cy="981828"/>
            <a:chOff x="3356900" y="4306879"/>
            <a:chExt cx="1744400" cy="981828"/>
          </a:xfrm>
        </p:grpSpPr>
        <p:sp>
          <p:nvSpPr>
            <p:cNvPr id="50" name="Rectangle 67"/>
            <p:cNvSpPr/>
            <p:nvPr/>
          </p:nvSpPr>
          <p:spPr>
            <a:xfrm>
              <a:off x="3356900" y="4586976"/>
              <a:ext cx="1744400" cy="701731"/>
            </a:xfrm>
            <a:prstGeom prst="rect">
              <a:avLst/>
            </a:prstGeom>
          </p:spPr>
          <p:txBody>
            <a:bodyPr wrap="square">
              <a:spAutoFit/>
            </a:bodyPr>
            <a:lstStyle/>
            <a:p>
              <a:pPr algn="ctr">
                <a:lnSpc>
                  <a:spcPct val="120000"/>
                </a:lnSpc>
              </a:pPr>
              <a:r>
                <a:rPr lang="en-US" sz="1100" dirty="0">
                  <a:solidFill>
                    <a:schemeClr val="tx1">
                      <a:lumMod val="75000"/>
                      <a:lumOff val="25000"/>
                    </a:schemeClr>
                  </a:solidFill>
                  <a:latin typeface="Calibri"/>
                  <a:ea typeface="微软雅黑"/>
                  <a:cs typeface="Segoe UI Light" panose="020B0502040204020203" pitchFamily="34" charset="0"/>
                  <a:sym typeface="Calibri"/>
                </a:rPr>
                <a:t>A wonderful serenity has taken possession of my entire soul</a:t>
              </a:r>
            </a:p>
          </p:txBody>
        </p:sp>
        <p:sp>
          <p:nvSpPr>
            <p:cNvPr id="51" name="Text Placeholder 2"/>
            <p:cNvSpPr txBox="1"/>
            <p:nvPr/>
          </p:nvSpPr>
          <p:spPr>
            <a:xfrm>
              <a:off x="3356900" y="4306879"/>
              <a:ext cx="1744400" cy="475747"/>
            </a:xfrm>
            <a:prstGeom prst="rect">
              <a:avLst/>
            </a:prstGeom>
          </p:spPr>
          <p:txBody>
            <a:bodyPr/>
            <a:lstStyle>
              <a:lvl1pPr marL="0" indent="0" algn="ctr" defTabSz="1460500" rtl="0" eaLnBrk="1" latinLnBrk="0" hangingPunct="1">
                <a:lnSpc>
                  <a:spcPct val="90000"/>
                </a:lnSpc>
                <a:spcBef>
                  <a:spcPts val="1600"/>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sz="1200" dirty="0">
                  <a:solidFill>
                    <a:schemeClr val="tx1">
                      <a:lumMod val="75000"/>
                      <a:lumOff val="25000"/>
                    </a:schemeClr>
                  </a:solidFill>
                  <a:latin typeface="Calibri"/>
                  <a:ea typeface="微软雅黑"/>
                  <a:sym typeface="Calibri"/>
                </a:rPr>
                <a:t>#2 Your Title Here</a:t>
              </a:r>
              <a:endParaRPr lang="id-ID" sz="1200" dirty="0">
                <a:solidFill>
                  <a:schemeClr val="tx1">
                    <a:lumMod val="75000"/>
                    <a:lumOff val="25000"/>
                  </a:schemeClr>
                </a:solidFill>
                <a:latin typeface="Calibri"/>
                <a:ea typeface="微软雅黑"/>
                <a:sym typeface="Calibri"/>
              </a:endParaRPr>
            </a:p>
          </p:txBody>
        </p:sp>
      </p:grpSp>
      <p:grpSp>
        <p:nvGrpSpPr>
          <p:cNvPr id="52" name="Group 6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6659096" y="5113489"/>
            <a:ext cx="1744400" cy="981828"/>
            <a:chOff x="3356900" y="4306879"/>
            <a:chExt cx="1744400" cy="981828"/>
          </a:xfrm>
        </p:grpSpPr>
        <p:sp>
          <p:nvSpPr>
            <p:cNvPr id="53" name="Rectangle 70"/>
            <p:cNvSpPr/>
            <p:nvPr/>
          </p:nvSpPr>
          <p:spPr>
            <a:xfrm>
              <a:off x="3356900" y="4586976"/>
              <a:ext cx="1744400" cy="701731"/>
            </a:xfrm>
            <a:prstGeom prst="rect">
              <a:avLst/>
            </a:prstGeom>
          </p:spPr>
          <p:txBody>
            <a:bodyPr wrap="square">
              <a:spAutoFit/>
            </a:bodyPr>
            <a:lstStyle/>
            <a:p>
              <a:pPr algn="ctr">
                <a:lnSpc>
                  <a:spcPct val="120000"/>
                </a:lnSpc>
              </a:pPr>
              <a:r>
                <a:rPr lang="en-US" sz="1100" dirty="0">
                  <a:solidFill>
                    <a:schemeClr val="tx1">
                      <a:lumMod val="75000"/>
                      <a:lumOff val="25000"/>
                    </a:schemeClr>
                  </a:solidFill>
                  <a:latin typeface="Calibri"/>
                  <a:ea typeface="微软雅黑"/>
                  <a:cs typeface="Segoe UI Light" panose="020B0502040204020203" pitchFamily="34" charset="0"/>
                  <a:sym typeface="Calibri"/>
                </a:rPr>
                <a:t>A wonderful serenity has taken possession of my entire soul</a:t>
              </a:r>
            </a:p>
          </p:txBody>
        </p:sp>
        <p:sp>
          <p:nvSpPr>
            <p:cNvPr id="54" name="Text Placeholder 2"/>
            <p:cNvSpPr txBox="1"/>
            <p:nvPr/>
          </p:nvSpPr>
          <p:spPr>
            <a:xfrm>
              <a:off x="3356900" y="4306879"/>
              <a:ext cx="1744400" cy="475747"/>
            </a:xfrm>
            <a:prstGeom prst="rect">
              <a:avLst/>
            </a:prstGeom>
          </p:spPr>
          <p:txBody>
            <a:bodyPr/>
            <a:lstStyle>
              <a:lvl1pPr marL="0" indent="0" algn="ctr" defTabSz="1460500" rtl="0" eaLnBrk="1" latinLnBrk="0" hangingPunct="1">
                <a:lnSpc>
                  <a:spcPct val="90000"/>
                </a:lnSpc>
                <a:spcBef>
                  <a:spcPts val="1600"/>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sz="1200" dirty="0">
                  <a:solidFill>
                    <a:schemeClr val="tx1">
                      <a:lumMod val="75000"/>
                      <a:lumOff val="25000"/>
                    </a:schemeClr>
                  </a:solidFill>
                  <a:latin typeface="Calibri"/>
                  <a:ea typeface="微软雅黑"/>
                  <a:sym typeface="Calibri"/>
                </a:rPr>
                <a:t>#3 Your Title Here</a:t>
              </a:r>
              <a:endParaRPr lang="id-ID" sz="1200" dirty="0">
                <a:solidFill>
                  <a:schemeClr val="tx1">
                    <a:lumMod val="75000"/>
                    <a:lumOff val="25000"/>
                  </a:schemeClr>
                </a:solidFill>
                <a:latin typeface="Calibri"/>
                <a:ea typeface="微软雅黑"/>
                <a:sym typeface="Calibri"/>
              </a:endParaRPr>
            </a:p>
          </p:txBody>
        </p:sp>
      </p:grpSp>
      <p:grpSp>
        <p:nvGrpSpPr>
          <p:cNvPr id="55" name="Group 7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9307890" y="5113489"/>
            <a:ext cx="1744400" cy="981828"/>
            <a:chOff x="3356900" y="4306879"/>
            <a:chExt cx="1744400" cy="981828"/>
          </a:xfrm>
        </p:grpSpPr>
        <p:sp>
          <p:nvSpPr>
            <p:cNvPr id="56" name="Rectangle 73"/>
            <p:cNvSpPr/>
            <p:nvPr/>
          </p:nvSpPr>
          <p:spPr>
            <a:xfrm>
              <a:off x="3356900" y="4586976"/>
              <a:ext cx="1744400" cy="701731"/>
            </a:xfrm>
            <a:prstGeom prst="rect">
              <a:avLst/>
            </a:prstGeom>
          </p:spPr>
          <p:txBody>
            <a:bodyPr wrap="square">
              <a:spAutoFit/>
            </a:bodyPr>
            <a:lstStyle/>
            <a:p>
              <a:pPr algn="ctr">
                <a:lnSpc>
                  <a:spcPct val="120000"/>
                </a:lnSpc>
              </a:pPr>
              <a:r>
                <a:rPr lang="en-US" sz="1100" dirty="0">
                  <a:solidFill>
                    <a:schemeClr val="tx1">
                      <a:lumMod val="75000"/>
                      <a:lumOff val="25000"/>
                    </a:schemeClr>
                  </a:solidFill>
                  <a:latin typeface="Calibri"/>
                  <a:ea typeface="微软雅黑"/>
                  <a:cs typeface="Segoe UI Light" panose="020B0502040204020203" pitchFamily="34" charset="0"/>
                  <a:sym typeface="Calibri"/>
                </a:rPr>
                <a:t>A wonderful serenity has taken possession of my entire soul</a:t>
              </a:r>
            </a:p>
          </p:txBody>
        </p:sp>
        <p:sp>
          <p:nvSpPr>
            <p:cNvPr id="57" name="Text Placeholder 2"/>
            <p:cNvSpPr txBox="1"/>
            <p:nvPr/>
          </p:nvSpPr>
          <p:spPr>
            <a:xfrm>
              <a:off x="3356900" y="4306879"/>
              <a:ext cx="1744400" cy="475747"/>
            </a:xfrm>
            <a:prstGeom prst="rect">
              <a:avLst/>
            </a:prstGeom>
          </p:spPr>
          <p:txBody>
            <a:bodyPr/>
            <a:lstStyle>
              <a:lvl1pPr marL="0" indent="0" algn="ctr" defTabSz="1460500" rtl="0" eaLnBrk="1" latinLnBrk="0" hangingPunct="1">
                <a:lnSpc>
                  <a:spcPct val="90000"/>
                </a:lnSpc>
                <a:spcBef>
                  <a:spcPts val="1600"/>
                </a:spcBef>
                <a:buFont typeface="Arial" panose="020B0604020202020204" pitchFamily="34" charset="0"/>
                <a:buNone/>
                <a:defRPr sz="4000" kern="1200">
                  <a:solidFill>
                    <a:schemeClr val="tx1">
                      <a:lumMod val="65000"/>
                      <a:lumOff val="35000"/>
                    </a:schemeClr>
                  </a:solidFill>
                  <a:latin typeface="+mn-lt"/>
                  <a:ea typeface="+mn-ea"/>
                  <a:cs typeface="+mn-cs"/>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sz="1200" dirty="0">
                  <a:solidFill>
                    <a:schemeClr val="tx1">
                      <a:lumMod val="75000"/>
                      <a:lumOff val="25000"/>
                    </a:schemeClr>
                  </a:solidFill>
                  <a:latin typeface="Calibri"/>
                  <a:ea typeface="微软雅黑"/>
                  <a:sym typeface="Calibri"/>
                </a:rPr>
                <a:t>#4 Your Title Here</a:t>
              </a:r>
              <a:endParaRPr lang="id-ID" sz="1200" dirty="0">
                <a:solidFill>
                  <a:schemeClr val="tx1">
                    <a:lumMod val="75000"/>
                    <a:lumOff val="25000"/>
                  </a:schemeClr>
                </a:solidFill>
                <a:latin typeface="Calibri"/>
                <a:ea typeface="微软雅黑"/>
                <a:sym typeface="Calibri"/>
              </a:endParaRPr>
            </a:p>
          </p:txBody>
        </p:sp>
      </p:grpSp>
      <p:pic>
        <p:nvPicPr>
          <p:cNvPr id="62" name="图片 6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10694" y="2950452"/>
            <a:ext cx="2166100" cy="2166100"/>
          </a:xfrm>
          <a:prstGeom prst="rect">
            <a:avLst/>
          </a:prstGeom>
        </p:spPr>
      </p:pic>
      <p:pic>
        <p:nvPicPr>
          <p:cNvPr id="63" name="图片 6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3647" y="2674696"/>
            <a:ext cx="2521173" cy="2521173"/>
          </a:xfrm>
          <a:prstGeom prst="rect">
            <a:avLst/>
          </a:prstGeom>
        </p:spPr>
      </p:pic>
      <p:pic>
        <p:nvPicPr>
          <p:cNvPr id="64" name="图片 6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062221" y="2622422"/>
            <a:ext cx="2726781" cy="2726781"/>
          </a:xfrm>
          <a:prstGeom prst="rect">
            <a:avLst/>
          </a:prstGeom>
        </p:spPr>
      </p:pic>
      <p:pic>
        <p:nvPicPr>
          <p:cNvPr id="65" name="图片 6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965381" y="2863578"/>
            <a:ext cx="2263301" cy="2263301"/>
          </a:xfrm>
          <a:prstGeom prst="rect">
            <a:avLst/>
          </a:prstGeom>
        </p:spPr>
      </p:pic>
      <p:sp>
        <p:nvSpPr>
          <p:cNvPr id="25" name="TextBox 4">
            <a:extLst>
              <a:ext uri="{FF2B5EF4-FFF2-40B4-BE49-F238E27FC236}">
                <a16:creationId xmlns:a16="http://schemas.microsoft.com/office/drawing/2014/main" id="{EB684C7E-20A7-9694-F2D4-694B922B40F4}"/>
              </a:ext>
            </a:extLst>
          </p:cNvPr>
          <p:cNvSpPr txBox="1"/>
          <p:nvPr/>
        </p:nvSpPr>
        <p:spPr>
          <a:xfrm>
            <a:off x="0" y="0"/>
            <a:ext cx="453650" cy="123111"/>
          </a:xfrm>
          <a:prstGeom prst="rect">
            <a:avLst/>
          </a:prstGeom>
          <a:noFill/>
        </p:spPr>
        <p:txBody>
          <a:bodyPr wrap="square" rtlCol="0">
            <a:spAutoFit/>
          </a:bodyPr>
          <a:lstStyle/>
          <a:p>
            <a:pPr>
              <a:lnSpc>
                <a:spcPct val="200000"/>
              </a:lnSpc>
            </a:pPr>
            <a:r>
              <a:rPr lang="zh-CN" altLang="en-US" sz="100" dirty="0">
                <a:solidFill>
                  <a:schemeClr val="tx1">
                    <a:alpha val="0"/>
                  </a:schemeClr>
                </a:solidFill>
                <a:latin typeface="微软雅黑" panose="020B0503020204020204" pitchFamily="34" charset="-122"/>
                <a:ea typeface="微软雅黑" panose="020B0503020204020204" pitchFamily="34" charset="-122"/>
              </a:rPr>
              <a:t>行业</a:t>
            </a:r>
            <a:r>
              <a:rPr lang="en-US" altLang="zh-CN" sz="100" dirty="0">
                <a:solidFill>
                  <a:schemeClr val="tx1">
                    <a:alpha val="0"/>
                  </a:schemeClr>
                </a:solidFill>
                <a:latin typeface="微软雅黑" panose="020B0503020204020204" pitchFamily="34" charset="-122"/>
                <a:ea typeface="微软雅黑" panose="020B0503020204020204" pitchFamily="34" charset="-122"/>
              </a:rPr>
              <a:t>PPT</a:t>
            </a:r>
            <a:r>
              <a:rPr lang="zh-CN" altLang="en-US" sz="100" dirty="0">
                <a:solidFill>
                  <a:schemeClr val="tx1">
                    <a:alpha val="0"/>
                  </a:schemeClr>
                </a:solidFill>
                <a:latin typeface="微软雅黑" panose="020B0503020204020204" pitchFamily="34" charset="-122"/>
                <a:ea typeface="微软雅黑" panose="020B0503020204020204" pitchFamily="34" charset="-122"/>
              </a:rPr>
              <a:t>模板</a:t>
            </a:r>
            <a:r>
              <a:rPr lang="en-US" altLang="zh-CN" sz="100" dirty="0">
                <a:solidFill>
                  <a:schemeClr val="tx1">
                    <a:alpha val="0"/>
                  </a:schemeClr>
                </a:solidFill>
                <a:latin typeface="微软雅黑" panose="020B0503020204020204" pitchFamily="34" charset="-122"/>
                <a:ea typeface="微软雅黑" panose="020B0503020204020204" pitchFamily="34" charset="-122"/>
              </a:rPr>
              <a:t>http://www.1ppt.com/hangye/</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Freeform: Shape 1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371160" y="850512"/>
            <a:ext cx="4062136" cy="5156067"/>
          </a:xfrm>
          <a:custGeom>
            <a:avLst/>
            <a:gdLst/>
            <a:ahLst/>
            <a:cxnLst/>
            <a:rect l="l" t="t" r="r" b="b"/>
            <a:pathLst>
              <a:path w="2477633" h="3144860">
                <a:moveTo>
                  <a:pt x="1241041" y="431473"/>
                </a:moveTo>
                <a:cubicBezTo>
                  <a:pt x="962288" y="431473"/>
                  <a:pt x="771017" y="523402"/>
                  <a:pt x="667226" y="707260"/>
                </a:cubicBezTo>
                <a:cubicBezTo>
                  <a:pt x="563435" y="891118"/>
                  <a:pt x="511540" y="1183956"/>
                  <a:pt x="511540" y="1585775"/>
                </a:cubicBezTo>
                <a:cubicBezTo>
                  <a:pt x="511540" y="1987593"/>
                  <a:pt x="561953" y="2275983"/>
                  <a:pt x="662778" y="2450945"/>
                </a:cubicBezTo>
                <a:cubicBezTo>
                  <a:pt x="763603" y="2625906"/>
                  <a:pt x="956358" y="2713387"/>
                  <a:pt x="1241041" y="2713387"/>
                </a:cubicBezTo>
                <a:cubicBezTo>
                  <a:pt x="1525724" y="2713387"/>
                  <a:pt x="1717737" y="2627389"/>
                  <a:pt x="1817079" y="2455393"/>
                </a:cubicBezTo>
                <a:cubicBezTo>
                  <a:pt x="1916422" y="2283397"/>
                  <a:pt x="1966093" y="1995007"/>
                  <a:pt x="1966093" y="1590223"/>
                </a:cubicBezTo>
                <a:cubicBezTo>
                  <a:pt x="1966093" y="1185439"/>
                  <a:pt x="1914939" y="891118"/>
                  <a:pt x="1812631" y="707260"/>
                </a:cubicBezTo>
                <a:cubicBezTo>
                  <a:pt x="1710323" y="523402"/>
                  <a:pt x="1519793" y="431473"/>
                  <a:pt x="1241041" y="431473"/>
                </a:cubicBezTo>
                <a:close/>
                <a:moveTo>
                  <a:pt x="1241041" y="0"/>
                </a:moveTo>
                <a:cubicBezTo>
                  <a:pt x="1697720" y="0"/>
                  <a:pt x="2017988" y="129739"/>
                  <a:pt x="2201846" y="389216"/>
                </a:cubicBezTo>
                <a:cubicBezTo>
                  <a:pt x="2385704" y="648692"/>
                  <a:pt x="2477633" y="1048287"/>
                  <a:pt x="2477633" y="1587999"/>
                </a:cubicBezTo>
                <a:cubicBezTo>
                  <a:pt x="2477633" y="2127711"/>
                  <a:pt x="2386446" y="2522116"/>
                  <a:pt x="2204070" y="2771213"/>
                </a:cubicBezTo>
                <a:cubicBezTo>
                  <a:pt x="2021695" y="3020311"/>
                  <a:pt x="1700686" y="3144860"/>
                  <a:pt x="1241041" y="3144860"/>
                </a:cubicBezTo>
                <a:cubicBezTo>
                  <a:pt x="781396" y="3144860"/>
                  <a:pt x="459645" y="3019570"/>
                  <a:pt x="275787" y="2768989"/>
                </a:cubicBezTo>
                <a:cubicBezTo>
                  <a:pt x="91929" y="2518409"/>
                  <a:pt x="0" y="2124745"/>
                  <a:pt x="0" y="1587999"/>
                </a:cubicBezTo>
                <a:cubicBezTo>
                  <a:pt x="0" y="1051253"/>
                  <a:pt x="92670" y="652399"/>
                  <a:pt x="278011" y="391440"/>
                </a:cubicBezTo>
                <a:cubicBezTo>
                  <a:pt x="463351" y="130480"/>
                  <a:pt x="784361" y="0"/>
                  <a:pt x="1241041" y="0"/>
                </a:cubicBez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id-ID" dirty="0">
              <a:latin typeface="Calibri"/>
              <a:ea typeface="微软雅黑"/>
              <a:cs typeface="+mn-ea"/>
              <a:sym typeface="Calibri"/>
            </a:endParaRPr>
          </a:p>
        </p:txBody>
      </p:sp>
      <p:sp>
        <p:nvSpPr>
          <p:cNvPr id="120" name="TextBox 11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18459" y="1139426"/>
            <a:ext cx="5149477" cy="1200329"/>
          </a:xfrm>
          <a:prstGeom prst="rect">
            <a:avLst/>
          </a:prstGeom>
          <a:noFill/>
        </p:spPr>
        <p:txBody>
          <a:bodyPr wrap="square" rtlCol="0" anchor="t">
            <a:spAutoFit/>
          </a:bodyPr>
          <a:lstStyle/>
          <a:p>
            <a:r>
              <a:rPr lang="id-ID" sz="3600" spc="100" dirty="0">
                <a:solidFill>
                  <a:schemeClr val="tx1">
                    <a:lumMod val="65000"/>
                    <a:lumOff val="35000"/>
                  </a:schemeClr>
                </a:solidFill>
                <a:latin typeface="Calibri"/>
                <a:ea typeface="微软雅黑"/>
                <a:cs typeface="+mn-ea"/>
                <a:sym typeface="Calibri"/>
              </a:rPr>
              <a:t>SWOT Analysis</a:t>
            </a:r>
            <a:br>
              <a:rPr lang="id-ID" sz="3600" spc="100" dirty="0">
                <a:solidFill>
                  <a:schemeClr val="tx1">
                    <a:lumMod val="65000"/>
                    <a:lumOff val="35000"/>
                  </a:schemeClr>
                </a:solidFill>
                <a:latin typeface="Calibri"/>
                <a:ea typeface="微软雅黑"/>
                <a:cs typeface="+mn-ea"/>
                <a:sym typeface="Calibri"/>
              </a:rPr>
            </a:br>
            <a:r>
              <a:rPr lang="id-ID" sz="3600" spc="100" dirty="0">
                <a:gradFill>
                  <a:gsLst>
                    <a:gs pos="0">
                      <a:schemeClr val="accent1"/>
                    </a:gs>
                    <a:gs pos="100000">
                      <a:schemeClr val="accent2"/>
                    </a:gs>
                  </a:gsLst>
                  <a:lin ang="0" scaled="0"/>
                </a:gradFill>
                <a:latin typeface="Calibri"/>
                <a:ea typeface="微软雅黑"/>
                <a:cs typeface="+mn-ea"/>
                <a:sym typeface="Calibri"/>
              </a:rPr>
              <a:t>Opportunities</a:t>
            </a:r>
          </a:p>
        </p:txBody>
      </p:sp>
      <p:sp>
        <p:nvSpPr>
          <p:cNvPr id="129" name="Hexagon 1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7125099" y="5404042"/>
            <a:ext cx="1347186" cy="321697"/>
          </a:xfrm>
          <a:prstGeom prst="hexagon">
            <a:avLst/>
          </a:prstGeom>
          <a:gradFill flip="none" rotWithShape="1">
            <a:gsLst>
              <a:gs pos="0">
                <a:schemeClr val="accent1"/>
              </a:gs>
              <a:gs pos="100000">
                <a:schemeClr val="accent2"/>
              </a:gs>
            </a:gsLst>
            <a:lin ang="0" scaled="1"/>
            <a:tileRect/>
          </a:gradFill>
          <a:ln>
            <a:noFill/>
          </a:ln>
          <a:effectLst>
            <a:outerShdw blurRad="152400" dist="38100" dir="5400000" algn="t" rotWithShape="0">
              <a:schemeClr val="accent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bg1"/>
                </a:solidFill>
                <a:latin typeface="Calibri"/>
                <a:ea typeface="微软雅黑"/>
                <a:cs typeface="+mn-ea"/>
                <a:sym typeface="Calibri"/>
              </a:rPr>
              <a:t>Read </a:t>
            </a:r>
            <a:r>
              <a:rPr lang="id-ID" sz="1200" dirty="0">
                <a:solidFill>
                  <a:schemeClr val="bg1"/>
                </a:solidFill>
                <a:latin typeface="Calibri"/>
                <a:ea typeface="微软雅黑"/>
                <a:cs typeface="+mn-ea"/>
                <a:sym typeface="Calibri"/>
              </a:rPr>
              <a:t>M</a:t>
            </a:r>
            <a:r>
              <a:rPr lang="en-US" sz="1200" dirty="0">
                <a:solidFill>
                  <a:schemeClr val="bg1"/>
                </a:solidFill>
                <a:latin typeface="Calibri"/>
                <a:ea typeface="微软雅黑"/>
                <a:cs typeface="+mn-ea"/>
                <a:sym typeface="Calibri"/>
              </a:rPr>
              <a:t>ore</a:t>
            </a:r>
          </a:p>
        </p:txBody>
      </p:sp>
      <p:sp>
        <p:nvSpPr>
          <p:cNvPr id="130" name="Hexagon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8577172" y="5404042"/>
            <a:ext cx="1347186" cy="321697"/>
          </a:xfrm>
          <a:prstGeom prst="hexagon">
            <a:avLst/>
          </a:prstGeom>
          <a:noFill/>
          <a:ln>
            <a:solidFill>
              <a:schemeClr val="accent1"/>
            </a:solidFill>
          </a:ln>
          <a:effectLst>
            <a:outerShdw blurRad="152400" dist="38100" dir="5400000" algn="t" rotWithShape="0">
              <a:schemeClr val="accent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dirty="0">
                <a:solidFill>
                  <a:schemeClr val="tx1">
                    <a:lumMod val="50000"/>
                    <a:lumOff val="50000"/>
                  </a:schemeClr>
                </a:solidFill>
                <a:latin typeface="Calibri"/>
                <a:ea typeface="微软雅黑"/>
                <a:cs typeface="+mn-ea"/>
                <a:sym typeface="Calibri"/>
              </a:rPr>
              <a:t>O</a:t>
            </a:r>
            <a:r>
              <a:rPr lang="id-ID" sz="1050" dirty="0">
                <a:solidFill>
                  <a:schemeClr val="tx1">
                    <a:lumMod val="50000"/>
                    <a:lumOff val="50000"/>
                  </a:schemeClr>
                </a:solidFill>
                <a:latin typeface="Calibri"/>
                <a:ea typeface="微软雅黑"/>
                <a:cs typeface="+mn-ea"/>
                <a:sym typeface="Calibri"/>
              </a:rPr>
              <a:t>ption Two</a:t>
            </a:r>
            <a:endParaRPr lang="en-US" sz="1050" dirty="0">
              <a:solidFill>
                <a:schemeClr val="tx1">
                  <a:lumMod val="50000"/>
                  <a:lumOff val="50000"/>
                </a:schemeClr>
              </a:solidFill>
              <a:latin typeface="Calibri"/>
              <a:ea typeface="微软雅黑"/>
              <a:cs typeface="+mn-ea"/>
              <a:sym typeface="Calibri"/>
            </a:endParaRPr>
          </a:p>
        </p:txBody>
      </p:sp>
      <p:sp>
        <p:nvSpPr>
          <p:cNvPr id="131" name="TextBox 49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58565" y="2482520"/>
            <a:ext cx="4038038"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1200" dirty="0">
                <a:latin typeface="Calibri"/>
                <a:ea typeface="微软雅黑"/>
                <a:cs typeface="+mn-ea"/>
                <a:sym typeface="Calibri"/>
              </a:rPr>
              <a:t>Hey, hey, hey! It's Fat Company! Now I'm </a:t>
            </a:r>
            <a:r>
              <a:rPr lang="en-US" sz="1200" dirty="0" err="1">
                <a:latin typeface="Calibri"/>
                <a:ea typeface="微软雅黑"/>
                <a:cs typeface="+mn-ea"/>
                <a:sym typeface="Calibri"/>
              </a:rPr>
              <a:t>gonna</a:t>
            </a:r>
            <a:r>
              <a:rPr lang="en-US" sz="1200" dirty="0">
                <a:latin typeface="Calibri"/>
                <a:ea typeface="微软雅黑"/>
                <a:cs typeface="+mn-ea"/>
                <a:sym typeface="Calibri"/>
              </a:rPr>
              <a:t> sing a song for you, and this is </a:t>
            </a:r>
            <a:r>
              <a:rPr lang="en-US" sz="1200" dirty="0" err="1">
                <a:latin typeface="Calibri"/>
                <a:ea typeface="微软雅黑"/>
                <a:cs typeface="+mn-ea"/>
                <a:sym typeface="Calibri"/>
              </a:rPr>
              <a:t>gonna</a:t>
            </a:r>
            <a:r>
              <a:rPr lang="en-US" sz="1200" dirty="0">
                <a:latin typeface="Calibri"/>
                <a:ea typeface="微软雅黑"/>
                <a:cs typeface="+mn-ea"/>
                <a:sym typeface="Calibri"/>
              </a:rPr>
              <a:t> show you a thing or two. </a:t>
            </a:r>
          </a:p>
        </p:txBody>
      </p:sp>
      <p:pic>
        <p:nvPicPr>
          <p:cNvPr id="124" name="图片 12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a:stretch>
            <a:fillRect/>
          </a:stretch>
        </p:blipFill>
        <p:spPr>
          <a:xfrm>
            <a:off x="1675547" y="1462332"/>
            <a:ext cx="3724794" cy="3724794"/>
          </a:xfrm>
          <a:prstGeom prst="rect">
            <a:avLst/>
          </a:prstGeom>
        </p:spPr>
      </p:pic>
      <p:sp>
        <p:nvSpPr>
          <p:cNvPr id="125"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58565" y="3278122"/>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126"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132286" y="3278122"/>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
        <p:nvSpPr>
          <p:cNvPr id="136"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18459" y="3847617"/>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137"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092180" y="3847617"/>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
        <p:nvSpPr>
          <p:cNvPr id="138"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003863" y="4464491"/>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139"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077584" y="4464491"/>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Shape 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877790" y="849062"/>
            <a:ext cx="3766335" cy="5159877"/>
          </a:xfrm>
          <a:custGeom>
            <a:avLst/>
            <a:gdLst/>
            <a:ahLst/>
            <a:cxnLst/>
            <a:rect l="l" t="t" r="r" b="b"/>
            <a:pathLst>
              <a:path w="2224088" h="3046999">
                <a:moveTo>
                  <a:pt x="0" y="0"/>
                </a:moveTo>
                <a:lnTo>
                  <a:pt x="2224088" y="0"/>
                </a:lnTo>
                <a:lnTo>
                  <a:pt x="2224088" y="440369"/>
                </a:lnTo>
                <a:lnTo>
                  <a:pt x="1365590" y="440369"/>
                </a:lnTo>
                <a:lnTo>
                  <a:pt x="1365590" y="3046999"/>
                </a:lnTo>
                <a:lnTo>
                  <a:pt x="867395" y="3046999"/>
                </a:lnTo>
                <a:lnTo>
                  <a:pt x="867395" y="440369"/>
                </a:lnTo>
                <a:lnTo>
                  <a:pt x="0" y="440369"/>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Calibri"/>
              <a:ea typeface="微软雅黑"/>
              <a:cs typeface="+mn-ea"/>
              <a:sym typeface="Calibri"/>
            </a:endParaRPr>
          </a:p>
        </p:txBody>
      </p:sp>
      <p:sp>
        <p:nvSpPr>
          <p:cNvPr id="197" name="TextBox 19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1042776" y="1066383"/>
            <a:ext cx="4722276" cy="1200329"/>
          </a:xfrm>
          <a:prstGeom prst="rect">
            <a:avLst/>
          </a:prstGeom>
          <a:noFill/>
        </p:spPr>
        <p:txBody>
          <a:bodyPr wrap="square" rtlCol="0" anchor="t">
            <a:spAutoFit/>
          </a:bodyPr>
          <a:lstStyle/>
          <a:p>
            <a:r>
              <a:rPr lang="id-ID" sz="3600" spc="100" dirty="0">
                <a:solidFill>
                  <a:schemeClr val="tx1">
                    <a:lumMod val="65000"/>
                    <a:lumOff val="35000"/>
                  </a:schemeClr>
                </a:solidFill>
                <a:latin typeface="Calibri"/>
                <a:ea typeface="微软雅黑"/>
                <a:cs typeface="+mn-ea"/>
                <a:sym typeface="Calibri"/>
              </a:rPr>
              <a:t>SWOT Analysis</a:t>
            </a:r>
            <a:br>
              <a:rPr lang="id-ID" sz="3600" spc="100" dirty="0">
                <a:solidFill>
                  <a:schemeClr val="tx1">
                    <a:lumMod val="65000"/>
                    <a:lumOff val="35000"/>
                  </a:schemeClr>
                </a:solidFill>
                <a:latin typeface="Calibri"/>
                <a:ea typeface="微软雅黑"/>
                <a:cs typeface="+mn-ea"/>
                <a:sym typeface="Calibri"/>
              </a:rPr>
            </a:br>
            <a:r>
              <a:rPr lang="id-ID" sz="3600" spc="100" dirty="0">
                <a:gradFill>
                  <a:gsLst>
                    <a:gs pos="0">
                      <a:schemeClr val="accent1"/>
                    </a:gs>
                    <a:gs pos="100000">
                      <a:schemeClr val="accent2"/>
                    </a:gs>
                  </a:gsLst>
                  <a:lin ang="0" scaled="0"/>
                </a:gradFill>
                <a:latin typeface="Calibri"/>
                <a:ea typeface="微软雅黑"/>
                <a:cs typeface="+mn-ea"/>
                <a:sym typeface="Calibri"/>
              </a:rPr>
              <a:t>Threats</a:t>
            </a:r>
          </a:p>
        </p:txBody>
      </p:sp>
      <p:sp>
        <p:nvSpPr>
          <p:cNvPr id="205" name="Hexagon 1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57435" y="5323832"/>
            <a:ext cx="1347186" cy="321697"/>
          </a:xfrm>
          <a:prstGeom prst="hexagon">
            <a:avLst/>
          </a:prstGeom>
          <a:gradFill flip="none" rotWithShape="1">
            <a:gsLst>
              <a:gs pos="0">
                <a:schemeClr val="accent1"/>
              </a:gs>
              <a:gs pos="100000">
                <a:schemeClr val="accent2"/>
              </a:gs>
            </a:gsLst>
            <a:lin ang="0" scaled="1"/>
            <a:tileRect/>
          </a:gradFill>
          <a:ln>
            <a:noFill/>
          </a:ln>
          <a:effectLst>
            <a:outerShdw blurRad="152400" dist="38100" dir="5400000" algn="t" rotWithShape="0">
              <a:schemeClr val="accent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200" dirty="0">
                <a:solidFill>
                  <a:schemeClr val="bg1"/>
                </a:solidFill>
                <a:latin typeface="Calibri"/>
                <a:ea typeface="微软雅黑"/>
                <a:cs typeface="+mn-ea"/>
                <a:sym typeface="Calibri"/>
              </a:rPr>
              <a:t>Read </a:t>
            </a:r>
            <a:r>
              <a:rPr lang="id-ID" sz="1200" dirty="0">
                <a:solidFill>
                  <a:schemeClr val="bg1"/>
                </a:solidFill>
                <a:latin typeface="Calibri"/>
                <a:ea typeface="微软雅黑"/>
                <a:cs typeface="+mn-ea"/>
                <a:sym typeface="Calibri"/>
              </a:rPr>
              <a:t>M</a:t>
            </a:r>
            <a:r>
              <a:rPr lang="en-US" sz="1200" dirty="0">
                <a:solidFill>
                  <a:schemeClr val="bg1"/>
                </a:solidFill>
                <a:latin typeface="Calibri"/>
                <a:ea typeface="微软雅黑"/>
                <a:cs typeface="+mn-ea"/>
                <a:sym typeface="Calibri"/>
              </a:rPr>
              <a:t>ore</a:t>
            </a:r>
          </a:p>
        </p:txBody>
      </p:sp>
      <p:sp>
        <p:nvSpPr>
          <p:cNvPr id="206" name="Hexagon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609508" y="5323832"/>
            <a:ext cx="1347186" cy="321697"/>
          </a:xfrm>
          <a:prstGeom prst="hexagon">
            <a:avLst/>
          </a:prstGeom>
          <a:noFill/>
          <a:ln>
            <a:solidFill>
              <a:schemeClr val="accent1"/>
            </a:solidFill>
          </a:ln>
          <a:effectLst>
            <a:outerShdw blurRad="152400" dist="38100" dir="5400000" algn="t" rotWithShape="0">
              <a:schemeClr val="accent1">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050" dirty="0">
                <a:solidFill>
                  <a:schemeClr val="tx1">
                    <a:lumMod val="50000"/>
                    <a:lumOff val="50000"/>
                  </a:schemeClr>
                </a:solidFill>
                <a:latin typeface="Calibri"/>
                <a:ea typeface="微软雅黑"/>
                <a:cs typeface="+mn-ea"/>
                <a:sym typeface="Calibri"/>
              </a:rPr>
              <a:t>O</a:t>
            </a:r>
            <a:r>
              <a:rPr lang="id-ID" sz="1050" dirty="0">
                <a:solidFill>
                  <a:schemeClr val="tx1">
                    <a:lumMod val="50000"/>
                    <a:lumOff val="50000"/>
                  </a:schemeClr>
                </a:solidFill>
                <a:latin typeface="Calibri"/>
                <a:ea typeface="微软雅黑"/>
                <a:cs typeface="+mn-ea"/>
                <a:sym typeface="Calibri"/>
              </a:rPr>
              <a:t>ption Two</a:t>
            </a:r>
            <a:endParaRPr lang="en-US" sz="1050" dirty="0">
              <a:solidFill>
                <a:schemeClr val="tx1">
                  <a:lumMod val="50000"/>
                  <a:lumOff val="50000"/>
                </a:schemeClr>
              </a:solidFill>
              <a:latin typeface="Calibri"/>
              <a:ea typeface="微软雅黑"/>
              <a:cs typeface="+mn-ea"/>
              <a:sym typeface="Calibri"/>
            </a:endParaRPr>
          </a:p>
        </p:txBody>
      </p:sp>
      <p:sp>
        <p:nvSpPr>
          <p:cNvPr id="207" name="TextBox 49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1072713" y="2385946"/>
            <a:ext cx="4038038"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r>
              <a:rPr lang="en-US" sz="1200" dirty="0">
                <a:latin typeface="Calibri"/>
                <a:ea typeface="微软雅黑"/>
                <a:cs typeface="+mn-ea"/>
                <a:sym typeface="Calibri"/>
              </a:rPr>
              <a:t>Hey, hey, hey! It's Fat Company! Now I'm </a:t>
            </a:r>
            <a:r>
              <a:rPr lang="en-US" sz="1200" dirty="0" err="1">
                <a:latin typeface="Calibri"/>
                <a:ea typeface="微软雅黑"/>
                <a:cs typeface="+mn-ea"/>
                <a:sym typeface="Calibri"/>
              </a:rPr>
              <a:t>gonna</a:t>
            </a:r>
            <a:r>
              <a:rPr lang="en-US" sz="1200" dirty="0">
                <a:latin typeface="Calibri"/>
                <a:ea typeface="微软雅黑"/>
                <a:cs typeface="+mn-ea"/>
                <a:sym typeface="Calibri"/>
              </a:rPr>
              <a:t> sing a song for you, and this is </a:t>
            </a:r>
            <a:r>
              <a:rPr lang="en-US" sz="1200" dirty="0" err="1">
                <a:latin typeface="Calibri"/>
                <a:ea typeface="微软雅黑"/>
                <a:cs typeface="+mn-ea"/>
                <a:sym typeface="Calibri"/>
              </a:rPr>
              <a:t>gonna</a:t>
            </a:r>
            <a:r>
              <a:rPr lang="en-US" sz="1200" dirty="0">
                <a:latin typeface="Calibri"/>
                <a:ea typeface="微软雅黑"/>
                <a:cs typeface="+mn-ea"/>
                <a:sym typeface="Calibri"/>
              </a:rPr>
              <a:t> show you a thing or two. </a:t>
            </a:r>
          </a:p>
        </p:txBody>
      </p:sp>
      <p:pic>
        <p:nvPicPr>
          <p:cNvPr id="212" name="图片 21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338012" y="1945962"/>
            <a:ext cx="4851318" cy="3638489"/>
          </a:xfrm>
          <a:prstGeom prst="rect">
            <a:avLst/>
          </a:prstGeom>
        </p:spPr>
      </p:pic>
      <p:sp>
        <p:nvSpPr>
          <p:cNvPr id="213"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49282" y="3300782"/>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214"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3023003" y="3300782"/>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
        <p:nvSpPr>
          <p:cNvPr id="215"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09176" y="3870277"/>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216"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982897" y="3870277"/>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
        <p:nvSpPr>
          <p:cNvPr id="217" name="TextBox 49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894580" y="4487151"/>
            <a:ext cx="1964317" cy="553100"/>
          </a:xfrm>
          <a:prstGeom prst="rect">
            <a:avLst/>
          </a:prstGeom>
          <a:noFill/>
        </p:spPr>
        <p:txBody>
          <a:bodyPr wrap="square" rtlCol="0">
            <a:spAutoFit/>
          </a:bodyPr>
          <a:lstStyle>
            <a:defPPr>
              <a:defRPr lang="id-ID"/>
            </a:defPPr>
            <a:lvl1pPr algn="just">
              <a:lnSpc>
                <a:spcPct val="130000"/>
              </a:lnSpc>
              <a:spcAft>
                <a:spcPts val="600"/>
              </a:spcAft>
              <a:defRPr sz="1000">
                <a:solidFill>
                  <a:schemeClr val="bg1">
                    <a:lumMod val="6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pPr marL="171450" indent="-171450" algn="l">
              <a:buClr>
                <a:schemeClr val="accent1"/>
              </a:buClr>
              <a:buFont typeface="Wingdings" panose="05000000000000000000" pitchFamily="2" charset="2"/>
              <a:buChar char="ü"/>
            </a:pPr>
            <a:r>
              <a:rPr lang="en-US" sz="1200" dirty="0">
                <a:latin typeface="Calibri"/>
                <a:ea typeface="微软雅黑"/>
                <a:cs typeface="+mn-ea"/>
                <a:sym typeface="Calibri"/>
              </a:rPr>
              <a:t>Hey, hey, hey! It's Fat Company! </a:t>
            </a:r>
            <a:endParaRPr lang="id-ID" sz="1200" dirty="0">
              <a:latin typeface="Calibri"/>
              <a:ea typeface="微软雅黑"/>
              <a:cs typeface="+mn-ea"/>
              <a:sym typeface="Calibri"/>
            </a:endParaRPr>
          </a:p>
        </p:txBody>
      </p:sp>
      <p:sp>
        <p:nvSpPr>
          <p:cNvPr id="218" name="TextBox 50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968301" y="4487151"/>
            <a:ext cx="1964317" cy="553100"/>
          </a:xfrm>
          <a:prstGeom prst="rect">
            <a:avLst/>
          </a:prstGeom>
          <a:noFill/>
        </p:spPr>
        <p:txBody>
          <a:bodyPr wrap="square" rtlCol="0">
            <a:spAutoFit/>
          </a:bodyPr>
          <a:lstStyle>
            <a:defPPr>
              <a:defRPr lang="zh-CN"/>
            </a:defPPr>
            <a:lvl1pPr marL="171450" indent="-171450">
              <a:lnSpc>
                <a:spcPct val="130000"/>
              </a:lnSpc>
              <a:spcAft>
                <a:spcPts val="600"/>
              </a:spcAft>
              <a:buClr>
                <a:schemeClr val="accent1"/>
              </a:buClr>
              <a:buFont typeface="Wingdings" panose="05000000000000000000" pitchFamily="2" charset="2"/>
              <a:buChar char="ü"/>
              <a:defRPr sz="1200">
                <a:solidFill>
                  <a:schemeClr val="bg1">
                    <a:lumMod val="65000"/>
                  </a:schemeClr>
                </a:solidFill>
                <a:cs typeface="+mn-ea"/>
              </a:defRPr>
            </a:lvl1pPr>
          </a:lstStyle>
          <a:p>
            <a:r>
              <a:rPr lang="en-US" altLang="zh-CN" dirty="0">
                <a:latin typeface="Calibri"/>
                <a:ea typeface="微软雅黑"/>
                <a:sym typeface="Calibri"/>
              </a:rPr>
              <a:t>Hey, hey, hey! It's Fat Company! </a:t>
            </a:r>
            <a:endParaRPr lang="id-ID" altLang="zh-CN" dirty="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椭圆 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539175" y="-829949"/>
            <a:ext cx="8398413" cy="8398413"/>
          </a:xfrm>
          <a:prstGeom prst="ellipse">
            <a:avLst/>
          </a:prstGeom>
          <a:solidFill>
            <a:schemeClr val="accent2">
              <a:lumMod val="20000"/>
              <a:lumOff val="80000"/>
              <a:alpha val="2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6" name="Freeform: Shape 7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162675" y="1701569"/>
            <a:ext cx="6029325" cy="5156430"/>
          </a:xfrm>
          <a:custGeom>
            <a:avLst/>
            <a:gdLst>
              <a:gd name="connsiteX0" fmla="*/ 4889646 w 6863283"/>
              <a:gd name="connsiteY0" fmla="*/ 777 h 5869652"/>
              <a:gd name="connsiteX1" fmla="*/ 6329151 w 6863283"/>
              <a:gd name="connsiteY1" fmla="*/ 305501 h 5869652"/>
              <a:gd name="connsiteX2" fmla="*/ 6817152 w 6863283"/>
              <a:gd name="connsiteY2" fmla="*/ 304283 h 5869652"/>
              <a:gd name="connsiteX3" fmla="*/ 6863283 w 6863283"/>
              <a:gd name="connsiteY3" fmla="*/ 298138 h 5869652"/>
              <a:gd name="connsiteX4" fmla="*/ 6863283 w 6863283"/>
              <a:gd name="connsiteY4" fmla="*/ 5869652 h 5869652"/>
              <a:gd name="connsiteX5" fmla="*/ 0 w 6863283"/>
              <a:gd name="connsiteY5" fmla="*/ 5869652 h 5869652"/>
              <a:gd name="connsiteX6" fmla="*/ 42660 w 6863283"/>
              <a:gd name="connsiteY6" fmla="*/ 5527482 h 5869652"/>
              <a:gd name="connsiteX7" fmla="*/ 974673 w 6863283"/>
              <a:gd name="connsiteY7" fmla="*/ 3999970 h 5869652"/>
              <a:gd name="connsiteX8" fmla="*/ 2395119 w 6863283"/>
              <a:gd name="connsiteY8" fmla="*/ 3680205 h 5869652"/>
              <a:gd name="connsiteX9" fmla="*/ 3406686 w 6863283"/>
              <a:gd name="connsiteY9" fmla="*/ 3921742 h 5869652"/>
              <a:gd name="connsiteX10" fmla="*/ 4357869 w 6863283"/>
              <a:gd name="connsiteY10" fmla="*/ 3002493 h 5869652"/>
              <a:gd name="connsiteX11" fmla="*/ 4039278 w 6863283"/>
              <a:gd name="connsiteY11" fmla="*/ 2399168 h 5869652"/>
              <a:gd name="connsiteX12" fmla="*/ 3760975 w 6863283"/>
              <a:gd name="connsiteY12" fmla="*/ 1093551 h 5869652"/>
              <a:gd name="connsiteX13" fmla="*/ 4546844 w 6863283"/>
              <a:gd name="connsiteY13" fmla="*/ 65683 h 5869652"/>
              <a:gd name="connsiteX14" fmla="*/ 4889646 w 6863283"/>
              <a:gd name="connsiteY14" fmla="*/ 777 h 586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63283" h="5869652">
                <a:moveTo>
                  <a:pt x="4889646" y="777"/>
                </a:moveTo>
                <a:cubicBezTo>
                  <a:pt x="5377612" y="-16445"/>
                  <a:pt x="5838736" y="258066"/>
                  <a:pt x="6329151" y="305501"/>
                </a:cubicBezTo>
                <a:cubicBezTo>
                  <a:pt x="6491688" y="321273"/>
                  <a:pt x="6654954" y="319464"/>
                  <a:pt x="6817152" y="304283"/>
                </a:cubicBezTo>
                <a:lnTo>
                  <a:pt x="6863283" y="298138"/>
                </a:lnTo>
                <a:lnTo>
                  <a:pt x="6863283" y="5869652"/>
                </a:lnTo>
                <a:lnTo>
                  <a:pt x="0" y="5869652"/>
                </a:lnTo>
                <a:lnTo>
                  <a:pt x="42660" y="5527482"/>
                </a:lnTo>
                <a:cubicBezTo>
                  <a:pt x="156123" y="4918769"/>
                  <a:pt x="456343" y="4347990"/>
                  <a:pt x="974673" y="3999970"/>
                </a:cubicBezTo>
                <a:cubicBezTo>
                  <a:pt x="1386944" y="3723235"/>
                  <a:pt x="1903920" y="3606750"/>
                  <a:pt x="2395119" y="3680205"/>
                </a:cubicBezTo>
                <a:cubicBezTo>
                  <a:pt x="2738368" y="3731516"/>
                  <a:pt x="3063683" y="3870617"/>
                  <a:pt x="3406686" y="3921742"/>
                </a:cubicBezTo>
                <a:cubicBezTo>
                  <a:pt x="4024378" y="4013948"/>
                  <a:pt x="4613912" y="3698968"/>
                  <a:pt x="4357869" y="3002493"/>
                </a:cubicBezTo>
                <a:cubicBezTo>
                  <a:pt x="4279320" y="2788717"/>
                  <a:pt x="4147957" y="2599171"/>
                  <a:pt x="4039278" y="2399168"/>
                </a:cubicBezTo>
                <a:cubicBezTo>
                  <a:pt x="3822897" y="2001225"/>
                  <a:pt x="3693142" y="1541357"/>
                  <a:pt x="3760975" y="1093551"/>
                </a:cubicBezTo>
                <a:cubicBezTo>
                  <a:pt x="3828808" y="645747"/>
                  <a:pt x="4120092" y="217816"/>
                  <a:pt x="4546844" y="65683"/>
                </a:cubicBezTo>
                <a:cubicBezTo>
                  <a:pt x="4663001" y="24261"/>
                  <a:pt x="4777038" y="4751"/>
                  <a:pt x="4889646" y="777"/>
                </a:cubicBezTo>
                <a:close/>
              </a:path>
            </a:pathLst>
          </a:custGeom>
          <a:gradFill>
            <a:gsLst>
              <a:gs pos="16000">
                <a:schemeClr val="accent6">
                  <a:alpha val="21000"/>
                </a:schemeClr>
              </a:gs>
              <a:gs pos="100000">
                <a:schemeClr val="bg1">
                  <a:alpha val="700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Calibri"/>
              <a:ea typeface="微软雅黑"/>
              <a:sym typeface="Calibri"/>
            </a:endParaRPr>
          </a:p>
        </p:txBody>
      </p:sp>
      <p:pic>
        <p:nvPicPr>
          <p:cNvPr id="8" name="图片 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a:stretch>
            <a:fillRect/>
          </a:stretch>
        </p:blipFill>
        <p:spPr>
          <a:xfrm>
            <a:off x="5589563" y="-4690"/>
            <a:ext cx="6602437" cy="6602437"/>
          </a:xfrm>
          <a:prstGeom prst="rect">
            <a:avLst/>
          </a:prstGeom>
        </p:spPr>
      </p:pic>
      <p:sp>
        <p:nvSpPr>
          <p:cNvPr id="7" name="Freeform: Shape 7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471138" y="3369258"/>
            <a:ext cx="5720861" cy="3488741"/>
          </a:xfrm>
          <a:custGeom>
            <a:avLst/>
            <a:gdLst>
              <a:gd name="connsiteX0" fmla="*/ 5227202 w 5227202"/>
              <a:gd name="connsiteY0" fmla="*/ 0 h 3187694"/>
              <a:gd name="connsiteX1" fmla="*/ 5227202 w 5227202"/>
              <a:gd name="connsiteY1" fmla="*/ 3187694 h 3187694"/>
              <a:gd name="connsiteX2" fmla="*/ 0 w 5227202"/>
              <a:gd name="connsiteY2" fmla="*/ 3187694 h 3187694"/>
              <a:gd name="connsiteX3" fmla="*/ 9238 w 5227202"/>
              <a:gd name="connsiteY3" fmla="*/ 3171079 h 3187694"/>
              <a:gd name="connsiteX4" fmla="*/ 999604 w 5227202"/>
              <a:gd name="connsiteY4" fmla="*/ 2385361 h 3187694"/>
              <a:gd name="connsiteX5" fmla="*/ 3508692 w 5227202"/>
              <a:gd name="connsiteY5" fmla="*/ 2372090 h 3187694"/>
              <a:gd name="connsiteX6" fmla="*/ 5003645 w 5227202"/>
              <a:gd name="connsiteY6" fmla="*/ 345940 h 3187694"/>
              <a:gd name="connsiteX7" fmla="*/ 5121138 w 5227202"/>
              <a:gd name="connsiteY7" fmla="*/ 151990 h 318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7202" h="3187694">
                <a:moveTo>
                  <a:pt x="5227202" y="0"/>
                </a:moveTo>
                <a:lnTo>
                  <a:pt x="5227202" y="3187694"/>
                </a:lnTo>
                <a:lnTo>
                  <a:pt x="0" y="3187694"/>
                </a:lnTo>
                <a:lnTo>
                  <a:pt x="9238" y="3171079"/>
                </a:lnTo>
                <a:cubicBezTo>
                  <a:pt x="241446" y="2795115"/>
                  <a:pt x="584311" y="2511538"/>
                  <a:pt x="999604" y="2385361"/>
                </a:cubicBezTo>
                <a:cubicBezTo>
                  <a:pt x="1816327" y="2137318"/>
                  <a:pt x="2686002" y="2567896"/>
                  <a:pt x="3508692" y="2372090"/>
                </a:cubicBezTo>
                <a:cubicBezTo>
                  <a:pt x="4422630" y="2154677"/>
                  <a:pt x="4557634" y="1144080"/>
                  <a:pt x="5003645" y="345940"/>
                </a:cubicBezTo>
                <a:cubicBezTo>
                  <a:pt x="5040168" y="280609"/>
                  <a:pt x="5079542" y="215760"/>
                  <a:pt x="5121138" y="151990"/>
                </a:cubicBezTo>
                <a:close/>
              </a:path>
            </a:pathLst>
          </a:custGeom>
          <a:gradFill flip="none" rotWithShape="1">
            <a:gsLst>
              <a:gs pos="0">
                <a:schemeClr val="accent4">
                  <a:lumMod val="60000"/>
                  <a:lumOff val="40000"/>
                  <a:alpha val="0"/>
                </a:schemeClr>
              </a:gs>
              <a:gs pos="80000">
                <a:schemeClr val="accent4">
                  <a:alpha val="3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Calibri"/>
              <a:ea typeface="微软雅黑"/>
              <a:sym typeface="Calibri"/>
            </a:endParaRPr>
          </a:p>
        </p:txBody>
      </p:sp>
      <p:sp>
        <p:nvSpPr>
          <p:cNvPr id="10" name="矩形: 圆角 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64942" y="154745"/>
            <a:ext cx="11662116" cy="534572"/>
          </a:xfrm>
          <a:prstGeom prst="roundRect">
            <a:avLst/>
          </a:prstGeom>
          <a:solidFill>
            <a:srgbClr val="F2E9DA">
              <a:alpha val="27059"/>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Calibri"/>
              <a:ea typeface="微软雅黑"/>
              <a:sym typeface="Calibri"/>
            </a:endParaRPr>
          </a:p>
        </p:txBody>
      </p:sp>
      <p:grpSp>
        <p:nvGrpSpPr>
          <p:cNvPr id="11" name="组合 1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384598" y="333328"/>
            <a:ext cx="5876040" cy="261610"/>
            <a:chOff x="6027473" y="260675"/>
            <a:chExt cx="5876040" cy="261610"/>
          </a:xfrm>
        </p:grpSpPr>
        <p:sp>
          <p:nvSpPr>
            <p:cNvPr id="12" name="TextBox 22"/>
            <p:cNvSpPr txBox="1"/>
            <p:nvPr/>
          </p:nvSpPr>
          <p:spPr>
            <a:xfrm>
              <a:off x="6027473" y="260675"/>
              <a:ext cx="578028"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ALL</a:t>
              </a:r>
            </a:p>
          </p:txBody>
        </p:sp>
        <p:sp>
          <p:nvSpPr>
            <p:cNvPr id="13" name="TextBox 29"/>
            <p:cNvSpPr txBox="1"/>
            <p:nvPr/>
          </p:nvSpPr>
          <p:spPr>
            <a:xfrm>
              <a:off x="6670009" y="260675"/>
              <a:ext cx="135789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WEB DESIGN</a:t>
              </a:r>
            </a:p>
          </p:txBody>
        </p:sp>
        <p:sp>
          <p:nvSpPr>
            <p:cNvPr id="14" name="TextBox 35"/>
            <p:cNvSpPr txBox="1"/>
            <p:nvPr/>
          </p:nvSpPr>
          <p:spPr>
            <a:xfrm>
              <a:off x="8093049" y="260675"/>
              <a:ext cx="114135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GRAPHICS</a:t>
              </a:r>
            </a:p>
          </p:txBody>
        </p:sp>
        <p:sp>
          <p:nvSpPr>
            <p:cNvPr id="15" name="TextBox 37"/>
            <p:cNvSpPr txBox="1"/>
            <p:nvPr/>
          </p:nvSpPr>
          <p:spPr>
            <a:xfrm>
              <a:off x="9298318" y="260675"/>
              <a:ext cx="95843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BRANDS</a:t>
              </a:r>
            </a:p>
          </p:txBody>
        </p:sp>
        <p:sp>
          <p:nvSpPr>
            <p:cNvPr id="16" name="TextBox 39"/>
            <p:cNvSpPr txBox="1"/>
            <p:nvPr/>
          </p:nvSpPr>
          <p:spPr>
            <a:xfrm>
              <a:off x="10299559" y="260675"/>
              <a:ext cx="160395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USER INTERFACE</a:t>
              </a:r>
            </a:p>
          </p:txBody>
        </p:sp>
      </p:grpSp>
      <p:sp>
        <p:nvSpPr>
          <p:cNvPr id="17" name="文本框 1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54579" y="2625794"/>
            <a:ext cx="6801728" cy="1323439"/>
          </a:xfrm>
          <a:prstGeom prst="rect">
            <a:avLst/>
          </a:prstGeom>
          <a:noFill/>
        </p:spPr>
        <p:txBody>
          <a:bodyPr wrap="square">
            <a:spAutoFit/>
          </a:bodyPr>
          <a:lstStyle/>
          <a:p>
            <a:r>
              <a:rPr lang="en-US" altLang="zh-CN" sz="8000" b="1" dirty="0">
                <a:solidFill>
                  <a:schemeClr val="tx1">
                    <a:lumMod val="75000"/>
                    <a:lumOff val="25000"/>
                  </a:schemeClr>
                </a:solidFill>
                <a:effectLst>
                  <a:outerShdw blurRad="88900" dist="127000" dir="2700000" algn="tl">
                    <a:srgbClr val="000000">
                      <a:alpha val="35000"/>
                    </a:srgbClr>
                  </a:outerShdw>
                </a:effectLst>
                <a:latin typeface="Calibri"/>
                <a:ea typeface="微软雅黑"/>
                <a:sym typeface="Calibri"/>
              </a:rPr>
              <a:t>PART FOUR</a:t>
            </a:r>
            <a:endParaRPr lang="zh-CN" altLang="en-US" sz="8000" b="1" dirty="0">
              <a:solidFill>
                <a:schemeClr val="tx1">
                  <a:lumMod val="75000"/>
                  <a:lumOff val="25000"/>
                </a:schemeClr>
              </a:solidFill>
              <a:latin typeface="Calibri"/>
              <a:ea typeface="微软雅黑"/>
              <a:sym typeface="Calibri"/>
            </a:endParaRPr>
          </a:p>
        </p:txBody>
      </p:sp>
      <p:sp>
        <p:nvSpPr>
          <p:cNvPr id="18" name="TextBox 1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395903" y="3824671"/>
            <a:ext cx="4997466" cy="276422"/>
          </a:xfrm>
          <a:prstGeom prst="rect">
            <a:avLst/>
          </a:prstGeom>
          <a:ln w="12700">
            <a:miter lim="400000"/>
          </a:ln>
          <a:effectLst/>
        </p:spPr>
        <p:txBody>
          <a:bodyPr wrap="square" lIns="25400" tIns="25400" rIns="25400" bIns="25400">
            <a:spAutoFit/>
          </a:bodyPr>
          <a:lstStyle>
            <a:defPPr>
              <a:defRPr lang="zh-CN"/>
            </a:defPPr>
            <a:lvl1pPr algn="ctr">
              <a:lnSpc>
                <a:spcPct val="110000"/>
              </a:lnSpc>
              <a:defRPr sz="9600">
                <a:solidFill>
                  <a:schemeClr val="bg1"/>
                </a:solidFill>
                <a:effectLst>
                  <a:outerShdw blurRad="88900" dist="127000" dir="2700000" algn="tl">
                    <a:srgbClr val="000000">
                      <a:alpha val="35000"/>
                    </a:srgbClr>
                  </a:outerShdw>
                </a:effectLst>
                <a:latin typeface="Poppins SemiBold" panose="02000000000000000000"/>
                <a:ea typeface="Poppins SemiBold" panose="02000000000000000000"/>
                <a:cs typeface="Poppins SemiBold" panose="020000000000000000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a:r>
              <a:rPr lang="en-US" sz="1400" dirty="0">
                <a:solidFill>
                  <a:schemeClr val="tx1">
                    <a:lumMod val="75000"/>
                    <a:lumOff val="25000"/>
                  </a:schemeClr>
                </a:solidFill>
                <a:latin typeface="Calibri"/>
                <a:ea typeface="微软雅黑"/>
                <a:sym typeface="Calibri"/>
              </a:rPr>
              <a:t>Business Presentation  template.</a:t>
            </a:r>
          </a:p>
        </p:txBody>
      </p:sp>
      <p:sp>
        <p:nvSpPr>
          <p:cNvPr id="19" name="缺角矩形 1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20" name="缺角矩形 1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691024" y="4387605"/>
            <a:ext cx="576775" cy="576776"/>
          </a:xfrm>
          <a:prstGeom prst="plaque">
            <a:avLst>
              <a:gd name="adj" fmla="val 50000"/>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21" name="缺角矩形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772464" y="2372275"/>
            <a:ext cx="400093" cy="400094"/>
          </a:xfrm>
          <a:prstGeom prst="plaque">
            <a:avLst>
              <a:gd name="adj" fmla="val 50000"/>
            </a:avLst>
          </a:prstGeom>
          <a:solidFill>
            <a:srgbClr val="F7F797"/>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23" name="Freeform 6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a:spLocks noEditPoints="1"/>
          </p:cNvSpPr>
          <p:nvPr/>
        </p:nvSpPr>
        <p:spPr bwMode="auto">
          <a:xfrm>
            <a:off x="382441" y="6460951"/>
            <a:ext cx="137450" cy="135137"/>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tx1">
              <a:lumMod val="75000"/>
              <a:lumOff val="25000"/>
            </a:schemeClr>
          </a:solidFill>
          <a:ln>
            <a:noFill/>
          </a:ln>
        </p:spPr>
        <p:txBody>
          <a:bodyPr/>
          <a:lstStyle/>
          <a:p>
            <a:pPr algn="l"/>
            <a:endParaRPr lang="en-US" sz="1000" dirty="0">
              <a:solidFill>
                <a:schemeClr val="bg1"/>
              </a:solidFill>
              <a:latin typeface="Calibri"/>
              <a:ea typeface="微软雅黑"/>
              <a:sym typeface="Calibri"/>
            </a:endParaRPr>
          </a:p>
        </p:txBody>
      </p:sp>
      <p:sp>
        <p:nvSpPr>
          <p:cNvPr id="24" name="TextBox 4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57429" y="6401561"/>
            <a:ext cx="2529860" cy="246221"/>
          </a:xfrm>
          <a:prstGeom prst="rect">
            <a:avLst/>
          </a:prstGeom>
          <a:noFill/>
        </p:spPr>
        <p:txBody>
          <a:bodyPr wrap="none" rtlCol="0">
            <a:spAutoFit/>
          </a:bodyPr>
          <a:lstStyle/>
          <a:p>
            <a:pPr algn="l"/>
            <a:r>
              <a:rPr lang="en-US" sz="1000" spc="300" dirty="0">
                <a:solidFill>
                  <a:schemeClr val="tx1">
                    <a:lumMod val="75000"/>
                    <a:lumOff val="25000"/>
                  </a:schemeClr>
                </a:solidFill>
                <a:latin typeface="Calibri"/>
                <a:ea typeface="微软雅黑"/>
                <a:cs typeface="Segoe UI" panose="020B0502040204020203" pitchFamily="34" charset="0"/>
                <a:sym typeface="Calibri"/>
              </a:rPr>
              <a:t>https://www.freeppt7.com</a:t>
            </a:r>
            <a:endParaRPr lang="id-ID" sz="1000" spc="300" dirty="0">
              <a:solidFill>
                <a:schemeClr val="tx1">
                  <a:lumMod val="75000"/>
                  <a:lumOff val="25000"/>
                </a:schemeClr>
              </a:solidFill>
              <a:latin typeface="Calibri"/>
              <a:ea typeface="微软雅黑"/>
              <a:cs typeface="Segoe UI" panose="020B0502040204020203" pitchFamily="34" charset="0"/>
              <a:sym typeface="Calibri"/>
            </a:endParaRPr>
          </a:p>
        </p:txBody>
      </p:sp>
      <p:sp>
        <p:nvSpPr>
          <p:cNvPr id="25" name="缺角矩形 2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27" name="缺角矩形 2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881529" y="5546662"/>
            <a:ext cx="400093" cy="400094"/>
          </a:xfrm>
          <a:prstGeom prst="plaque">
            <a:avLst>
              <a:gd name="adj" fmla="val 50000"/>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28" name="Rectangle: Rounded Corners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395903" y="4506419"/>
            <a:ext cx="1456010" cy="457962"/>
          </a:xfrm>
          <a:prstGeom prst="roundRect">
            <a:avLst>
              <a:gd name="adj" fmla="val 1424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alibri"/>
                <a:ea typeface="微软雅黑"/>
                <a:sym typeface="Calibri"/>
              </a:rPr>
              <a:t>Choose service</a:t>
            </a:r>
          </a:p>
        </p:txBody>
      </p:sp>
      <p:sp>
        <p:nvSpPr>
          <p:cNvPr id="29" name="Rectangle: Rounded Corners 4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281622" y="4506419"/>
            <a:ext cx="1531135" cy="457962"/>
          </a:xfrm>
          <a:prstGeom prst="roundRect">
            <a:avLst>
              <a:gd name="adj" fmla="val 14241"/>
            </a:avLst>
          </a:prstGeom>
          <a:solidFill>
            <a:schemeClr val="accent1">
              <a:alpha val="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1">
                    <a:lumMod val="75000"/>
                  </a:schemeClr>
                </a:solidFill>
                <a:latin typeface="Calibri"/>
                <a:ea typeface="微软雅黑"/>
                <a:sym typeface="Calibri"/>
              </a:rPr>
              <a:t>More info</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4"/>
          </p:nvPr>
        </p:nvPicPr>
        <p:blipFill>
          <a:blip r:embed="rId3" cstate="screen">
            <a:extLst>
              <a:ext uri="{28A0092B-C50C-407E-A947-70E740481C1C}">
                <a14:useLocalDpi xmlns:a14="http://schemas.microsoft.com/office/drawing/2010/main"/>
              </a:ext>
            </a:extLst>
          </a:blip>
          <a:srcRect t="6158" b="6158"/>
          <a:stretch>
            <a:fillRect/>
          </a:stretch>
        </p:blipFill>
        <p:spPr/>
      </p:pic>
      <p:sp>
        <p:nvSpPr>
          <p:cNvPr id="16" name="Rectangle 1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0" y="0"/>
            <a:ext cx="12192000" cy="6858000"/>
          </a:xfrm>
          <a:prstGeom prst="rect">
            <a:avLst/>
          </a:prstGeom>
          <a:gradFill>
            <a:gsLst>
              <a:gs pos="100000">
                <a:schemeClr val="accent2">
                  <a:alpha val="74000"/>
                </a:schemeClr>
              </a:gs>
              <a:gs pos="0">
                <a:schemeClr val="accent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00">
              <a:latin typeface="Calibri"/>
              <a:ea typeface="微软雅黑"/>
              <a:cs typeface="+mn-ea"/>
              <a:sym typeface="Calibri"/>
            </a:endParaRPr>
          </a:p>
        </p:txBody>
      </p:sp>
      <p:sp>
        <p:nvSpPr>
          <p:cNvPr id="44" name="TextBox 4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438900" y="1305342"/>
            <a:ext cx="4495800" cy="2123658"/>
          </a:xfrm>
          <a:prstGeom prst="rect">
            <a:avLst/>
          </a:prstGeom>
          <a:noFill/>
        </p:spPr>
        <p:txBody>
          <a:bodyPr wrap="square" rtlCol="0">
            <a:spAutoFit/>
          </a:bodyPr>
          <a:lstStyle/>
          <a:p>
            <a:r>
              <a:rPr lang="en-US" sz="6600" dirty="0">
                <a:solidFill>
                  <a:schemeClr val="bg1"/>
                </a:solidFill>
                <a:latin typeface="Calibri"/>
                <a:ea typeface="微软雅黑"/>
                <a:cs typeface="+mn-ea"/>
                <a:sym typeface="Calibri"/>
              </a:rPr>
              <a:t>Meet our director </a:t>
            </a:r>
          </a:p>
        </p:txBody>
      </p:sp>
      <p:grpSp>
        <p:nvGrpSpPr>
          <p:cNvPr id="47" name="Group 4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6591723" y="4869137"/>
            <a:ext cx="1324112" cy="331302"/>
            <a:chOff x="4481444" y="4189765"/>
            <a:chExt cx="1324112" cy="331302"/>
          </a:xfrm>
        </p:grpSpPr>
        <p:sp>
          <p:nvSpPr>
            <p:cNvPr id="50" name="Rectangle: Rounded Corners 49"/>
            <p:cNvSpPr/>
            <p:nvPr/>
          </p:nvSpPr>
          <p:spPr>
            <a:xfrm>
              <a:off x="4481444" y="4189765"/>
              <a:ext cx="1324112" cy="331302"/>
            </a:xfrm>
            <a:prstGeom prst="roundRect">
              <a:avLst>
                <a:gd name="adj" fmla="val 50000"/>
              </a:avLst>
            </a:prstGeom>
            <a:gradFill>
              <a:gsLst>
                <a:gs pos="0">
                  <a:schemeClr val="accent5">
                    <a:lumMod val="60000"/>
                    <a:lumOff val="40000"/>
                  </a:schemeClr>
                </a:gs>
                <a:gs pos="100000">
                  <a:schemeClr val="accent3">
                    <a:lumMod val="60000"/>
                    <a:lumOff val="40000"/>
                  </a:schemeClr>
                </a:gs>
              </a:gsLst>
              <a:lin ang="8100000" scaled="1"/>
            </a:gradFill>
            <a:ln w="31750">
              <a:solidFill>
                <a:schemeClr val="accent3">
                  <a:alpha val="93000"/>
                </a:schemeClr>
              </a:solidFill>
            </a:ln>
            <a:effectLst>
              <a:outerShdw blurRad="228600" dist="152400" dir="5400000" sx="79000" sy="79000" algn="t"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spc="300" dirty="0">
                <a:solidFill>
                  <a:schemeClr val="bg1"/>
                </a:solidFill>
                <a:latin typeface="Calibri"/>
                <a:ea typeface="微软雅黑"/>
                <a:cs typeface="+mn-ea"/>
                <a:sym typeface="Calibri"/>
              </a:endParaRPr>
            </a:p>
          </p:txBody>
        </p:sp>
        <p:sp>
          <p:nvSpPr>
            <p:cNvPr id="51" name="TextBox 50"/>
            <p:cNvSpPr txBox="1"/>
            <p:nvPr/>
          </p:nvSpPr>
          <p:spPr>
            <a:xfrm>
              <a:off x="4546298" y="4212451"/>
              <a:ext cx="1194404" cy="307777"/>
            </a:xfrm>
            <a:prstGeom prst="rect">
              <a:avLst/>
            </a:prstGeom>
            <a:noFill/>
          </p:spPr>
          <p:txBody>
            <a:bodyPr wrap="square" rtlCol="0">
              <a:spAutoFit/>
            </a:bodyPr>
            <a:lstStyle/>
            <a:p>
              <a:pPr algn="ctr"/>
              <a:r>
                <a:rPr lang="en-US" sz="1400" dirty="0">
                  <a:solidFill>
                    <a:schemeClr val="bg1"/>
                  </a:solidFill>
                  <a:latin typeface="Calibri"/>
                  <a:ea typeface="微软雅黑"/>
                  <a:cs typeface="+mn-ea"/>
                  <a:sym typeface="Calibri"/>
                </a:rPr>
                <a:t>Read More</a:t>
              </a:r>
              <a:endParaRPr lang="id-ID" sz="1400" dirty="0">
                <a:solidFill>
                  <a:schemeClr val="bg1"/>
                </a:solidFill>
                <a:latin typeface="Calibri"/>
                <a:ea typeface="微软雅黑"/>
                <a:cs typeface="+mn-ea"/>
                <a:sym typeface="Calibri"/>
              </a:endParaRPr>
            </a:p>
          </p:txBody>
        </p:sp>
      </p:grpSp>
      <p:sp>
        <p:nvSpPr>
          <p:cNvPr id="55" name="TextBox 5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439278" y="4292386"/>
            <a:ext cx="3276222" cy="369332"/>
          </a:xfrm>
          <a:prstGeom prst="rect">
            <a:avLst/>
          </a:prstGeom>
          <a:noFill/>
        </p:spPr>
        <p:txBody>
          <a:bodyPr wrap="square" rtlCol="0">
            <a:spAutoFit/>
          </a:bodyPr>
          <a:lstStyle/>
          <a:p>
            <a:r>
              <a:rPr lang="en-US" dirty="0">
                <a:solidFill>
                  <a:schemeClr val="bg1"/>
                </a:solidFill>
                <a:latin typeface="Calibri"/>
                <a:ea typeface="微软雅黑"/>
                <a:cs typeface="+mn-ea"/>
                <a:sym typeface="Calibri"/>
              </a:rPr>
              <a:t>Company</a:t>
            </a:r>
          </a:p>
        </p:txBody>
      </p:sp>
      <p:sp>
        <p:nvSpPr>
          <p:cNvPr id="60" name="Rectangle 5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475990" y="-342900"/>
            <a:ext cx="9801610" cy="6305551"/>
          </a:xfrm>
          <a:prstGeom prst="rect">
            <a:avLst/>
          </a:prstGeom>
          <a:noFill/>
          <a:ln w="349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18" name="TextBox 5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667788" y="3366372"/>
            <a:ext cx="3295164" cy="553998"/>
          </a:xfrm>
          <a:prstGeom prst="rect">
            <a:avLst/>
          </a:prstGeom>
          <a:noFill/>
        </p:spPr>
        <p:txBody>
          <a:bodyPr wrap="square" rtlCol="0">
            <a:spAutoFit/>
          </a:bodyPr>
          <a:lstStyle/>
          <a:p>
            <a:r>
              <a:rPr lang="en-US" altLang="zh-CN" sz="1000" dirty="0">
                <a:solidFill>
                  <a:schemeClr val="bg1">
                    <a:alpha val="80000"/>
                  </a:schemeClr>
                </a:solidFill>
                <a:latin typeface="Calibri"/>
                <a:ea typeface="微软雅黑"/>
                <a:cs typeface="+mn-ea"/>
                <a:sym typeface="Calibri"/>
              </a:rPr>
              <a:t>Hey, hey, hey! It's Fat Company! </a:t>
            </a:r>
          </a:p>
          <a:p>
            <a:r>
              <a:rPr lang="en-US" altLang="zh-CN" sz="1000" dirty="0">
                <a:solidFill>
                  <a:schemeClr val="bg1">
                    <a:alpha val="80000"/>
                  </a:schemeClr>
                </a:solidFill>
                <a:latin typeface="Calibri"/>
                <a:ea typeface="微软雅黑"/>
                <a:cs typeface="+mn-ea"/>
                <a:sym typeface="Calibri"/>
              </a:rPr>
              <a:t>Now I'm </a:t>
            </a:r>
            <a:r>
              <a:rPr lang="en-US" altLang="zh-CN" sz="1000" dirty="0" err="1">
                <a:solidFill>
                  <a:schemeClr val="bg1">
                    <a:alpha val="80000"/>
                  </a:schemeClr>
                </a:solidFill>
                <a:latin typeface="Calibri"/>
                <a:ea typeface="微软雅黑"/>
                <a:cs typeface="+mn-ea"/>
                <a:sym typeface="Calibri"/>
              </a:rPr>
              <a:t>gonna</a:t>
            </a:r>
            <a:r>
              <a:rPr lang="en-US" altLang="zh-CN" sz="1000" dirty="0">
                <a:solidFill>
                  <a:schemeClr val="bg1">
                    <a:alpha val="80000"/>
                  </a:schemeClr>
                </a:solidFill>
                <a:latin typeface="Calibri"/>
                <a:ea typeface="微软雅黑"/>
                <a:cs typeface="+mn-ea"/>
                <a:sym typeface="Calibri"/>
              </a:rPr>
              <a:t> sing a song for you, and this is </a:t>
            </a:r>
            <a:r>
              <a:rPr lang="en-US" altLang="zh-CN" sz="1000" dirty="0" err="1">
                <a:solidFill>
                  <a:schemeClr val="bg1">
                    <a:alpha val="80000"/>
                  </a:schemeClr>
                </a:solidFill>
                <a:latin typeface="Calibri"/>
                <a:ea typeface="微软雅黑"/>
                <a:cs typeface="+mn-ea"/>
                <a:sym typeface="Calibri"/>
              </a:rPr>
              <a:t>gonna</a:t>
            </a:r>
            <a:r>
              <a:rPr lang="en-US" altLang="zh-CN" sz="1000" dirty="0">
                <a:solidFill>
                  <a:schemeClr val="bg1">
                    <a:alpha val="80000"/>
                  </a:schemeClr>
                </a:solidFill>
                <a:latin typeface="Calibri"/>
                <a:ea typeface="微软雅黑"/>
                <a:cs typeface="+mn-ea"/>
                <a:sym typeface="Calibri"/>
              </a:rPr>
              <a:t> show you a thing or two. You'll have some</a:t>
            </a:r>
          </a:p>
        </p:txBody>
      </p:sp>
      <p:pic>
        <p:nvPicPr>
          <p:cNvPr id="21" name="Picture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4"/>
          <a:stretch>
            <a:fillRect/>
          </a:stretch>
        </p:blipFill>
        <p:spPr>
          <a:xfrm rot="3600000">
            <a:off x="8748517" y="4277421"/>
            <a:ext cx="2772202" cy="2842831"/>
          </a:xfrm>
          <a:prstGeom prst="rect">
            <a:avLst/>
          </a:prstGeom>
        </p:spPr>
      </p:pic>
      <p:pic>
        <p:nvPicPr>
          <p:cNvPr id="22" name="图片占位符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5"/>
          </p:nvPr>
        </p:nvPicPr>
        <p:blipFill rotWithShape="1">
          <a:blip r:embed="rId5" cstate="screen">
            <a:extLst>
              <a:ext uri="{28A0092B-C50C-407E-A947-70E740481C1C}">
                <a14:useLocalDpi xmlns:a14="http://schemas.microsoft.com/office/drawing/2010/main"/>
              </a:ext>
            </a:extLst>
          </a:blip>
          <a:srcRect/>
          <a:stretch>
            <a:fillRect/>
          </a:stretch>
        </p:blipFill>
        <p:spPr>
          <a:xfrm>
            <a:off x="1114425" y="1003300"/>
            <a:ext cx="4999038" cy="5854700"/>
          </a:xfrm>
        </p:spPr>
      </p:pic>
      <p:sp>
        <p:nvSpPr>
          <p:cNvPr id="61" name="Rectangle: Diagonal Corners Rounded 6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0" y="4530805"/>
            <a:ext cx="3810000" cy="1450895"/>
          </a:xfrm>
          <a:prstGeom prst="round2DiagRect">
            <a:avLst>
              <a:gd name="adj1" fmla="val 0"/>
              <a:gd name="adj2" fmla="val 0"/>
            </a:avLst>
          </a:prstGeom>
          <a:gradFill>
            <a:gsLst>
              <a:gs pos="0">
                <a:schemeClr val="accent3"/>
              </a:gs>
              <a:gs pos="100000">
                <a:schemeClr val="accent4"/>
              </a:gs>
            </a:gsLst>
            <a:lin ang="81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cs typeface="+mn-ea"/>
              <a:sym typeface="Calibri"/>
            </a:endParaRPr>
          </a:p>
        </p:txBody>
      </p:sp>
      <p:sp>
        <p:nvSpPr>
          <p:cNvPr id="23" name="TextBox 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568860" y="4775507"/>
            <a:ext cx="2789680" cy="338554"/>
          </a:xfrm>
          <a:prstGeom prst="rect">
            <a:avLst/>
          </a:prstGeom>
          <a:noFill/>
        </p:spPr>
        <p:txBody>
          <a:bodyPr wrap="square" rtlCol="0">
            <a:spAutoFit/>
          </a:bodyPr>
          <a:lstStyle/>
          <a:p>
            <a:r>
              <a:rPr lang="en-US" altLang="zh-CN" sz="1600" b="1" dirty="0">
                <a:solidFill>
                  <a:schemeClr val="bg1"/>
                </a:solidFill>
                <a:latin typeface="Calibri"/>
                <a:ea typeface="微软雅黑"/>
                <a:sym typeface="Calibri"/>
              </a:rPr>
              <a:t>About  Our Team</a:t>
            </a:r>
          </a:p>
        </p:txBody>
      </p:sp>
      <p:sp>
        <p:nvSpPr>
          <p:cNvPr id="24" name="TextBox 5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568860" y="5114062"/>
            <a:ext cx="2341798" cy="461665"/>
          </a:xfrm>
          <a:prstGeom prst="rect">
            <a:avLst/>
          </a:prstGeom>
          <a:noFill/>
        </p:spPr>
        <p:txBody>
          <a:bodyPr wrap="square" rtlCol="0">
            <a:spAutoFit/>
          </a:bodyPr>
          <a:lstStyle/>
          <a:p>
            <a:r>
              <a:rPr lang="en-US" altLang="zh-CN" sz="800" dirty="0">
                <a:solidFill>
                  <a:schemeClr val="bg1"/>
                </a:solidFill>
                <a:latin typeface="Calibri"/>
                <a:ea typeface="微软雅黑"/>
                <a:cs typeface="+mn-ea"/>
                <a:sym typeface="Calibri"/>
              </a:rPr>
              <a:t>Hey, hey, hey! It's Fat Company! </a:t>
            </a:r>
          </a:p>
          <a:p>
            <a:r>
              <a:rPr lang="en-US" altLang="zh-CN" sz="800" dirty="0">
                <a:solidFill>
                  <a:schemeClr val="bg1"/>
                </a:solidFill>
                <a:latin typeface="Calibri"/>
                <a:ea typeface="微软雅黑"/>
                <a:cs typeface="+mn-ea"/>
                <a:sym typeface="Calibri"/>
              </a:rPr>
              <a:t>Now I'm </a:t>
            </a:r>
            <a:r>
              <a:rPr lang="en-US" altLang="zh-CN" sz="800" dirty="0" err="1">
                <a:solidFill>
                  <a:schemeClr val="bg1"/>
                </a:solidFill>
                <a:latin typeface="Calibri"/>
                <a:ea typeface="微软雅黑"/>
                <a:cs typeface="+mn-ea"/>
                <a:sym typeface="Calibri"/>
              </a:rPr>
              <a:t>gonna</a:t>
            </a:r>
            <a:r>
              <a:rPr lang="en-US" altLang="zh-CN" sz="800" dirty="0">
                <a:solidFill>
                  <a:schemeClr val="bg1"/>
                </a:solidFill>
                <a:latin typeface="Calibri"/>
                <a:ea typeface="微软雅黑"/>
                <a:cs typeface="+mn-ea"/>
                <a:sym typeface="Calibri"/>
              </a:rPr>
              <a:t> sing a song for you, and this is </a:t>
            </a:r>
            <a:r>
              <a:rPr lang="en-US" altLang="zh-CN" sz="800" dirty="0" err="1">
                <a:solidFill>
                  <a:schemeClr val="bg1"/>
                </a:solidFill>
                <a:latin typeface="Calibri"/>
                <a:ea typeface="微软雅黑"/>
                <a:cs typeface="+mn-ea"/>
                <a:sym typeface="Calibri"/>
              </a:rPr>
              <a:t>gonna</a:t>
            </a:r>
            <a:r>
              <a:rPr lang="en-US" altLang="zh-CN" sz="800" dirty="0">
                <a:solidFill>
                  <a:schemeClr val="bg1"/>
                </a:solidFill>
                <a:latin typeface="Calibri"/>
                <a:ea typeface="微软雅黑"/>
                <a:cs typeface="+mn-ea"/>
                <a:sym typeface="Calibri"/>
              </a:rPr>
              <a:t> show you a thing or two. You'll have some</a:t>
            </a:r>
          </a:p>
        </p:txBody>
      </p:sp>
      <p:sp>
        <p:nvSpPr>
          <p:cNvPr id="42" name="TextBox 4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rot="16200000">
            <a:off x="2769085" y="2721610"/>
            <a:ext cx="4939622" cy="1323439"/>
          </a:xfrm>
          <a:prstGeom prst="rect">
            <a:avLst/>
          </a:prstGeom>
          <a:noFill/>
        </p:spPr>
        <p:txBody>
          <a:bodyPr wrap="none" rtlCol="0">
            <a:spAutoFit/>
          </a:bodyPr>
          <a:lstStyle/>
          <a:p>
            <a:pPr algn="ctr"/>
            <a:r>
              <a:rPr lang="en-US" sz="8000" b="1" spc="300" dirty="0">
                <a:solidFill>
                  <a:schemeClr val="bg1">
                    <a:alpha val="10000"/>
                  </a:schemeClr>
                </a:solidFill>
                <a:latin typeface="Calibri"/>
                <a:ea typeface="微软雅黑"/>
                <a:cs typeface="+mn-ea"/>
                <a:sym typeface="Calibri"/>
              </a:rPr>
              <a:t>HEIJAILUO</a:t>
            </a:r>
            <a:endParaRPr lang="en-US" sz="8000" spc="300" dirty="0">
              <a:ln w="50800">
                <a:solidFill>
                  <a:schemeClr val="bg1">
                    <a:alpha val="19000"/>
                  </a:schemeClr>
                </a:solidFill>
              </a:ln>
              <a:solidFill>
                <a:schemeClr val="bg1">
                  <a:alpha val="10000"/>
                </a:schemeClr>
              </a:solidFill>
              <a:latin typeface="Calibri"/>
              <a:ea typeface="微软雅黑"/>
              <a:cs typeface="+mn-ea"/>
              <a:sym typeface="Calibri"/>
            </a:endParaRPr>
          </a:p>
        </p:txBody>
      </p:sp>
      <p:sp>
        <p:nvSpPr>
          <p:cNvPr id="4"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2000">
        <p14:flythrough dir="ou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Rounded Corners 3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38200" y="3371850"/>
            <a:ext cx="10439400" cy="2552700"/>
          </a:xfrm>
          <a:prstGeom prst="roundRect">
            <a:avLst>
              <a:gd name="adj" fmla="val 2985"/>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nvGrpSpPr>
          <p:cNvPr id="32" name="Group 3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217115" y="1072247"/>
            <a:ext cx="4212135" cy="4599207"/>
            <a:chOff x="3951837" y="1382495"/>
            <a:chExt cx="4212135" cy="4599207"/>
          </a:xfrm>
        </p:grpSpPr>
        <p:grpSp>
          <p:nvGrpSpPr>
            <p:cNvPr id="3" name="Group 2"/>
            <p:cNvGrpSpPr/>
            <p:nvPr/>
          </p:nvGrpSpPr>
          <p:grpSpPr>
            <a:xfrm rot="5400000">
              <a:off x="3758301" y="1576031"/>
              <a:ext cx="4599207" cy="4212135"/>
              <a:chOff x="1799303" y="1268361"/>
              <a:chExt cx="1166810" cy="914402"/>
            </a:xfrm>
            <a:solidFill>
              <a:srgbClr val="232A4E"/>
            </a:solidFill>
            <a:effectLst>
              <a:outerShdw blurRad="609600" dist="114300" dir="5400000" algn="t" rotWithShape="0">
                <a:prstClr val="black">
                  <a:alpha val="12000"/>
                </a:prstClr>
              </a:outerShdw>
            </a:effectLst>
          </p:grpSpPr>
          <p:sp>
            <p:nvSpPr>
              <p:cNvPr id="4" name="Rectangle: Top Corners Rounded 3"/>
              <p:cNvSpPr/>
              <p:nvPr/>
            </p:nvSpPr>
            <p:spPr>
              <a:xfrm rot="16200000">
                <a:off x="1408586" y="1659078"/>
                <a:ext cx="914400" cy="132966"/>
              </a:xfrm>
              <a:prstGeom prst="round2SameRect">
                <a:avLst>
                  <a:gd name="adj1" fmla="val 22155"/>
                  <a:gd name="adj2" fmla="val 0"/>
                </a:avLst>
              </a:prstGeom>
              <a:gradFill>
                <a:gsLst>
                  <a:gs pos="0">
                    <a:schemeClr val="accent3">
                      <a:alpha val="57000"/>
                    </a:schemeClr>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latin typeface="Calibri"/>
                  <a:ea typeface="微软雅黑"/>
                  <a:cs typeface="+mn-ea"/>
                  <a:sym typeface="Calibri"/>
                </a:endParaRPr>
              </a:p>
            </p:txBody>
          </p:sp>
          <p:sp>
            <p:nvSpPr>
              <p:cNvPr id="5" name="Rectangle: Top Corners Rounded 4"/>
              <p:cNvSpPr/>
              <p:nvPr/>
            </p:nvSpPr>
            <p:spPr>
              <a:xfrm rot="5400000">
                <a:off x="1991991" y="1208640"/>
                <a:ext cx="914400" cy="1033845"/>
              </a:xfrm>
              <a:prstGeom prst="round2SameRect">
                <a:avLst>
                  <a:gd name="adj1" fmla="val 0"/>
                  <a:gd name="adj2" fmla="val 0"/>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a:ea typeface="微软雅黑"/>
                  <a:cs typeface="+mn-ea"/>
                  <a:sym typeface="Calibri"/>
                </a:endParaRPr>
              </a:p>
            </p:txBody>
          </p:sp>
        </p:grpSp>
        <p:grpSp>
          <p:nvGrpSpPr>
            <p:cNvPr id="2" name="Group 1"/>
            <p:cNvGrpSpPr/>
            <p:nvPr/>
          </p:nvGrpSpPr>
          <p:grpSpPr>
            <a:xfrm>
              <a:off x="4553899" y="2236672"/>
              <a:ext cx="678980" cy="1304276"/>
              <a:chOff x="2126061" y="2693866"/>
              <a:chExt cx="678980" cy="1304276"/>
            </a:xfrm>
          </p:grpSpPr>
          <p:sp>
            <p:nvSpPr>
              <p:cNvPr id="6" name="Freeform: Shape 5"/>
              <p:cNvSpPr/>
              <p:nvPr/>
            </p:nvSpPr>
            <p:spPr bwMode="auto">
              <a:xfrm flipV="1">
                <a:off x="2138669" y="2693866"/>
                <a:ext cx="653764" cy="883074"/>
              </a:xfrm>
              <a:custGeom>
                <a:avLst/>
                <a:gdLst>
                  <a:gd name="connsiteX0" fmla="*/ 4385106 w 4388197"/>
                  <a:gd name="connsiteY0" fmla="*/ 558456 h 5927380"/>
                  <a:gd name="connsiteX1" fmla="*/ 4113435 w 4388197"/>
                  <a:gd name="connsiteY1" fmla="*/ 295861 h 5927380"/>
                  <a:gd name="connsiteX2" fmla="*/ 3363997 w 4388197"/>
                  <a:gd name="connsiteY2" fmla="*/ 82390 h 5927380"/>
                  <a:gd name="connsiteX3" fmla="*/ 1853593 w 4388197"/>
                  <a:gd name="connsiteY3" fmla="*/ 9427 h 5927380"/>
                  <a:gd name="connsiteX4" fmla="*/ 953547 w 4388197"/>
                  <a:gd name="connsiteY4" fmla="*/ 139099 h 5927380"/>
                  <a:gd name="connsiteX5" fmla="*/ 822756 w 4388197"/>
                  <a:gd name="connsiteY5" fmla="*/ 179554 h 5927380"/>
                  <a:gd name="connsiteX6" fmla="*/ 1472749 w 4388197"/>
                  <a:gd name="connsiteY6" fmla="*/ 129708 h 5927380"/>
                  <a:gd name="connsiteX7" fmla="*/ 3187807 w 4388197"/>
                  <a:gd name="connsiteY7" fmla="*/ 161855 h 5927380"/>
                  <a:gd name="connsiteX8" fmla="*/ 4057587 w 4388197"/>
                  <a:gd name="connsiteY8" fmla="*/ 371353 h 5927380"/>
                  <a:gd name="connsiteX9" fmla="*/ 4385106 w 4388197"/>
                  <a:gd name="connsiteY9" fmla="*/ 558456 h 5927380"/>
                  <a:gd name="connsiteX10" fmla="*/ 827301 w 4388197"/>
                  <a:gd name="connsiteY10" fmla="*/ 909092 h 5927380"/>
                  <a:gd name="connsiteX11" fmla="*/ 925716 w 4388197"/>
                  <a:gd name="connsiteY11" fmla="*/ 905687 h 5927380"/>
                  <a:gd name="connsiteX12" fmla="*/ 523475 w 4388197"/>
                  <a:gd name="connsiteY12" fmla="*/ 808284 h 5927380"/>
                  <a:gd name="connsiteX13" fmla="*/ 373537 w 4388197"/>
                  <a:gd name="connsiteY13" fmla="*/ 698615 h 5927380"/>
                  <a:gd name="connsiteX14" fmla="*/ 414626 w 4388197"/>
                  <a:gd name="connsiteY14" fmla="*/ 629350 h 5927380"/>
                  <a:gd name="connsiteX15" fmla="*/ 618989 w 4388197"/>
                  <a:gd name="connsiteY15" fmla="*/ 564414 h 5927380"/>
                  <a:gd name="connsiteX16" fmla="*/ 1496637 w 4388197"/>
                  <a:gd name="connsiteY16" fmla="*/ 467372 h 5927380"/>
                  <a:gd name="connsiteX17" fmla="*/ 2360588 w 4388197"/>
                  <a:gd name="connsiteY17" fmla="*/ 477112 h 5927380"/>
                  <a:gd name="connsiteX18" fmla="*/ 3466027 w 4388197"/>
                  <a:gd name="connsiteY18" fmla="*/ 562971 h 5927380"/>
                  <a:gd name="connsiteX19" fmla="*/ 3934947 w 4388197"/>
                  <a:gd name="connsiteY19" fmla="*/ 673362 h 5927380"/>
                  <a:gd name="connsiteX20" fmla="*/ 4057493 w 4388197"/>
                  <a:gd name="connsiteY20" fmla="*/ 772569 h 5927380"/>
                  <a:gd name="connsiteX21" fmla="*/ 4043797 w 4388197"/>
                  <a:gd name="connsiteY21" fmla="*/ 854821 h 5927380"/>
                  <a:gd name="connsiteX22" fmla="*/ 4115162 w 4388197"/>
                  <a:gd name="connsiteY22" fmla="*/ 761025 h 5927380"/>
                  <a:gd name="connsiteX23" fmla="*/ 4075155 w 4388197"/>
                  <a:gd name="connsiteY23" fmla="*/ 687792 h 5927380"/>
                  <a:gd name="connsiteX24" fmla="*/ 3826457 w 4388197"/>
                  <a:gd name="connsiteY24" fmla="*/ 543851 h 5927380"/>
                  <a:gd name="connsiteX25" fmla="*/ 3124339 w 4388197"/>
                  <a:gd name="connsiteY25" fmla="*/ 377544 h 5927380"/>
                  <a:gd name="connsiteX26" fmla="*/ 1500962 w 4388197"/>
                  <a:gd name="connsiteY26" fmla="*/ 308640 h 5927380"/>
                  <a:gd name="connsiteX27" fmla="*/ 718108 w 4388197"/>
                  <a:gd name="connsiteY27" fmla="*/ 351209 h 5927380"/>
                  <a:gd name="connsiteX28" fmla="*/ 204855 w 4388197"/>
                  <a:gd name="connsiteY28" fmla="*/ 437068 h 5927380"/>
                  <a:gd name="connsiteX29" fmla="*/ 18513 w 4388197"/>
                  <a:gd name="connsiteY29" fmla="*/ 529421 h 5927380"/>
                  <a:gd name="connsiteX30" fmla="*/ 18873 w 4388197"/>
                  <a:gd name="connsiteY30" fmla="*/ 640173 h 5927380"/>
                  <a:gd name="connsiteX31" fmla="*/ 148628 w 4388197"/>
                  <a:gd name="connsiteY31" fmla="*/ 749842 h 5927380"/>
                  <a:gd name="connsiteX32" fmla="*/ 534288 w 4388197"/>
                  <a:gd name="connsiteY32" fmla="*/ 873580 h 5927380"/>
                  <a:gd name="connsiteX33" fmla="*/ 827301 w 4388197"/>
                  <a:gd name="connsiteY33" fmla="*/ 909092 h 5927380"/>
                  <a:gd name="connsiteX34" fmla="*/ 1370321 w 4388197"/>
                  <a:gd name="connsiteY34" fmla="*/ 1345856 h 5927380"/>
                  <a:gd name="connsiteX35" fmla="*/ 1369239 w 4388197"/>
                  <a:gd name="connsiteY35" fmla="*/ 1231740 h 5927380"/>
                  <a:gd name="connsiteX36" fmla="*/ 1611510 w 4388197"/>
                  <a:gd name="connsiteY36" fmla="*/ 1166738 h 5927380"/>
                  <a:gd name="connsiteX37" fmla="*/ 2221515 w 4388197"/>
                  <a:gd name="connsiteY37" fmla="*/ 1164932 h 5927380"/>
                  <a:gd name="connsiteX38" fmla="*/ 2766986 w 4388197"/>
                  <a:gd name="connsiteY38" fmla="*/ 1232463 h 5927380"/>
                  <a:gd name="connsiteX39" fmla="*/ 2888482 w 4388197"/>
                  <a:gd name="connsiteY39" fmla="*/ 1188044 h 5927380"/>
                  <a:gd name="connsiteX40" fmla="*/ 3116693 w 4388197"/>
                  <a:gd name="connsiteY40" fmla="*/ 1065623 h 5927380"/>
                  <a:gd name="connsiteX41" fmla="*/ 2450807 w 4388197"/>
                  <a:gd name="connsiteY41" fmla="*/ 902032 h 5927380"/>
                  <a:gd name="connsiteX42" fmla="*/ 1852340 w 4388197"/>
                  <a:gd name="connsiteY42" fmla="*/ 889032 h 5927380"/>
                  <a:gd name="connsiteX43" fmla="*/ 1288122 w 4388197"/>
                  <a:gd name="connsiteY43" fmla="*/ 997370 h 5927380"/>
                  <a:gd name="connsiteX44" fmla="*/ 1132736 w 4388197"/>
                  <a:gd name="connsiteY44" fmla="*/ 1123764 h 5927380"/>
                  <a:gd name="connsiteX45" fmla="*/ 1172394 w 4388197"/>
                  <a:gd name="connsiteY45" fmla="*/ 1251241 h 5927380"/>
                  <a:gd name="connsiteX46" fmla="*/ 1370321 w 4388197"/>
                  <a:gd name="connsiteY46" fmla="*/ 1345856 h 5927380"/>
                  <a:gd name="connsiteX47" fmla="*/ 1243547 w 4388197"/>
                  <a:gd name="connsiteY47" fmla="*/ 1991968 h 5927380"/>
                  <a:gd name="connsiteX48" fmla="*/ 1187297 w 4388197"/>
                  <a:gd name="connsiteY48" fmla="*/ 1867588 h 5927380"/>
                  <a:gd name="connsiteX49" fmla="*/ 1321072 w 4388197"/>
                  <a:gd name="connsiteY49" fmla="*/ 1784788 h 5927380"/>
                  <a:gd name="connsiteX50" fmla="*/ 1979848 w 4388197"/>
                  <a:gd name="connsiteY50" fmla="*/ 1750078 h 5927380"/>
                  <a:gd name="connsiteX51" fmla="*/ 2937183 w 4388197"/>
                  <a:gd name="connsiteY51" fmla="*/ 1846978 h 5927380"/>
                  <a:gd name="connsiteX52" fmla="*/ 3049684 w 4388197"/>
                  <a:gd name="connsiteY52" fmla="*/ 1794551 h 5927380"/>
                  <a:gd name="connsiteX53" fmla="*/ 3211944 w 4388197"/>
                  <a:gd name="connsiteY53" fmla="*/ 1705966 h 5927380"/>
                  <a:gd name="connsiteX54" fmla="*/ 2069632 w 4388197"/>
                  <a:gd name="connsiteY54" fmla="*/ 1528073 h 5927380"/>
                  <a:gd name="connsiteX55" fmla="*/ 1203884 w 4388197"/>
                  <a:gd name="connsiteY55" fmla="*/ 1605449 h 5927380"/>
                  <a:gd name="connsiteX56" fmla="*/ 988619 w 4388197"/>
                  <a:gd name="connsiteY56" fmla="*/ 1690780 h 5927380"/>
                  <a:gd name="connsiteX57" fmla="*/ 978883 w 4388197"/>
                  <a:gd name="connsiteY57" fmla="*/ 1851679 h 5927380"/>
                  <a:gd name="connsiteX58" fmla="*/ 1243547 w 4388197"/>
                  <a:gd name="connsiteY58" fmla="*/ 1991968 h 5927380"/>
                  <a:gd name="connsiteX59" fmla="*/ 1461814 w 4388197"/>
                  <a:gd name="connsiteY59" fmla="*/ 2674738 h 5927380"/>
                  <a:gd name="connsiteX60" fmla="*/ 1009858 w 4388197"/>
                  <a:gd name="connsiteY60" fmla="*/ 2520318 h 5927380"/>
                  <a:gd name="connsiteX61" fmla="*/ 910385 w 4388197"/>
                  <a:gd name="connsiteY61" fmla="*/ 2438056 h 5927380"/>
                  <a:gd name="connsiteX62" fmla="*/ 951832 w 4388197"/>
                  <a:gd name="connsiteY62" fmla="*/ 2376721 h 5927380"/>
                  <a:gd name="connsiteX63" fmla="*/ 1180333 w 4388197"/>
                  <a:gd name="connsiteY63" fmla="*/ 2333425 h 5927380"/>
                  <a:gd name="connsiteX64" fmla="*/ 1929268 w 4388197"/>
                  <a:gd name="connsiteY64" fmla="*/ 2309974 h 5927380"/>
                  <a:gd name="connsiteX65" fmla="*/ 3443718 w 4388197"/>
                  <a:gd name="connsiteY65" fmla="*/ 2460786 h 5927380"/>
                  <a:gd name="connsiteX66" fmla="*/ 3242248 w 4388197"/>
                  <a:gd name="connsiteY66" fmla="*/ 2334508 h 5927380"/>
                  <a:gd name="connsiteX67" fmla="*/ 3020234 w 4388197"/>
                  <a:gd name="connsiteY67" fmla="*/ 2281471 h 5927380"/>
                  <a:gd name="connsiteX68" fmla="*/ 1510470 w 4388197"/>
                  <a:gd name="connsiteY68" fmla="*/ 2169264 h 5927380"/>
                  <a:gd name="connsiteX69" fmla="*/ 835059 w 4388197"/>
                  <a:gd name="connsiteY69" fmla="*/ 2221579 h 5927380"/>
                  <a:gd name="connsiteX70" fmla="*/ 525105 w 4388197"/>
                  <a:gd name="connsiteY70" fmla="*/ 2295181 h 5927380"/>
                  <a:gd name="connsiteX71" fmla="*/ 476089 w 4388197"/>
                  <a:gd name="connsiteY71" fmla="*/ 2361928 h 5927380"/>
                  <a:gd name="connsiteX72" fmla="*/ 652330 w 4388197"/>
                  <a:gd name="connsiteY72" fmla="*/ 2484960 h 5927380"/>
                  <a:gd name="connsiteX73" fmla="*/ 1343239 w 4388197"/>
                  <a:gd name="connsiteY73" fmla="*/ 2671130 h 5927380"/>
                  <a:gd name="connsiteX74" fmla="*/ 1461814 w 4388197"/>
                  <a:gd name="connsiteY74" fmla="*/ 2674738 h 5927380"/>
                  <a:gd name="connsiteX75" fmla="*/ 3887622 w 4388197"/>
                  <a:gd name="connsiteY75" fmla="*/ 2739577 h 5927380"/>
                  <a:gd name="connsiteX76" fmla="*/ 4309754 w 4388197"/>
                  <a:gd name="connsiteY76" fmla="*/ 2545171 h 5927380"/>
                  <a:gd name="connsiteX77" fmla="*/ 4370335 w 4388197"/>
                  <a:gd name="connsiteY77" fmla="*/ 2201036 h 5927380"/>
                  <a:gd name="connsiteX78" fmla="*/ 4141353 w 4388197"/>
                  <a:gd name="connsiteY78" fmla="*/ 1893658 h 5927380"/>
                  <a:gd name="connsiteX79" fmla="*/ 3473881 w 4388197"/>
                  <a:gd name="connsiteY79" fmla="*/ 1577631 h 5927380"/>
                  <a:gd name="connsiteX80" fmla="*/ 3637954 w 4388197"/>
                  <a:gd name="connsiteY80" fmla="*/ 1685376 h 5927380"/>
                  <a:gd name="connsiteX81" fmla="*/ 3999637 w 4388197"/>
                  <a:gd name="connsiteY81" fmla="*/ 1997078 h 5927380"/>
                  <a:gd name="connsiteX82" fmla="*/ 4147844 w 4388197"/>
                  <a:gd name="connsiteY82" fmla="*/ 2301574 h 5927380"/>
                  <a:gd name="connsiteX83" fmla="*/ 3978362 w 4388197"/>
                  <a:gd name="connsiteY83" fmla="*/ 2621204 h 5927380"/>
                  <a:gd name="connsiteX84" fmla="*/ 3615597 w 4388197"/>
                  <a:gd name="connsiteY84" fmla="*/ 2658321 h 5927380"/>
                  <a:gd name="connsiteX85" fmla="*/ 3887622 w 4388197"/>
                  <a:gd name="connsiteY85" fmla="*/ 2739577 h 5927380"/>
                  <a:gd name="connsiteX86" fmla="*/ 3497694 w 4388197"/>
                  <a:gd name="connsiteY86" fmla="*/ 4725642 h 5927380"/>
                  <a:gd name="connsiteX87" fmla="*/ 3338011 w 4388197"/>
                  <a:gd name="connsiteY87" fmla="*/ 4620052 h 5927380"/>
                  <a:gd name="connsiteX88" fmla="*/ 2751547 w 4388197"/>
                  <a:gd name="connsiteY88" fmla="*/ 4173546 h 5927380"/>
                  <a:gd name="connsiteX89" fmla="*/ 2561226 w 4388197"/>
                  <a:gd name="connsiteY89" fmla="*/ 3902543 h 5927380"/>
                  <a:gd name="connsiteX90" fmla="*/ 2571318 w 4388197"/>
                  <a:gd name="connsiteY90" fmla="*/ 3668659 h 5927380"/>
                  <a:gd name="connsiteX91" fmla="*/ 2772814 w 4388197"/>
                  <a:gd name="connsiteY91" fmla="*/ 3335311 h 5927380"/>
                  <a:gd name="connsiteX92" fmla="*/ 2865091 w 4388197"/>
                  <a:gd name="connsiteY92" fmla="*/ 2998359 h 5927380"/>
                  <a:gd name="connsiteX93" fmla="*/ 2754070 w 4388197"/>
                  <a:gd name="connsiteY93" fmla="*/ 2773124 h 5927380"/>
                  <a:gd name="connsiteX94" fmla="*/ 2414880 w 4388197"/>
                  <a:gd name="connsiteY94" fmla="*/ 2492030 h 5927380"/>
                  <a:gd name="connsiteX95" fmla="*/ 2574202 w 4388197"/>
                  <a:gd name="connsiteY95" fmla="*/ 2765916 h 5927380"/>
                  <a:gd name="connsiteX96" fmla="*/ 2536354 w 4388197"/>
                  <a:gd name="connsiteY96" fmla="*/ 3009530 h 5927380"/>
                  <a:gd name="connsiteX97" fmla="*/ 2253035 w 4388197"/>
                  <a:gd name="connsiteY97" fmla="*/ 3463605 h 5927380"/>
                  <a:gd name="connsiteX98" fmla="*/ 2278627 w 4388197"/>
                  <a:gd name="connsiteY98" fmla="*/ 3971014 h 5927380"/>
                  <a:gd name="connsiteX99" fmla="*/ 2765245 w 4388197"/>
                  <a:gd name="connsiteY99" fmla="*/ 4426530 h 5927380"/>
                  <a:gd name="connsiteX100" fmla="*/ 3497694 w 4388197"/>
                  <a:gd name="connsiteY100" fmla="*/ 4725642 h 5927380"/>
                  <a:gd name="connsiteX101" fmla="*/ 2810103 w 4388197"/>
                  <a:gd name="connsiteY101" fmla="*/ 5927380 h 5927380"/>
                  <a:gd name="connsiteX102" fmla="*/ 2880016 w 4388197"/>
                  <a:gd name="connsiteY102" fmla="*/ 5803705 h 5927380"/>
                  <a:gd name="connsiteX103" fmla="*/ 2882899 w 4388197"/>
                  <a:gd name="connsiteY103" fmla="*/ 5199032 h 5927380"/>
                  <a:gd name="connsiteX104" fmla="*/ 2714243 w 4388197"/>
                  <a:gd name="connsiteY104" fmla="*/ 4884616 h 5927380"/>
                  <a:gd name="connsiteX105" fmla="*/ 2521082 w 4388197"/>
                  <a:gd name="connsiteY105" fmla="*/ 4684501 h 5927380"/>
                  <a:gd name="connsiteX106" fmla="*/ 2024484 w 4388197"/>
                  <a:gd name="connsiteY106" fmla="*/ 4199176 h 5927380"/>
                  <a:gd name="connsiteX107" fmla="*/ 1733661 w 4388197"/>
                  <a:gd name="connsiteY107" fmla="*/ 3770821 h 5927380"/>
                  <a:gd name="connsiteX108" fmla="*/ 1784114 w 4388197"/>
                  <a:gd name="connsiteY108" fmla="*/ 3376720 h 5927380"/>
                  <a:gd name="connsiteX109" fmla="*/ 2172599 w 4388197"/>
                  <a:gd name="connsiteY109" fmla="*/ 2719043 h 5927380"/>
                  <a:gd name="connsiteX110" fmla="*/ 1741950 w 4388197"/>
                  <a:gd name="connsiteY110" fmla="*/ 3181652 h 5927380"/>
                  <a:gd name="connsiteX111" fmla="*/ 1428423 w 4388197"/>
                  <a:gd name="connsiteY111" fmla="*/ 3663011 h 5927380"/>
                  <a:gd name="connsiteX112" fmla="*/ 1444640 w 4388197"/>
                  <a:gd name="connsiteY112" fmla="*/ 3939567 h 5927380"/>
                  <a:gd name="connsiteX113" fmla="*/ 1739427 w 4388197"/>
                  <a:gd name="connsiteY113" fmla="*/ 4320327 h 5927380"/>
                  <a:gd name="connsiteX114" fmla="*/ 2427745 w 4388197"/>
                  <a:gd name="connsiteY114" fmla="*/ 4904808 h 5927380"/>
                  <a:gd name="connsiteX115" fmla="*/ 2825239 w 4388197"/>
                  <a:gd name="connsiteY115" fmla="*/ 5695895 h 5927380"/>
                  <a:gd name="connsiteX116" fmla="*/ 2810103 w 4388197"/>
                  <a:gd name="connsiteY116" fmla="*/ 5927380 h 5927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388197" h="5927380">
                    <a:moveTo>
                      <a:pt x="4385106" y="558456"/>
                    </a:moveTo>
                    <a:cubicBezTo>
                      <a:pt x="4344031" y="432035"/>
                      <a:pt x="4224409" y="355460"/>
                      <a:pt x="4113435" y="295861"/>
                    </a:cubicBezTo>
                    <a:cubicBezTo>
                      <a:pt x="3882479" y="170162"/>
                      <a:pt x="3620536" y="123567"/>
                      <a:pt x="3363997" y="82390"/>
                    </a:cubicBezTo>
                    <a:cubicBezTo>
                      <a:pt x="2864252" y="11233"/>
                      <a:pt x="2357661" y="-16219"/>
                      <a:pt x="1853593" y="9427"/>
                    </a:cubicBezTo>
                    <a:cubicBezTo>
                      <a:pt x="1550215" y="24597"/>
                      <a:pt x="1247557" y="62885"/>
                      <a:pt x="953547" y="139099"/>
                    </a:cubicBezTo>
                    <a:cubicBezTo>
                      <a:pt x="909230" y="150657"/>
                      <a:pt x="865632" y="163661"/>
                      <a:pt x="822756" y="179554"/>
                    </a:cubicBezTo>
                    <a:cubicBezTo>
                      <a:pt x="1039660" y="165467"/>
                      <a:pt x="1255844" y="139099"/>
                      <a:pt x="1472749" y="129708"/>
                    </a:cubicBezTo>
                    <a:cubicBezTo>
                      <a:pt x="2043835" y="95393"/>
                      <a:pt x="2618884" y="94671"/>
                      <a:pt x="3187807" y="161855"/>
                    </a:cubicBezTo>
                    <a:cubicBezTo>
                      <a:pt x="3483619" y="201226"/>
                      <a:pt x="3780872" y="255406"/>
                      <a:pt x="4057587" y="371353"/>
                    </a:cubicBezTo>
                    <a:cubicBezTo>
                      <a:pt x="4174327" y="420115"/>
                      <a:pt x="4280977" y="487660"/>
                      <a:pt x="4385106" y="558456"/>
                    </a:cubicBezTo>
                    <a:close/>
                    <a:moveTo>
                      <a:pt x="827301" y="909092"/>
                    </a:moveTo>
                    <a:cubicBezTo>
                      <a:pt x="860095" y="909588"/>
                      <a:pt x="892917" y="908573"/>
                      <a:pt x="925716" y="905687"/>
                    </a:cubicBezTo>
                    <a:cubicBezTo>
                      <a:pt x="790554" y="878631"/>
                      <a:pt x="652509" y="858068"/>
                      <a:pt x="523475" y="808284"/>
                    </a:cubicBezTo>
                    <a:cubicBezTo>
                      <a:pt x="466888" y="783752"/>
                      <a:pt x="401650" y="758139"/>
                      <a:pt x="373537" y="698615"/>
                    </a:cubicBezTo>
                    <a:cubicBezTo>
                      <a:pt x="362724" y="667229"/>
                      <a:pt x="390477" y="643419"/>
                      <a:pt x="414626" y="629350"/>
                    </a:cubicBezTo>
                    <a:cubicBezTo>
                      <a:pt x="477340" y="593275"/>
                      <a:pt x="549427" y="579566"/>
                      <a:pt x="618989" y="564414"/>
                    </a:cubicBezTo>
                    <a:cubicBezTo>
                      <a:pt x="908055" y="505972"/>
                      <a:pt x="1202886" y="487213"/>
                      <a:pt x="1496637" y="467372"/>
                    </a:cubicBezTo>
                    <a:cubicBezTo>
                      <a:pt x="1784621" y="455467"/>
                      <a:pt x="2072604" y="472062"/>
                      <a:pt x="2360588" y="477112"/>
                    </a:cubicBezTo>
                    <a:cubicBezTo>
                      <a:pt x="2730029" y="493346"/>
                      <a:pt x="3099470" y="513548"/>
                      <a:pt x="3466027" y="562971"/>
                    </a:cubicBezTo>
                    <a:cubicBezTo>
                      <a:pt x="3624617" y="588224"/>
                      <a:pt x="3785729" y="612395"/>
                      <a:pt x="3934947" y="673362"/>
                    </a:cubicBezTo>
                    <a:cubicBezTo>
                      <a:pt x="3982163" y="695368"/>
                      <a:pt x="4037309" y="720621"/>
                      <a:pt x="4057493" y="772569"/>
                    </a:cubicBezTo>
                    <a:cubicBezTo>
                      <a:pt x="4059656" y="800708"/>
                      <a:pt x="4049203" y="827764"/>
                      <a:pt x="4043797" y="854821"/>
                    </a:cubicBezTo>
                    <a:cubicBezTo>
                      <a:pt x="4075155" y="831011"/>
                      <a:pt x="4115162" y="805037"/>
                      <a:pt x="4115162" y="761025"/>
                    </a:cubicBezTo>
                    <a:cubicBezTo>
                      <a:pt x="4118406" y="730361"/>
                      <a:pt x="4094257" y="707994"/>
                      <a:pt x="4075155" y="687792"/>
                    </a:cubicBezTo>
                    <a:cubicBezTo>
                      <a:pt x="4005231" y="620331"/>
                      <a:pt x="3914403" y="581370"/>
                      <a:pt x="3826457" y="543851"/>
                    </a:cubicBezTo>
                    <a:cubicBezTo>
                      <a:pt x="3601549" y="455467"/>
                      <a:pt x="3362223" y="411816"/>
                      <a:pt x="3124339" y="377544"/>
                    </a:cubicBezTo>
                    <a:cubicBezTo>
                      <a:pt x="2585857" y="312969"/>
                      <a:pt x="2042689" y="302868"/>
                      <a:pt x="1500962" y="308640"/>
                    </a:cubicBezTo>
                    <a:cubicBezTo>
                      <a:pt x="1239650" y="312248"/>
                      <a:pt x="978699" y="329203"/>
                      <a:pt x="718108" y="351209"/>
                    </a:cubicBezTo>
                    <a:cubicBezTo>
                      <a:pt x="545462" y="368165"/>
                      <a:pt x="372816" y="393778"/>
                      <a:pt x="204855" y="437068"/>
                    </a:cubicBezTo>
                    <a:cubicBezTo>
                      <a:pt x="138897" y="457992"/>
                      <a:pt x="67892" y="478194"/>
                      <a:pt x="18513" y="529421"/>
                    </a:cubicBezTo>
                    <a:cubicBezTo>
                      <a:pt x="-10682" y="559725"/>
                      <a:pt x="-1311" y="608066"/>
                      <a:pt x="18873" y="640173"/>
                    </a:cubicBezTo>
                    <a:cubicBezTo>
                      <a:pt x="49510" y="689235"/>
                      <a:pt x="98889" y="722424"/>
                      <a:pt x="148628" y="749842"/>
                    </a:cubicBezTo>
                    <a:cubicBezTo>
                      <a:pt x="269012" y="812974"/>
                      <a:pt x="402371" y="844720"/>
                      <a:pt x="534288" y="873580"/>
                    </a:cubicBezTo>
                    <a:cubicBezTo>
                      <a:pt x="630794" y="892520"/>
                      <a:pt x="728921" y="907604"/>
                      <a:pt x="827301" y="909092"/>
                    </a:cubicBezTo>
                    <a:close/>
                    <a:moveTo>
                      <a:pt x="1370321" y="1345856"/>
                    </a:moveTo>
                    <a:cubicBezTo>
                      <a:pt x="1357702" y="1310105"/>
                      <a:pt x="1331024" y="1261714"/>
                      <a:pt x="1369239" y="1231740"/>
                    </a:cubicBezTo>
                    <a:cubicBezTo>
                      <a:pt x="1437378" y="1179377"/>
                      <a:pt x="1528951" y="1173960"/>
                      <a:pt x="1611510" y="1166738"/>
                    </a:cubicBezTo>
                    <a:cubicBezTo>
                      <a:pt x="1814485" y="1159154"/>
                      <a:pt x="2018180" y="1156265"/>
                      <a:pt x="2221515" y="1164932"/>
                    </a:cubicBezTo>
                    <a:cubicBezTo>
                      <a:pt x="2403939" y="1178655"/>
                      <a:pt x="2588888" y="1186600"/>
                      <a:pt x="2766986" y="1232463"/>
                    </a:cubicBezTo>
                    <a:cubicBezTo>
                      <a:pt x="2813493" y="1248352"/>
                      <a:pt x="2850267" y="1207184"/>
                      <a:pt x="2888482" y="1188044"/>
                    </a:cubicBezTo>
                    <a:cubicBezTo>
                      <a:pt x="2960587" y="1140014"/>
                      <a:pt x="3043146" y="1110763"/>
                      <a:pt x="3116693" y="1065623"/>
                    </a:cubicBezTo>
                    <a:cubicBezTo>
                      <a:pt x="2900019" y="992675"/>
                      <a:pt x="2677937" y="932367"/>
                      <a:pt x="2450807" y="902032"/>
                    </a:cubicBezTo>
                    <a:cubicBezTo>
                      <a:pt x="2252881" y="872781"/>
                      <a:pt x="2051709" y="874587"/>
                      <a:pt x="1852340" y="889032"/>
                    </a:cubicBezTo>
                    <a:cubicBezTo>
                      <a:pt x="1660902" y="900949"/>
                      <a:pt x="1467662" y="927311"/>
                      <a:pt x="1288122" y="997370"/>
                    </a:cubicBezTo>
                    <a:cubicBezTo>
                      <a:pt x="1226833" y="1023732"/>
                      <a:pt x="1158333" y="1057678"/>
                      <a:pt x="1132736" y="1123764"/>
                    </a:cubicBezTo>
                    <a:cubicBezTo>
                      <a:pt x="1113268" y="1169266"/>
                      <a:pt x="1137784" y="1220546"/>
                      <a:pt x="1172394" y="1251241"/>
                    </a:cubicBezTo>
                    <a:cubicBezTo>
                      <a:pt x="1228996" y="1299271"/>
                      <a:pt x="1298577" y="1329244"/>
                      <a:pt x="1370321" y="1345856"/>
                    </a:cubicBezTo>
                    <a:close/>
                    <a:moveTo>
                      <a:pt x="1243547" y="1991968"/>
                    </a:moveTo>
                    <a:cubicBezTo>
                      <a:pt x="1217586" y="1955088"/>
                      <a:pt x="1174316" y="1917846"/>
                      <a:pt x="1187297" y="1867588"/>
                    </a:cubicBezTo>
                    <a:cubicBezTo>
                      <a:pt x="1210374" y="1815522"/>
                      <a:pt x="1270951" y="1798528"/>
                      <a:pt x="1321072" y="1784788"/>
                    </a:cubicBezTo>
                    <a:cubicBezTo>
                      <a:pt x="1537058" y="1737061"/>
                      <a:pt x="1760256" y="1747185"/>
                      <a:pt x="1979848" y="1750078"/>
                    </a:cubicBezTo>
                    <a:cubicBezTo>
                      <a:pt x="2300402" y="1763817"/>
                      <a:pt x="2621317" y="1788766"/>
                      <a:pt x="2937183" y="1846978"/>
                    </a:cubicBezTo>
                    <a:cubicBezTo>
                      <a:pt x="2983698" y="1860718"/>
                      <a:pt x="3016150" y="1819138"/>
                      <a:pt x="3049684" y="1794551"/>
                    </a:cubicBezTo>
                    <a:cubicBezTo>
                      <a:pt x="3097641" y="1754416"/>
                      <a:pt x="3154973" y="1729106"/>
                      <a:pt x="3211944" y="1705966"/>
                    </a:cubicBezTo>
                    <a:cubicBezTo>
                      <a:pt x="2843794" y="1585925"/>
                      <a:pt x="2457254" y="1520480"/>
                      <a:pt x="2069632" y="1528073"/>
                    </a:cubicBezTo>
                    <a:cubicBezTo>
                      <a:pt x="1780088" y="1536028"/>
                      <a:pt x="1488019" y="1542536"/>
                      <a:pt x="1203884" y="1605449"/>
                    </a:cubicBezTo>
                    <a:cubicBezTo>
                      <a:pt x="1129244" y="1624251"/>
                      <a:pt x="1052441" y="1645945"/>
                      <a:pt x="988619" y="1690780"/>
                    </a:cubicBezTo>
                    <a:cubicBezTo>
                      <a:pt x="937056" y="1727299"/>
                      <a:pt x="944268" y="1805759"/>
                      <a:pt x="978883" y="1851679"/>
                    </a:cubicBezTo>
                    <a:cubicBezTo>
                      <a:pt x="1039821" y="1936286"/>
                      <a:pt x="1145110" y="1972805"/>
                      <a:pt x="1243547" y="1991968"/>
                    </a:cubicBezTo>
                    <a:close/>
                    <a:moveTo>
                      <a:pt x="1461814" y="2674738"/>
                    </a:moveTo>
                    <a:cubicBezTo>
                      <a:pt x="1309000" y="2631443"/>
                      <a:pt x="1153663" y="2590673"/>
                      <a:pt x="1009858" y="2520318"/>
                    </a:cubicBezTo>
                    <a:cubicBezTo>
                      <a:pt x="972015" y="2500474"/>
                      <a:pt x="930568" y="2478104"/>
                      <a:pt x="910385" y="2438056"/>
                    </a:cubicBezTo>
                    <a:cubicBezTo>
                      <a:pt x="893806" y="2408110"/>
                      <a:pt x="927684" y="2386102"/>
                      <a:pt x="951832" y="2376721"/>
                    </a:cubicBezTo>
                    <a:cubicBezTo>
                      <a:pt x="1024635" y="2348218"/>
                      <a:pt x="1103205" y="2342445"/>
                      <a:pt x="1180333" y="2333425"/>
                    </a:cubicBezTo>
                    <a:cubicBezTo>
                      <a:pt x="1429017" y="2311056"/>
                      <a:pt x="1679503" y="2306727"/>
                      <a:pt x="1929268" y="2309974"/>
                    </a:cubicBezTo>
                    <a:cubicBezTo>
                      <a:pt x="2436728" y="2328374"/>
                      <a:pt x="2941665" y="2384658"/>
                      <a:pt x="3443718" y="2460786"/>
                    </a:cubicBezTo>
                    <a:cubicBezTo>
                      <a:pt x="3377763" y="2417130"/>
                      <a:pt x="3309285" y="2376721"/>
                      <a:pt x="3242248" y="2334508"/>
                    </a:cubicBezTo>
                    <a:cubicBezTo>
                      <a:pt x="3177013" y="2290852"/>
                      <a:pt x="3094479" y="2297346"/>
                      <a:pt x="3020234" y="2281471"/>
                    </a:cubicBezTo>
                    <a:cubicBezTo>
                      <a:pt x="2519983" y="2213281"/>
                      <a:pt x="2016127" y="2152306"/>
                      <a:pt x="1510470" y="2169264"/>
                    </a:cubicBezTo>
                    <a:cubicBezTo>
                      <a:pt x="1284852" y="2180448"/>
                      <a:pt x="1059235" y="2192715"/>
                      <a:pt x="835059" y="2221579"/>
                    </a:cubicBezTo>
                    <a:cubicBezTo>
                      <a:pt x="730179" y="2237093"/>
                      <a:pt x="623137" y="2252968"/>
                      <a:pt x="525105" y="2295181"/>
                    </a:cubicBezTo>
                    <a:cubicBezTo>
                      <a:pt x="499876" y="2307448"/>
                      <a:pt x="462393" y="2328014"/>
                      <a:pt x="476089" y="2361928"/>
                    </a:cubicBezTo>
                    <a:cubicBezTo>
                      <a:pt x="514292" y="2426150"/>
                      <a:pt x="589258" y="2452488"/>
                      <a:pt x="652330" y="2484960"/>
                    </a:cubicBezTo>
                    <a:cubicBezTo>
                      <a:pt x="872541" y="2579488"/>
                      <a:pt x="1106449" y="2638658"/>
                      <a:pt x="1343239" y="2671130"/>
                    </a:cubicBezTo>
                    <a:cubicBezTo>
                      <a:pt x="1382524" y="2676181"/>
                      <a:pt x="1422530" y="2676181"/>
                      <a:pt x="1461814" y="2674738"/>
                    </a:cubicBezTo>
                    <a:close/>
                    <a:moveTo>
                      <a:pt x="3887622" y="2739577"/>
                    </a:moveTo>
                    <a:cubicBezTo>
                      <a:pt x="4047642" y="2740886"/>
                      <a:pt x="4209687" y="2671743"/>
                      <a:pt x="4309754" y="2545171"/>
                    </a:cubicBezTo>
                    <a:cubicBezTo>
                      <a:pt x="4383316" y="2448957"/>
                      <a:pt x="4408919" y="2316709"/>
                      <a:pt x="4370335" y="2201036"/>
                    </a:cubicBezTo>
                    <a:cubicBezTo>
                      <a:pt x="4329587" y="2077076"/>
                      <a:pt x="4239076" y="1976899"/>
                      <a:pt x="4141353" y="1893658"/>
                    </a:cubicBezTo>
                    <a:cubicBezTo>
                      <a:pt x="3948432" y="1736906"/>
                      <a:pt x="3712959" y="1640332"/>
                      <a:pt x="3473881" y="1577631"/>
                    </a:cubicBezTo>
                    <a:cubicBezTo>
                      <a:pt x="3525808" y="1617630"/>
                      <a:pt x="3583864" y="1648260"/>
                      <a:pt x="3637954" y="1685376"/>
                    </a:cubicBezTo>
                    <a:cubicBezTo>
                      <a:pt x="3770295" y="1774382"/>
                      <a:pt x="3894342" y="1877082"/>
                      <a:pt x="3999637" y="1997078"/>
                    </a:cubicBezTo>
                    <a:cubicBezTo>
                      <a:pt x="4072478" y="2084283"/>
                      <a:pt x="4135584" y="2186622"/>
                      <a:pt x="4147844" y="2301574"/>
                    </a:cubicBezTo>
                    <a:cubicBezTo>
                      <a:pt x="4158662" y="2427336"/>
                      <a:pt x="4098802" y="2567873"/>
                      <a:pt x="3978362" y="2621204"/>
                    </a:cubicBezTo>
                    <a:cubicBezTo>
                      <a:pt x="3865133" y="2674536"/>
                      <a:pt x="3737120" y="2667690"/>
                      <a:pt x="3615597" y="2658321"/>
                    </a:cubicBezTo>
                    <a:cubicBezTo>
                      <a:pt x="3696327" y="2712643"/>
                      <a:pt x="3791610" y="2738791"/>
                      <a:pt x="3887622" y="2739577"/>
                    </a:cubicBezTo>
                    <a:close/>
                    <a:moveTo>
                      <a:pt x="3497694" y="4725642"/>
                    </a:moveTo>
                    <a:cubicBezTo>
                      <a:pt x="3448311" y="4684560"/>
                      <a:pt x="3391359" y="4655009"/>
                      <a:pt x="3338011" y="4620052"/>
                    </a:cubicBezTo>
                    <a:cubicBezTo>
                      <a:pt x="3131830" y="4485992"/>
                      <a:pt x="2927811" y="4345806"/>
                      <a:pt x="2751547" y="4173546"/>
                    </a:cubicBezTo>
                    <a:cubicBezTo>
                      <a:pt x="2675130" y="4093542"/>
                      <a:pt x="2600876" y="4007412"/>
                      <a:pt x="2561226" y="3902543"/>
                    </a:cubicBezTo>
                    <a:cubicBezTo>
                      <a:pt x="2531308" y="3827585"/>
                      <a:pt x="2536715" y="3741095"/>
                      <a:pt x="2571318" y="3668659"/>
                    </a:cubicBezTo>
                    <a:cubicBezTo>
                      <a:pt x="2625747" y="3550095"/>
                      <a:pt x="2710455" y="3449189"/>
                      <a:pt x="2772814" y="3335311"/>
                    </a:cubicBezTo>
                    <a:cubicBezTo>
                      <a:pt x="2830487" y="3233324"/>
                      <a:pt x="2880951" y="3118004"/>
                      <a:pt x="2865091" y="2998359"/>
                    </a:cubicBezTo>
                    <a:cubicBezTo>
                      <a:pt x="2852475" y="2914031"/>
                      <a:pt x="2807418" y="2838352"/>
                      <a:pt x="2754070" y="2773124"/>
                    </a:cubicBezTo>
                    <a:cubicBezTo>
                      <a:pt x="2658549" y="2660326"/>
                      <a:pt x="2541400" y="2567709"/>
                      <a:pt x="2414880" y="2492030"/>
                    </a:cubicBezTo>
                    <a:cubicBezTo>
                      <a:pt x="2471111" y="2581043"/>
                      <a:pt x="2538877" y="2665371"/>
                      <a:pt x="2574202" y="2765916"/>
                    </a:cubicBezTo>
                    <a:cubicBezTo>
                      <a:pt x="2601597" y="2848082"/>
                      <a:pt x="2578167" y="2937095"/>
                      <a:pt x="2536354" y="3009530"/>
                    </a:cubicBezTo>
                    <a:cubicBezTo>
                      <a:pt x="2447682" y="3164493"/>
                      <a:pt x="2314673" y="3293507"/>
                      <a:pt x="2253035" y="3463605"/>
                    </a:cubicBezTo>
                    <a:cubicBezTo>
                      <a:pt x="2189594" y="3626135"/>
                      <a:pt x="2194640" y="3816774"/>
                      <a:pt x="2278627" y="3971014"/>
                    </a:cubicBezTo>
                    <a:cubicBezTo>
                      <a:pt x="2384962" y="4172465"/>
                      <a:pt x="2574202" y="4311210"/>
                      <a:pt x="2765245" y="4426530"/>
                    </a:cubicBezTo>
                    <a:cubicBezTo>
                      <a:pt x="2995937" y="4555184"/>
                      <a:pt x="3241409" y="4660054"/>
                      <a:pt x="3497694" y="4725642"/>
                    </a:cubicBezTo>
                    <a:close/>
                    <a:moveTo>
                      <a:pt x="2810103" y="5927380"/>
                    </a:moveTo>
                    <a:cubicBezTo>
                      <a:pt x="2841456" y="5891324"/>
                      <a:pt x="2868124" y="5850579"/>
                      <a:pt x="2880016" y="5803705"/>
                    </a:cubicBezTo>
                    <a:cubicBezTo>
                      <a:pt x="2933352" y="5607556"/>
                      <a:pt x="2945244" y="5394821"/>
                      <a:pt x="2882899" y="5199032"/>
                    </a:cubicBezTo>
                    <a:cubicBezTo>
                      <a:pt x="2845420" y="5085453"/>
                      <a:pt x="2789201" y="4977643"/>
                      <a:pt x="2714243" y="4884616"/>
                    </a:cubicBezTo>
                    <a:cubicBezTo>
                      <a:pt x="2656943" y="4811421"/>
                      <a:pt x="2587031" y="4749403"/>
                      <a:pt x="2521082" y="4684501"/>
                    </a:cubicBezTo>
                    <a:cubicBezTo>
                      <a:pt x="2353507" y="4525130"/>
                      <a:pt x="2183410" y="4367562"/>
                      <a:pt x="2024484" y="4199176"/>
                    </a:cubicBezTo>
                    <a:cubicBezTo>
                      <a:pt x="1907362" y="4072256"/>
                      <a:pt x="1791682" y="3936322"/>
                      <a:pt x="1733661" y="3770821"/>
                    </a:cubicBezTo>
                    <a:cubicBezTo>
                      <a:pt x="1688614" y="3639213"/>
                      <a:pt x="1736905" y="3500756"/>
                      <a:pt x="1784114" y="3376720"/>
                    </a:cubicBezTo>
                    <a:cubicBezTo>
                      <a:pt x="1883938" y="3141629"/>
                      <a:pt x="2023764" y="2925649"/>
                      <a:pt x="2172599" y="2719043"/>
                    </a:cubicBezTo>
                    <a:cubicBezTo>
                      <a:pt x="2018358" y="2862910"/>
                      <a:pt x="1877451" y="3020118"/>
                      <a:pt x="1741950" y="3181652"/>
                    </a:cubicBezTo>
                    <a:cubicBezTo>
                      <a:pt x="1621945" y="3330927"/>
                      <a:pt x="1500138" y="3483448"/>
                      <a:pt x="1428423" y="3663011"/>
                    </a:cubicBezTo>
                    <a:cubicBezTo>
                      <a:pt x="1397431" y="3752432"/>
                      <a:pt x="1404999" y="3854112"/>
                      <a:pt x="1444640" y="3939567"/>
                    </a:cubicBezTo>
                    <a:cubicBezTo>
                      <a:pt x="1509868" y="4088481"/>
                      <a:pt x="1624468" y="4208190"/>
                      <a:pt x="1739427" y="4320327"/>
                    </a:cubicBezTo>
                    <a:cubicBezTo>
                      <a:pt x="1958896" y="4526932"/>
                      <a:pt x="2196744" y="4712265"/>
                      <a:pt x="2427745" y="4904808"/>
                    </a:cubicBezTo>
                    <a:cubicBezTo>
                      <a:pt x="2659106" y="5100236"/>
                      <a:pt x="2821275" y="5389052"/>
                      <a:pt x="2825239" y="5695895"/>
                    </a:cubicBezTo>
                    <a:cubicBezTo>
                      <a:pt x="2829203" y="5773778"/>
                      <a:pt x="2810463" y="5849858"/>
                      <a:pt x="2810103" y="5927380"/>
                    </a:cubicBezTo>
                    <a:close/>
                  </a:path>
                </a:pathLst>
              </a:custGeom>
              <a:solidFill>
                <a:schemeClr val="bg1">
                  <a:lumMod val="85000"/>
                </a:schemeClr>
              </a:solidFill>
              <a:ln>
                <a:noFill/>
              </a:ln>
            </p:spPr>
            <p:txBody>
              <a:bodyPr vert="horz" wrap="square" lIns="91440" tIns="45720" rIns="91440" bIns="45720" numCol="1" anchor="t" anchorCtr="0" compatLnSpc="1">
                <a:noAutofit/>
              </a:bodyPr>
              <a:lstStyle/>
              <a:p>
                <a:endParaRPr lang="en-US">
                  <a:solidFill>
                    <a:schemeClr val="bg1"/>
                  </a:solidFill>
                  <a:latin typeface="Calibri"/>
                  <a:ea typeface="微软雅黑"/>
                  <a:cs typeface="+mn-ea"/>
                  <a:sym typeface="Calibri"/>
                </a:endParaRPr>
              </a:p>
            </p:txBody>
          </p:sp>
          <p:sp>
            <p:nvSpPr>
              <p:cNvPr id="24" name="TextBox 23"/>
              <p:cNvSpPr txBox="1"/>
              <p:nvPr/>
            </p:nvSpPr>
            <p:spPr>
              <a:xfrm>
                <a:off x="2126061" y="3721143"/>
                <a:ext cx="678980" cy="276999"/>
              </a:xfrm>
              <a:prstGeom prst="rect">
                <a:avLst/>
              </a:prstGeom>
              <a:noFill/>
            </p:spPr>
            <p:txBody>
              <a:bodyPr wrap="square" rtlCol="0">
                <a:spAutoFit/>
              </a:bodyPr>
              <a:lstStyle/>
              <a:p>
                <a:pPr algn="ctr"/>
                <a:r>
                  <a:rPr lang="en-US" sz="1200" dirty="0">
                    <a:solidFill>
                      <a:schemeClr val="bg1"/>
                    </a:solidFill>
                    <a:latin typeface="Calibri"/>
                    <a:ea typeface="微软雅黑"/>
                    <a:cs typeface="+mn-ea"/>
                    <a:sym typeface="Calibri"/>
                  </a:rPr>
                  <a:t>JAVA</a:t>
                </a:r>
              </a:p>
            </p:txBody>
          </p:sp>
        </p:grpSp>
        <p:grpSp>
          <p:nvGrpSpPr>
            <p:cNvPr id="14" name="Group 13"/>
            <p:cNvGrpSpPr/>
            <p:nvPr/>
          </p:nvGrpSpPr>
          <p:grpSpPr>
            <a:xfrm>
              <a:off x="5786741" y="2656372"/>
              <a:ext cx="678980" cy="884576"/>
              <a:chOff x="3358903" y="3113566"/>
              <a:chExt cx="678980" cy="884576"/>
            </a:xfrm>
          </p:grpSpPr>
          <p:grpSp>
            <p:nvGrpSpPr>
              <p:cNvPr id="7" name="Group 23"/>
              <p:cNvGrpSpPr>
                <a:grpSpLocks noChangeAspect="1"/>
              </p:cNvGrpSpPr>
              <p:nvPr/>
            </p:nvGrpSpPr>
            <p:grpSpPr bwMode="auto">
              <a:xfrm>
                <a:off x="3412579" y="3113566"/>
                <a:ext cx="571628" cy="273562"/>
                <a:chOff x="2557" y="1548"/>
                <a:chExt cx="2566" cy="1228"/>
              </a:xfrm>
              <a:solidFill>
                <a:schemeClr val="bg1">
                  <a:lumMod val="85000"/>
                </a:schemeClr>
              </a:solidFill>
            </p:grpSpPr>
            <p:sp>
              <p:nvSpPr>
                <p:cNvPr id="8" name="Freeform 24"/>
                <p:cNvSpPr/>
                <p:nvPr/>
              </p:nvSpPr>
              <p:spPr bwMode="auto">
                <a:xfrm flipV="1">
                  <a:off x="3434" y="1548"/>
                  <a:ext cx="829" cy="971"/>
                </a:xfrm>
                <a:custGeom>
                  <a:avLst/>
                  <a:gdLst>
                    <a:gd name="T0" fmla="*/ 826 w 3651"/>
                    <a:gd name="T1" fmla="*/ 4264 h 4265"/>
                    <a:gd name="T2" fmla="*/ 1746 w 3651"/>
                    <a:gd name="T3" fmla="*/ 4264 h 4265"/>
                    <a:gd name="T4" fmla="*/ 1529 w 3651"/>
                    <a:gd name="T5" fmla="*/ 3132 h 4265"/>
                    <a:gd name="T6" fmla="*/ 2847 w 3651"/>
                    <a:gd name="T7" fmla="*/ 3094 h 4265"/>
                    <a:gd name="T8" fmla="*/ 3515 w 3651"/>
                    <a:gd name="T9" fmla="*/ 2738 h 4265"/>
                    <a:gd name="T10" fmla="*/ 3593 w 3651"/>
                    <a:gd name="T11" fmla="*/ 1997 h 4265"/>
                    <a:gd name="T12" fmla="*/ 3207 w 3651"/>
                    <a:gd name="T13" fmla="*/ 2 h 4265"/>
                    <a:gd name="T14" fmla="*/ 2272 w 3651"/>
                    <a:gd name="T15" fmla="*/ 3 h 4265"/>
                    <a:gd name="T16" fmla="*/ 2641 w 3651"/>
                    <a:gd name="T17" fmla="*/ 1902 h 4265"/>
                    <a:gd name="T18" fmla="*/ 2580 w 3651"/>
                    <a:gd name="T19" fmla="*/ 2333 h 4265"/>
                    <a:gd name="T20" fmla="*/ 2205 w 3651"/>
                    <a:gd name="T21" fmla="*/ 2437 h 4265"/>
                    <a:gd name="T22" fmla="*/ 1395 w 3651"/>
                    <a:gd name="T23" fmla="*/ 2440 h 4265"/>
                    <a:gd name="T24" fmla="*/ 916 w 3651"/>
                    <a:gd name="T25" fmla="*/ 0 h 4265"/>
                    <a:gd name="T26" fmla="*/ 0 w 3651"/>
                    <a:gd name="T27" fmla="*/ 2 h 4265"/>
                    <a:gd name="T28" fmla="*/ 826 w 3651"/>
                    <a:gd name="T29" fmla="*/ 4264 h 4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651" h="4265">
                      <a:moveTo>
                        <a:pt x="826" y="4264"/>
                      </a:moveTo>
                      <a:cubicBezTo>
                        <a:pt x="1132" y="4265"/>
                        <a:pt x="1439" y="4264"/>
                        <a:pt x="1746" y="4264"/>
                      </a:cubicBezTo>
                      <a:cubicBezTo>
                        <a:pt x="1675" y="3886"/>
                        <a:pt x="1599" y="3510"/>
                        <a:pt x="1529" y="3132"/>
                      </a:cubicBezTo>
                      <a:cubicBezTo>
                        <a:pt x="1968" y="3120"/>
                        <a:pt x="2411" y="3159"/>
                        <a:pt x="2847" y="3094"/>
                      </a:cubicBezTo>
                      <a:cubicBezTo>
                        <a:pt x="3097" y="3052"/>
                        <a:pt x="3371" y="2963"/>
                        <a:pt x="3515" y="2738"/>
                      </a:cubicBezTo>
                      <a:cubicBezTo>
                        <a:pt x="3651" y="2517"/>
                        <a:pt x="3637" y="2243"/>
                        <a:pt x="3593" y="1997"/>
                      </a:cubicBezTo>
                      <a:cubicBezTo>
                        <a:pt x="3465" y="1332"/>
                        <a:pt x="3336" y="667"/>
                        <a:pt x="3207" y="2"/>
                      </a:cubicBezTo>
                      <a:cubicBezTo>
                        <a:pt x="2895" y="2"/>
                        <a:pt x="2584" y="1"/>
                        <a:pt x="2272" y="3"/>
                      </a:cubicBezTo>
                      <a:cubicBezTo>
                        <a:pt x="2394" y="636"/>
                        <a:pt x="2520" y="1269"/>
                        <a:pt x="2641" y="1902"/>
                      </a:cubicBezTo>
                      <a:cubicBezTo>
                        <a:pt x="2662" y="2045"/>
                        <a:pt x="2689" y="2219"/>
                        <a:pt x="2580" y="2333"/>
                      </a:cubicBezTo>
                      <a:cubicBezTo>
                        <a:pt x="2476" y="2419"/>
                        <a:pt x="2334" y="2430"/>
                        <a:pt x="2205" y="2437"/>
                      </a:cubicBezTo>
                      <a:cubicBezTo>
                        <a:pt x="1935" y="2444"/>
                        <a:pt x="1665" y="2439"/>
                        <a:pt x="1395" y="2440"/>
                      </a:cubicBezTo>
                      <a:cubicBezTo>
                        <a:pt x="1232" y="1627"/>
                        <a:pt x="1084" y="812"/>
                        <a:pt x="916" y="0"/>
                      </a:cubicBezTo>
                      <a:cubicBezTo>
                        <a:pt x="611" y="5"/>
                        <a:pt x="306" y="0"/>
                        <a:pt x="0" y="2"/>
                      </a:cubicBezTo>
                      <a:cubicBezTo>
                        <a:pt x="275" y="1423"/>
                        <a:pt x="550" y="2843"/>
                        <a:pt x="826" y="4264"/>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solidFill>
                      <a:schemeClr val="bg1"/>
                    </a:solidFill>
                    <a:latin typeface="Calibri"/>
                    <a:ea typeface="微软雅黑"/>
                    <a:cs typeface="+mn-ea"/>
                    <a:sym typeface="Calibri"/>
                  </a:endParaRPr>
                </a:p>
              </p:txBody>
            </p:sp>
            <p:sp>
              <p:nvSpPr>
                <p:cNvPr id="9" name="Freeform 25"/>
                <p:cNvSpPr>
                  <a:spLocks noEditPoints="1"/>
                </p:cNvSpPr>
                <p:nvPr/>
              </p:nvSpPr>
              <p:spPr bwMode="auto">
                <a:xfrm flipV="1">
                  <a:off x="2557" y="1806"/>
                  <a:ext cx="920" cy="970"/>
                </a:xfrm>
                <a:custGeom>
                  <a:avLst/>
                  <a:gdLst>
                    <a:gd name="T0" fmla="*/ 821 w 4052"/>
                    <a:gd name="T1" fmla="*/ 4258 h 4260"/>
                    <a:gd name="T2" fmla="*/ 2575 w 4052"/>
                    <a:gd name="T3" fmla="*/ 4258 h 4260"/>
                    <a:gd name="T4" fmla="*/ 3673 w 4052"/>
                    <a:gd name="T5" fmla="*/ 3938 h 4260"/>
                    <a:gd name="T6" fmla="*/ 4043 w 4052"/>
                    <a:gd name="T7" fmla="*/ 3120 h 4260"/>
                    <a:gd name="T8" fmla="*/ 3665 w 4052"/>
                    <a:gd name="T9" fmla="*/ 1883 h 4260"/>
                    <a:gd name="T10" fmla="*/ 2750 w 4052"/>
                    <a:gd name="T11" fmla="*/ 1227 h 4260"/>
                    <a:gd name="T12" fmla="*/ 1146 w 4052"/>
                    <a:gd name="T13" fmla="*/ 1132 h 4260"/>
                    <a:gd name="T14" fmla="*/ 926 w 4052"/>
                    <a:gd name="T15" fmla="*/ 1 h 4260"/>
                    <a:gd name="T16" fmla="*/ 0 w 4052"/>
                    <a:gd name="T17" fmla="*/ 0 h 4260"/>
                    <a:gd name="T18" fmla="*/ 821 w 4052"/>
                    <a:gd name="T19" fmla="*/ 4258 h 4260"/>
                    <a:gd name="T20" fmla="*/ 1626 w 4052"/>
                    <a:gd name="T21" fmla="*/ 3587 h 4260"/>
                    <a:gd name="T22" fmla="*/ 1280 w 4052"/>
                    <a:gd name="T23" fmla="*/ 1807 h 4260"/>
                    <a:gd name="T24" fmla="*/ 2554 w 4052"/>
                    <a:gd name="T25" fmla="*/ 1940 h 4260"/>
                    <a:gd name="T26" fmla="*/ 3034 w 4052"/>
                    <a:gd name="T27" fmla="*/ 2658 h 4260"/>
                    <a:gd name="T28" fmla="*/ 3017 w 4052"/>
                    <a:gd name="T29" fmla="*/ 3319 h 4260"/>
                    <a:gd name="T30" fmla="*/ 2544 w 4052"/>
                    <a:gd name="T31" fmla="*/ 3570 h 4260"/>
                    <a:gd name="T32" fmla="*/ 1626 w 4052"/>
                    <a:gd name="T33" fmla="*/ 3587 h 4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52" h="4260">
                      <a:moveTo>
                        <a:pt x="821" y="4258"/>
                      </a:moveTo>
                      <a:cubicBezTo>
                        <a:pt x="1406" y="4259"/>
                        <a:pt x="1990" y="4258"/>
                        <a:pt x="2575" y="4258"/>
                      </a:cubicBezTo>
                      <a:cubicBezTo>
                        <a:pt x="2959" y="4260"/>
                        <a:pt x="3372" y="4195"/>
                        <a:pt x="3673" y="3938"/>
                      </a:cubicBezTo>
                      <a:cubicBezTo>
                        <a:pt x="3915" y="3740"/>
                        <a:pt x="4038" y="3427"/>
                        <a:pt x="4043" y="3120"/>
                      </a:cubicBezTo>
                      <a:cubicBezTo>
                        <a:pt x="4052" y="2683"/>
                        <a:pt x="3932" y="2234"/>
                        <a:pt x="3665" y="1883"/>
                      </a:cubicBezTo>
                      <a:cubicBezTo>
                        <a:pt x="3435" y="1580"/>
                        <a:pt x="3120" y="1331"/>
                        <a:pt x="2750" y="1227"/>
                      </a:cubicBezTo>
                      <a:cubicBezTo>
                        <a:pt x="2227" y="1085"/>
                        <a:pt x="1680" y="1148"/>
                        <a:pt x="1146" y="1132"/>
                      </a:cubicBezTo>
                      <a:cubicBezTo>
                        <a:pt x="1072" y="755"/>
                        <a:pt x="1001" y="378"/>
                        <a:pt x="926" y="1"/>
                      </a:cubicBezTo>
                      <a:cubicBezTo>
                        <a:pt x="617" y="0"/>
                        <a:pt x="308" y="0"/>
                        <a:pt x="0" y="0"/>
                      </a:cubicBezTo>
                      <a:cubicBezTo>
                        <a:pt x="272" y="1420"/>
                        <a:pt x="547" y="2838"/>
                        <a:pt x="821" y="4258"/>
                      </a:cubicBezTo>
                      <a:moveTo>
                        <a:pt x="1626" y="3587"/>
                      </a:moveTo>
                      <a:cubicBezTo>
                        <a:pt x="1510" y="2994"/>
                        <a:pt x="1395" y="2400"/>
                        <a:pt x="1280" y="1807"/>
                      </a:cubicBezTo>
                      <a:cubicBezTo>
                        <a:pt x="1705" y="1820"/>
                        <a:pt x="2156" y="1751"/>
                        <a:pt x="2554" y="1940"/>
                      </a:cubicBezTo>
                      <a:cubicBezTo>
                        <a:pt x="2831" y="2072"/>
                        <a:pt x="2971" y="2372"/>
                        <a:pt x="3034" y="2658"/>
                      </a:cubicBezTo>
                      <a:cubicBezTo>
                        <a:pt x="3079" y="2873"/>
                        <a:pt x="3119" y="3113"/>
                        <a:pt x="3017" y="3319"/>
                      </a:cubicBezTo>
                      <a:cubicBezTo>
                        <a:pt x="2926" y="3489"/>
                        <a:pt x="2722" y="3547"/>
                        <a:pt x="2544" y="3570"/>
                      </a:cubicBezTo>
                      <a:cubicBezTo>
                        <a:pt x="2239" y="3601"/>
                        <a:pt x="1932" y="3584"/>
                        <a:pt x="1626" y="358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solidFill>
                      <a:schemeClr val="bg1"/>
                    </a:solidFill>
                    <a:latin typeface="Calibri"/>
                    <a:ea typeface="微软雅黑"/>
                    <a:cs typeface="+mn-ea"/>
                    <a:sym typeface="Calibri"/>
                  </a:endParaRPr>
                </a:p>
              </p:txBody>
            </p:sp>
            <p:sp>
              <p:nvSpPr>
                <p:cNvPr id="10" name="Freeform 26"/>
                <p:cNvSpPr>
                  <a:spLocks noEditPoints="1"/>
                </p:cNvSpPr>
                <p:nvPr/>
              </p:nvSpPr>
              <p:spPr bwMode="auto">
                <a:xfrm flipV="1">
                  <a:off x="4201" y="1806"/>
                  <a:ext cx="922" cy="970"/>
                </a:xfrm>
                <a:custGeom>
                  <a:avLst/>
                  <a:gdLst>
                    <a:gd name="T0" fmla="*/ 0 w 4060"/>
                    <a:gd name="T1" fmla="*/ 0 h 4260"/>
                    <a:gd name="T2" fmla="*/ 826 w 4060"/>
                    <a:gd name="T3" fmla="*/ 4260 h 4260"/>
                    <a:gd name="T4" fmla="*/ 2567 w 4060"/>
                    <a:gd name="T5" fmla="*/ 4258 h 4260"/>
                    <a:gd name="T6" fmla="*/ 3671 w 4060"/>
                    <a:gd name="T7" fmla="*/ 3941 h 4260"/>
                    <a:gd name="T8" fmla="*/ 4041 w 4060"/>
                    <a:gd name="T9" fmla="*/ 3158 h 4260"/>
                    <a:gd name="T10" fmla="*/ 3615 w 4060"/>
                    <a:gd name="T11" fmla="*/ 1820 h 4260"/>
                    <a:gd name="T12" fmla="*/ 2637 w 4060"/>
                    <a:gd name="T13" fmla="*/ 1199 h 4260"/>
                    <a:gd name="T14" fmla="*/ 1145 w 4060"/>
                    <a:gd name="T15" fmla="*/ 1131 h 4260"/>
                    <a:gd name="T16" fmla="*/ 926 w 4060"/>
                    <a:gd name="T17" fmla="*/ 0 h 4260"/>
                    <a:gd name="T18" fmla="*/ 0 w 4060"/>
                    <a:gd name="T19" fmla="*/ 0 h 4260"/>
                    <a:gd name="T20" fmla="*/ 1625 w 4060"/>
                    <a:gd name="T21" fmla="*/ 3588 h 4260"/>
                    <a:gd name="T22" fmla="*/ 1280 w 4060"/>
                    <a:gd name="T23" fmla="*/ 1807 h 4260"/>
                    <a:gd name="T24" fmla="*/ 2547 w 4060"/>
                    <a:gd name="T25" fmla="*/ 1937 h 4260"/>
                    <a:gd name="T26" fmla="*/ 3039 w 4060"/>
                    <a:gd name="T27" fmla="*/ 2678 h 4260"/>
                    <a:gd name="T28" fmla="*/ 3016 w 4060"/>
                    <a:gd name="T29" fmla="*/ 3321 h 4260"/>
                    <a:gd name="T30" fmla="*/ 2570 w 4060"/>
                    <a:gd name="T31" fmla="*/ 3567 h 4260"/>
                    <a:gd name="T32" fmla="*/ 1625 w 4060"/>
                    <a:gd name="T33" fmla="*/ 3588 h 4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60" h="4260">
                      <a:moveTo>
                        <a:pt x="0" y="0"/>
                      </a:moveTo>
                      <a:cubicBezTo>
                        <a:pt x="275" y="1420"/>
                        <a:pt x="542" y="2842"/>
                        <a:pt x="826" y="4260"/>
                      </a:cubicBezTo>
                      <a:cubicBezTo>
                        <a:pt x="1406" y="4256"/>
                        <a:pt x="1987" y="4260"/>
                        <a:pt x="2567" y="4258"/>
                      </a:cubicBezTo>
                      <a:cubicBezTo>
                        <a:pt x="2953" y="4260"/>
                        <a:pt x="3368" y="4199"/>
                        <a:pt x="3671" y="3941"/>
                      </a:cubicBezTo>
                      <a:cubicBezTo>
                        <a:pt x="3903" y="3751"/>
                        <a:pt x="4028" y="3454"/>
                        <a:pt x="4041" y="3158"/>
                      </a:cubicBezTo>
                      <a:cubicBezTo>
                        <a:pt x="4060" y="2682"/>
                        <a:pt x="3924" y="2189"/>
                        <a:pt x="3615" y="1820"/>
                      </a:cubicBezTo>
                      <a:cubicBezTo>
                        <a:pt x="3367" y="1516"/>
                        <a:pt x="3025" y="1278"/>
                        <a:pt x="2637" y="1199"/>
                      </a:cubicBezTo>
                      <a:cubicBezTo>
                        <a:pt x="2146" y="1095"/>
                        <a:pt x="1642" y="1148"/>
                        <a:pt x="1145" y="1131"/>
                      </a:cubicBezTo>
                      <a:cubicBezTo>
                        <a:pt x="1073" y="754"/>
                        <a:pt x="1000" y="377"/>
                        <a:pt x="926" y="0"/>
                      </a:cubicBezTo>
                      <a:cubicBezTo>
                        <a:pt x="618" y="0"/>
                        <a:pt x="309" y="0"/>
                        <a:pt x="0" y="0"/>
                      </a:cubicBezTo>
                      <a:moveTo>
                        <a:pt x="1625" y="3588"/>
                      </a:moveTo>
                      <a:cubicBezTo>
                        <a:pt x="1510" y="2994"/>
                        <a:pt x="1394" y="2401"/>
                        <a:pt x="1280" y="1807"/>
                      </a:cubicBezTo>
                      <a:cubicBezTo>
                        <a:pt x="1703" y="1820"/>
                        <a:pt x="2151" y="1752"/>
                        <a:pt x="2547" y="1937"/>
                      </a:cubicBezTo>
                      <a:cubicBezTo>
                        <a:pt x="2836" y="2070"/>
                        <a:pt x="2976" y="2384"/>
                        <a:pt x="3039" y="2678"/>
                      </a:cubicBezTo>
                      <a:cubicBezTo>
                        <a:pt x="3079" y="2888"/>
                        <a:pt x="3117" y="3121"/>
                        <a:pt x="3016" y="3321"/>
                      </a:cubicBezTo>
                      <a:cubicBezTo>
                        <a:pt x="2930" y="3482"/>
                        <a:pt x="2739" y="3541"/>
                        <a:pt x="2570" y="3567"/>
                      </a:cubicBezTo>
                      <a:cubicBezTo>
                        <a:pt x="2256" y="3603"/>
                        <a:pt x="1940" y="3583"/>
                        <a:pt x="1625" y="3588"/>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solidFill>
                      <a:schemeClr val="bg1"/>
                    </a:solidFill>
                    <a:latin typeface="Calibri"/>
                    <a:ea typeface="微软雅黑"/>
                    <a:cs typeface="+mn-ea"/>
                    <a:sym typeface="Calibri"/>
                  </a:endParaRPr>
                </a:p>
              </p:txBody>
            </p:sp>
          </p:grpSp>
          <p:sp>
            <p:nvSpPr>
              <p:cNvPr id="25" name="TextBox 24"/>
              <p:cNvSpPr txBox="1"/>
              <p:nvPr/>
            </p:nvSpPr>
            <p:spPr>
              <a:xfrm>
                <a:off x="3358903" y="3721143"/>
                <a:ext cx="678980" cy="276999"/>
              </a:xfrm>
              <a:prstGeom prst="rect">
                <a:avLst/>
              </a:prstGeom>
              <a:noFill/>
            </p:spPr>
            <p:txBody>
              <a:bodyPr wrap="square" rtlCol="0">
                <a:spAutoFit/>
              </a:bodyPr>
              <a:lstStyle/>
              <a:p>
                <a:pPr algn="ctr"/>
                <a:r>
                  <a:rPr lang="en-US" sz="1200" dirty="0">
                    <a:solidFill>
                      <a:schemeClr val="bg1"/>
                    </a:solidFill>
                    <a:latin typeface="Calibri"/>
                    <a:ea typeface="微软雅黑"/>
                    <a:cs typeface="+mn-ea"/>
                    <a:sym typeface="Calibri"/>
                  </a:rPr>
                  <a:t>PHP</a:t>
                </a:r>
              </a:p>
            </p:txBody>
          </p:sp>
        </p:grpSp>
        <p:grpSp>
          <p:nvGrpSpPr>
            <p:cNvPr id="15" name="Group 14"/>
            <p:cNvGrpSpPr/>
            <p:nvPr/>
          </p:nvGrpSpPr>
          <p:grpSpPr>
            <a:xfrm>
              <a:off x="6975352" y="2604794"/>
              <a:ext cx="678980" cy="936154"/>
              <a:chOff x="4547514" y="3061988"/>
              <a:chExt cx="678980" cy="936154"/>
            </a:xfrm>
          </p:grpSpPr>
          <p:grpSp>
            <p:nvGrpSpPr>
              <p:cNvPr id="11" name="Group 29"/>
              <p:cNvGrpSpPr>
                <a:grpSpLocks noChangeAspect="1"/>
              </p:cNvGrpSpPr>
              <p:nvPr/>
            </p:nvGrpSpPr>
            <p:grpSpPr bwMode="auto">
              <a:xfrm>
                <a:off x="4684859" y="3061988"/>
                <a:ext cx="404290" cy="411590"/>
                <a:chOff x="2789" y="1091"/>
                <a:chExt cx="2104" cy="2142"/>
              </a:xfrm>
              <a:solidFill>
                <a:schemeClr val="bg1">
                  <a:lumMod val="85000"/>
                </a:schemeClr>
              </a:solidFill>
            </p:grpSpPr>
            <p:sp>
              <p:nvSpPr>
                <p:cNvPr id="12" name="Freeform 30"/>
                <p:cNvSpPr>
                  <a:spLocks noEditPoints="1"/>
                </p:cNvSpPr>
                <p:nvPr/>
              </p:nvSpPr>
              <p:spPr bwMode="auto">
                <a:xfrm flipV="1">
                  <a:off x="2789" y="1091"/>
                  <a:ext cx="1547" cy="1576"/>
                </a:xfrm>
                <a:custGeom>
                  <a:avLst/>
                  <a:gdLst>
                    <a:gd name="T0" fmla="*/ 3445 w 6804"/>
                    <a:gd name="T1" fmla="*/ 6806 h 6935"/>
                    <a:gd name="T2" fmla="*/ 5652 w 6804"/>
                    <a:gd name="T3" fmla="*/ 6818 h 6935"/>
                    <a:gd name="T4" fmla="*/ 6559 w 6804"/>
                    <a:gd name="T5" fmla="*/ 6320 h 6935"/>
                    <a:gd name="T6" fmla="*/ 6802 w 6804"/>
                    <a:gd name="T7" fmla="*/ 5630 h 6935"/>
                    <a:gd name="T8" fmla="*/ 6801 w 6804"/>
                    <a:gd name="T9" fmla="*/ 3512 h 6935"/>
                    <a:gd name="T10" fmla="*/ 6371 w 6804"/>
                    <a:gd name="T11" fmla="*/ 2644 h 6935"/>
                    <a:gd name="T12" fmla="*/ 5652 w 6804"/>
                    <a:gd name="T13" fmla="*/ 2400 h 6935"/>
                    <a:gd name="T14" fmla="*/ 3675 w 6804"/>
                    <a:gd name="T15" fmla="*/ 2400 h 6935"/>
                    <a:gd name="T16" fmla="*/ 3116 w 6804"/>
                    <a:gd name="T17" fmla="*/ 2348 h 6935"/>
                    <a:gd name="T18" fmla="*/ 2105 w 6804"/>
                    <a:gd name="T19" fmla="*/ 1044 h 6935"/>
                    <a:gd name="T20" fmla="*/ 2102 w 6804"/>
                    <a:gd name="T21" fmla="*/ 3 h 6935"/>
                    <a:gd name="T22" fmla="*/ 1314 w 6804"/>
                    <a:gd name="T23" fmla="*/ 4 h 6935"/>
                    <a:gd name="T24" fmla="*/ 632 w 6804"/>
                    <a:gd name="T25" fmla="*/ 259 h 6935"/>
                    <a:gd name="T26" fmla="*/ 164 w 6804"/>
                    <a:gd name="T27" fmla="*/ 1120 h 6935"/>
                    <a:gd name="T28" fmla="*/ 7 w 6804"/>
                    <a:gd name="T29" fmla="*/ 2279 h 6935"/>
                    <a:gd name="T30" fmla="*/ 154 w 6804"/>
                    <a:gd name="T31" fmla="*/ 3373 h 6935"/>
                    <a:gd name="T32" fmla="*/ 687 w 6804"/>
                    <a:gd name="T33" fmla="*/ 4247 h 6935"/>
                    <a:gd name="T34" fmla="*/ 1558 w 6804"/>
                    <a:gd name="T35" fmla="*/ 4528 h 6935"/>
                    <a:gd name="T36" fmla="*/ 4584 w 6804"/>
                    <a:gd name="T37" fmla="*/ 4528 h 6935"/>
                    <a:gd name="T38" fmla="*/ 4584 w 6804"/>
                    <a:gd name="T39" fmla="*/ 4801 h 6935"/>
                    <a:gd name="T40" fmla="*/ 2372 w 6804"/>
                    <a:gd name="T41" fmla="*/ 4801 h 6935"/>
                    <a:gd name="T42" fmla="*/ 2374 w 6804"/>
                    <a:gd name="T43" fmla="*/ 5771 h 6935"/>
                    <a:gd name="T44" fmla="*/ 2609 w 6804"/>
                    <a:gd name="T45" fmla="*/ 6450 h 6935"/>
                    <a:gd name="T46" fmla="*/ 3445 w 6804"/>
                    <a:gd name="T47" fmla="*/ 6806 h 6935"/>
                    <a:gd name="T48" fmla="*/ 3192 w 6804"/>
                    <a:gd name="T49" fmla="*/ 6185 h 6935"/>
                    <a:gd name="T50" fmla="*/ 2931 w 6804"/>
                    <a:gd name="T51" fmla="*/ 5771 h 6935"/>
                    <a:gd name="T52" fmla="*/ 3360 w 6804"/>
                    <a:gd name="T53" fmla="*/ 5377 h 6935"/>
                    <a:gd name="T54" fmla="*/ 3720 w 6804"/>
                    <a:gd name="T55" fmla="*/ 5955 h 6935"/>
                    <a:gd name="T56" fmla="*/ 3192 w 6804"/>
                    <a:gd name="T57" fmla="*/ 6185 h 6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804" h="6935">
                      <a:moveTo>
                        <a:pt x="3445" y="6806"/>
                      </a:moveTo>
                      <a:cubicBezTo>
                        <a:pt x="4173" y="6935"/>
                        <a:pt x="4923" y="6931"/>
                        <a:pt x="5652" y="6818"/>
                      </a:cubicBezTo>
                      <a:cubicBezTo>
                        <a:pt x="6000" y="6765"/>
                        <a:pt x="6337" y="6598"/>
                        <a:pt x="6559" y="6320"/>
                      </a:cubicBezTo>
                      <a:cubicBezTo>
                        <a:pt x="6722" y="6130"/>
                        <a:pt x="6802" y="5879"/>
                        <a:pt x="6802" y="5630"/>
                      </a:cubicBezTo>
                      <a:cubicBezTo>
                        <a:pt x="6802" y="4924"/>
                        <a:pt x="6804" y="4218"/>
                        <a:pt x="6801" y="3512"/>
                      </a:cubicBezTo>
                      <a:cubicBezTo>
                        <a:pt x="6794" y="3177"/>
                        <a:pt x="6635" y="2851"/>
                        <a:pt x="6371" y="2644"/>
                      </a:cubicBezTo>
                      <a:cubicBezTo>
                        <a:pt x="6173" y="2475"/>
                        <a:pt x="5910" y="2398"/>
                        <a:pt x="5652" y="2400"/>
                      </a:cubicBezTo>
                      <a:cubicBezTo>
                        <a:pt x="4993" y="2400"/>
                        <a:pt x="4334" y="2400"/>
                        <a:pt x="3675" y="2400"/>
                      </a:cubicBezTo>
                      <a:cubicBezTo>
                        <a:pt x="3488" y="2400"/>
                        <a:pt x="3297" y="2406"/>
                        <a:pt x="3116" y="2348"/>
                      </a:cubicBezTo>
                      <a:cubicBezTo>
                        <a:pt x="2550" y="2187"/>
                        <a:pt x="2108" y="1638"/>
                        <a:pt x="2105" y="1044"/>
                      </a:cubicBezTo>
                      <a:cubicBezTo>
                        <a:pt x="2100" y="697"/>
                        <a:pt x="2106" y="350"/>
                        <a:pt x="2102" y="3"/>
                      </a:cubicBezTo>
                      <a:cubicBezTo>
                        <a:pt x="1839" y="3"/>
                        <a:pt x="1577" y="0"/>
                        <a:pt x="1314" y="4"/>
                      </a:cubicBezTo>
                      <a:cubicBezTo>
                        <a:pt x="1066" y="9"/>
                        <a:pt x="818" y="93"/>
                        <a:pt x="632" y="259"/>
                      </a:cubicBezTo>
                      <a:cubicBezTo>
                        <a:pt x="384" y="484"/>
                        <a:pt x="243" y="800"/>
                        <a:pt x="164" y="1120"/>
                      </a:cubicBezTo>
                      <a:cubicBezTo>
                        <a:pt x="72" y="1499"/>
                        <a:pt x="0" y="1888"/>
                        <a:pt x="7" y="2279"/>
                      </a:cubicBezTo>
                      <a:cubicBezTo>
                        <a:pt x="2" y="2649"/>
                        <a:pt x="71" y="3015"/>
                        <a:pt x="154" y="3373"/>
                      </a:cubicBezTo>
                      <a:cubicBezTo>
                        <a:pt x="231" y="3710"/>
                        <a:pt x="407" y="4036"/>
                        <a:pt x="687" y="4247"/>
                      </a:cubicBezTo>
                      <a:cubicBezTo>
                        <a:pt x="933" y="4438"/>
                        <a:pt x="1248" y="4528"/>
                        <a:pt x="1558" y="4528"/>
                      </a:cubicBezTo>
                      <a:cubicBezTo>
                        <a:pt x="2567" y="4528"/>
                        <a:pt x="3575" y="4529"/>
                        <a:pt x="4584" y="4528"/>
                      </a:cubicBezTo>
                      <a:cubicBezTo>
                        <a:pt x="4584" y="4619"/>
                        <a:pt x="4584" y="4710"/>
                        <a:pt x="4584" y="4801"/>
                      </a:cubicBezTo>
                      <a:cubicBezTo>
                        <a:pt x="3847" y="4801"/>
                        <a:pt x="3109" y="4799"/>
                        <a:pt x="2372" y="4801"/>
                      </a:cubicBezTo>
                      <a:cubicBezTo>
                        <a:pt x="2373" y="5125"/>
                        <a:pt x="2370" y="5448"/>
                        <a:pt x="2374" y="5771"/>
                      </a:cubicBezTo>
                      <a:cubicBezTo>
                        <a:pt x="2384" y="6012"/>
                        <a:pt x="2430" y="6273"/>
                        <a:pt x="2609" y="6450"/>
                      </a:cubicBezTo>
                      <a:cubicBezTo>
                        <a:pt x="2831" y="6669"/>
                        <a:pt x="3148" y="6747"/>
                        <a:pt x="3445" y="6806"/>
                      </a:cubicBezTo>
                      <a:moveTo>
                        <a:pt x="3192" y="6185"/>
                      </a:moveTo>
                      <a:cubicBezTo>
                        <a:pt x="3030" y="6121"/>
                        <a:pt x="2920" y="5946"/>
                        <a:pt x="2931" y="5771"/>
                      </a:cubicBezTo>
                      <a:cubicBezTo>
                        <a:pt x="2938" y="5553"/>
                        <a:pt x="3139" y="5359"/>
                        <a:pt x="3360" y="5377"/>
                      </a:cubicBezTo>
                      <a:cubicBezTo>
                        <a:pt x="3638" y="5378"/>
                        <a:pt x="3837" y="5706"/>
                        <a:pt x="3720" y="5955"/>
                      </a:cubicBezTo>
                      <a:cubicBezTo>
                        <a:pt x="3643" y="6159"/>
                        <a:pt x="3394" y="6268"/>
                        <a:pt x="3192" y="6185"/>
                      </a:cubicBezTo>
                    </a:path>
                  </a:pathLst>
                </a:custGeom>
                <a:gradFill>
                  <a:gsLst>
                    <a:gs pos="0">
                      <a:schemeClr val="accent3"/>
                    </a:gs>
                    <a:gs pos="100000">
                      <a:schemeClr val="accent4"/>
                    </a:gs>
                  </a:gsLst>
                  <a:lin ang="8100000" scaled="1"/>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3" name="Freeform 31"/>
                <p:cNvSpPr>
                  <a:spLocks noEditPoints="1"/>
                </p:cNvSpPr>
                <p:nvPr/>
              </p:nvSpPr>
              <p:spPr bwMode="auto">
                <a:xfrm flipV="1">
                  <a:off x="3329" y="1638"/>
                  <a:ext cx="1564" cy="1595"/>
                </a:xfrm>
                <a:custGeom>
                  <a:avLst/>
                  <a:gdLst>
                    <a:gd name="T0" fmla="*/ 4700 w 6881"/>
                    <a:gd name="T1" fmla="*/ 7012 h 7015"/>
                    <a:gd name="T2" fmla="*/ 5571 w 6881"/>
                    <a:gd name="T3" fmla="*/ 7011 h 7015"/>
                    <a:gd name="T4" fmla="*/ 6227 w 6881"/>
                    <a:gd name="T5" fmla="*/ 6729 h 7015"/>
                    <a:gd name="T6" fmla="*/ 6641 w 6881"/>
                    <a:gd name="T7" fmla="*/ 5860 h 7015"/>
                    <a:gd name="T8" fmla="*/ 6688 w 6881"/>
                    <a:gd name="T9" fmla="*/ 3802 h 7015"/>
                    <a:gd name="T10" fmla="*/ 6233 w 6881"/>
                    <a:gd name="T11" fmla="*/ 2800 h 7015"/>
                    <a:gd name="T12" fmla="*/ 5534 w 6881"/>
                    <a:gd name="T13" fmla="*/ 2497 h 7015"/>
                    <a:gd name="T14" fmla="*/ 2214 w 6881"/>
                    <a:gd name="T15" fmla="*/ 2496 h 7015"/>
                    <a:gd name="T16" fmla="*/ 2214 w 6881"/>
                    <a:gd name="T17" fmla="*/ 2214 h 7015"/>
                    <a:gd name="T18" fmla="*/ 4424 w 6881"/>
                    <a:gd name="T19" fmla="*/ 2214 h 7015"/>
                    <a:gd name="T20" fmla="*/ 4423 w 6881"/>
                    <a:gd name="T21" fmla="*/ 1348 h 7015"/>
                    <a:gd name="T22" fmla="*/ 4130 w 6881"/>
                    <a:gd name="T23" fmla="*/ 673 h 7015"/>
                    <a:gd name="T24" fmla="*/ 2923 w 6881"/>
                    <a:gd name="T25" fmla="*/ 141 h 7015"/>
                    <a:gd name="T26" fmla="*/ 899 w 6881"/>
                    <a:gd name="T27" fmla="*/ 309 h 7015"/>
                    <a:gd name="T28" fmla="*/ 148 w 6881"/>
                    <a:gd name="T29" fmla="*/ 862 h 7015"/>
                    <a:gd name="T30" fmla="*/ 2 w 6881"/>
                    <a:gd name="T31" fmla="*/ 1379 h 7015"/>
                    <a:gd name="T32" fmla="*/ 2 w 6881"/>
                    <a:gd name="T33" fmla="*/ 3497 h 7015"/>
                    <a:gd name="T34" fmla="*/ 852 w 6881"/>
                    <a:gd name="T35" fmla="*/ 4582 h 7015"/>
                    <a:gd name="T36" fmla="*/ 1373 w 6881"/>
                    <a:gd name="T37" fmla="*/ 4615 h 7015"/>
                    <a:gd name="T38" fmla="*/ 3349 w 6881"/>
                    <a:gd name="T39" fmla="*/ 4616 h 7015"/>
                    <a:gd name="T40" fmla="*/ 4695 w 6881"/>
                    <a:gd name="T41" fmla="*/ 5934 h 7015"/>
                    <a:gd name="T42" fmla="*/ 4700 w 6881"/>
                    <a:gd name="T43" fmla="*/ 7012 h 7015"/>
                    <a:gd name="T44" fmla="*/ 3292 w 6881"/>
                    <a:gd name="T45" fmla="*/ 1613 h 7015"/>
                    <a:gd name="T46" fmla="*/ 3046 w 6881"/>
                    <a:gd name="T47" fmla="*/ 1176 h 7015"/>
                    <a:gd name="T48" fmla="*/ 3525 w 6881"/>
                    <a:gd name="T49" fmla="*/ 808 h 7015"/>
                    <a:gd name="T50" fmla="*/ 3857 w 6881"/>
                    <a:gd name="T51" fmla="*/ 1333 h 7015"/>
                    <a:gd name="T52" fmla="*/ 3292 w 6881"/>
                    <a:gd name="T53" fmla="*/ 1613 h 7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881" h="7015">
                      <a:moveTo>
                        <a:pt x="4700" y="7012"/>
                      </a:moveTo>
                      <a:cubicBezTo>
                        <a:pt x="4990" y="7011"/>
                        <a:pt x="5281" y="7015"/>
                        <a:pt x="5571" y="7011"/>
                      </a:cubicBezTo>
                      <a:cubicBezTo>
                        <a:pt x="5816" y="7007"/>
                        <a:pt x="6059" y="6909"/>
                        <a:pt x="6227" y="6729"/>
                      </a:cubicBezTo>
                      <a:cubicBezTo>
                        <a:pt x="6450" y="6489"/>
                        <a:pt x="6565" y="6173"/>
                        <a:pt x="6641" y="5860"/>
                      </a:cubicBezTo>
                      <a:cubicBezTo>
                        <a:pt x="6809" y="5190"/>
                        <a:pt x="6881" y="4475"/>
                        <a:pt x="6688" y="3802"/>
                      </a:cubicBezTo>
                      <a:cubicBezTo>
                        <a:pt x="6583" y="3451"/>
                        <a:pt x="6468" y="3088"/>
                        <a:pt x="6233" y="2800"/>
                      </a:cubicBezTo>
                      <a:cubicBezTo>
                        <a:pt x="6066" y="2593"/>
                        <a:pt x="5796" y="2492"/>
                        <a:pt x="5534" y="2497"/>
                      </a:cubicBezTo>
                      <a:cubicBezTo>
                        <a:pt x="4428" y="2496"/>
                        <a:pt x="3321" y="2497"/>
                        <a:pt x="2214" y="2496"/>
                      </a:cubicBezTo>
                      <a:cubicBezTo>
                        <a:pt x="2214" y="2402"/>
                        <a:pt x="2214" y="2308"/>
                        <a:pt x="2214" y="2214"/>
                      </a:cubicBezTo>
                      <a:cubicBezTo>
                        <a:pt x="2951" y="2214"/>
                        <a:pt x="3687" y="2215"/>
                        <a:pt x="4424" y="2214"/>
                      </a:cubicBezTo>
                      <a:cubicBezTo>
                        <a:pt x="4423" y="1925"/>
                        <a:pt x="4426" y="1637"/>
                        <a:pt x="4423" y="1348"/>
                      </a:cubicBezTo>
                      <a:cubicBezTo>
                        <a:pt x="4422" y="1095"/>
                        <a:pt x="4315" y="845"/>
                        <a:pt x="4130" y="673"/>
                      </a:cubicBezTo>
                      <a:cubicBezTo>
                        <a:pt x="3806" y="357"/>
                        <a:pt x="3354" y="231"/>
                        <a:pt x="2923" y="141"/>
                      </a:cubicBezTo>
                      <a:cubicBezTo>
                        <a:pt x="2250" y="0"/>
                        <a:pt x="1542" y="70"/>
                        <a:pt x="899" y="309"/>
                      </a:cubicBezTo>
                      <a:cubicBezTo>
                        <a:pt x="607" y="422"/>
                        <a:pt x="324" y="596"/>
                        <a:pt x="148" y="862"/>
                      </a:cubicBezTo>
                      <a:cubicBezTo>
                        <a:pt x="49" y="1015"/>
                        <a:pt x="0" y="1198"/>
                        <a:pt x="2" y="1379"/>
                      </a:cubicBezTo>
                      <a:cubicBezTo>
                        <a:pt x="2" y="2085"/>
                        <a:pt x="0" y="2791"/>
                        <a:pt x="2" y="3497"/>
                      </a:cubicBezTo>
                      <a:cubicBezTo>
                        <a:pt x="2" y="3994"/>
                        <a:pt x="371" y="4463"/>
                        <a:pt x="852" y="4582"/>
                      </a:cubicBezTo>
                      <a:cubicBezTo>
                        <a:pt x="1022" y="4627"/>
                        <a:pt x="1199" y="4613"/>
                        <a:pt x="1373" y="4615"/>
                      </a:cubicBezTo>
                      <a:cubicBezTo>
                        <a:pt x="2031" y="4616"/>
                        <a:pt x="2690" y="4613"/>
                        <a:pt x="3349" y="4616"/>
                      </a:cubicBezTo>
                      <a:cubicBezTo>
                        <a:pt x="4047" y="4628"/>
                        <a:pt x="4658" y="5242"/>
                        <a:pt x="4695" y="5934"/>
                      </a:cubicBezTo>
                      <a:cubicBezTo>
                        <a:pt x="4705" y="6293"/>
                        <a:pt x="4697" y="6653"/>
                        <a:pt x="4700" y="7012"/>
                      </a:cubicBezTo>
                      <a:moveTo>
                        <a:pt x="3292" y="1613"/>
                      </a:moveTo>
                      <a:cubicBezTo>
                        <a:pt x="3126" y="1541"/>
                        <a:pt x="3022" y="1355"/>
                        <a:pt x="3046" y="1176"/>
                      </a:cubicBezTo>
                      <a:cubicBezTo>
                        <a:pt x="3066" y="948"/>
                        <a:pt x="3297" y="763"/>
                        <a:pt x="3525" y="808"/>
                      </a:cubicBezTo>
                      <a:cubicBezTo>
                        <a:pt x="3761" y="843"/>
                        <a:pt x="3923" y="1105"/>
                        <a:pt x="3857" y="1333"/>
                      </a:cubicBezTo>
                      <a:cubicBezTo>
                        <a:pt x="3805" y="1573"/>
                        <a:pt x="3515" y="1721"/>
                        <a:pt x="3292" y="1613"/>
                      </a:cubicBezTo>
                    </a:path>
                  </a:pathLst>
                </a:custGeom>
                <a:gradFill>
                  <a:gsLst>
                    <a:gs pos="0">
                      <a:schemeClr val="accent3"/>
                    </a:gs>
                    <a:gs pos="100000">
                      <a:schemeClr val="accent4"/>
                    </a:gs>
                  </a:gsLst>
                  <a:lin ang="8100000" scaled="1"/>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solidFill>
                      <a:schemeClr val="bg1"/>
                    </a:solidFill>
                    <a:latin typeface="Calibri"/>
                    <a:ea typeface="微软雅黑"/>
                    <a:cs typeface="+mn-ea"/>
                    <a:sym typeface="Calibri"/>
                  </a:endParaRPr>
                </a:p>
              </p:txBody>
            </p:sp>
          </p:grpSp>
          <p:sp>
            <p:nvSpPr>
              <p:cNvPr id="26" name="TextBox 25"/>
              <p:cNvSpPr txBox="1"/>
              <p:nvPr/>
            </p:nvSpPr>
            <p:spPr>
              <a:xfrm>
                <a:off x="4547514" y="3721143"/>
                <a:ext cx="678980" cy="276999"/>
              </a:xfrm>
              <a:prstGeom prst="rect">
                <a:avLst/>
              </a:prstGeom>
              <a:noFill/>
            </p:spPr>
            <p:txBody>
              <a:bodyPr wrap="square" rtlCol="0">
                <a:spAutoFit/>
              </a:bodyPr>
              <a:lstStyle/>
              <a:p>
                <a:pPr algn="ctr"/>
                <a:r>
                  <a:rPr lang="en-US" sz="1200" dirty="0">
                    <a:solidFill>
                      <a:schemeClr val="bg1"/>
                    </a:solidFill>
                    <a:latin typeface="Calibri"/>
                    <a:ea typeface="微软雅黑"/>
                    <a:cs typeface="+mn-ea"/>
                    <a:sym typeface="Calibri"/>
                  </a:rPr>
                  <a:t>Python </a:t>
                </a:r>
              </a:p>
            </p:txBody>
          </p:sp>
        </p:grpSp>
        <p:grpSp>
          <p:nvGrpSpPr>
            <p:cNvPr id="17" name="Group 16"/>
            <p:cNvGrpSpPr/>
            <p:nvPr/>
          </p:nvGrpSpPr>
          <p:grpSpPr>
            <a:xfrm>
              <a:off x="4553899" y="4053177"/>
              <a:ext cx="678980" cy="1070698"/>
              <a:chOff x="2126061" y="4510371"/>
              <a:chExt cx="678980" cy="1070698"/>
            </a:xfrm>
          </p:grpSpPr>
          <p:sp>
            <p:nvSpPr>
              <p:cNvPr id="23" name="Freeform: Shape 22"/>
              <p:cNvSpPr/>
              <p:nvPr/>
            </p:nvSpPr>
            <p:spPr bwMode="auto">
              <a:xfrm flipV="1">
                <a:off x="2184597" y="4510371"/>
                <a:ext cx="561908" cy="492160"/>
              </a:xfrm>
              <a:custGeom>
                <a:avLst/>
                <a:gdLst>
                  <a:gd name="connsiteX0" fmla="*/ 2401648 w 3499977"/>
                  <a:gd name="connsiteY0" fmla="*/ 1861829 h 3065543"/>
                  <a:gd name="connsiteX1" fmla="*/ 2504093 w 3499977"/>
                  <a:gd name="connsiteY1" fmla="*/ 1860168 h 3065543"/>
                  <a:gd name="connsiteX2" fmla="*/ 2510032 w 3499977"/>
                  <a:gd name="connsiteY2" fmla="*/ 1854205 h 3065543"/>
                  <a:gd name="connsiteX3" fmla="*/ 2517321 w 3499977"/>
                  <a:gd name="connsiteY3" fmla="*/ 1641429 h 3065543"/>
                  <a:gd name="connsiteX4" fmla="*/ 2728689 w 3499977"/>
                  <a:gd name="connsiteY4" fmla="*/ 1641158 h 3065543"/>
                  <a:gd name="connsiteX5" fmla="*/ 2728959 w 3499977"/>
                  <a:gd name="connsiteY5" fmla="*/ 1428924 h 3065543"/>
                  <a:gd name="connsiteX6" fmla="*/ 2511922 w 3499977"/>
                  <a:gd name="connsiteY6" fmla="*/ 1428111 h 3065543"/>
                  <a:gd name="connsiteX7" fmla="*/ 2510032 w 3499977"/>
                  <a:gd name="connsiteY7" fmla="*/ 1214792 h 3065543"/>
                  <a:gd name="connsiteX8" fmla="*/ 2466840 w 3499977"/>
                  <a:gd name="connsiteY8" fmla="*/ 1202053 h 3065543"/>
                  <a:gd name="connsiteX9" fmla="*/ 2297853 w 3499977"/>
                  <a:gd name="connsiteY9" fmla="*/ 1205034 h 3065543"/>
                  <a:gd name="connsiteX10" fmla="*/ 2292454 w 3499977"/>
                  <a:gd name="connsiteY10" fmla="*/ 1422419 h 3065543"/>
                  <a:gd name="connsiteX11" fmla="*/ 2081355 w 3499977"/>
                  <a:gd name="connsiteY11" fmla="*/ 1422690 h 3065543"/>
                  <a:gd name="connsiteX12" fmla="*/ 2080276 w 3499977"/>
                  <a:gd name="connsiteY12" fmla="*/ 1641429 h 3065543"/>
                  <a:gd name="connsiteX13" fmla="*/ 2298663 w 3499977"/>
                  <a:gd name="connsiteY13" fmla="*/ 1642513 h 3065543"/>
                  <a:gd name="connsiteX14" fmla="*/ 2299203 w 3499977"/>
                  <a:gd name="connsiteY14" fmla="*/ 1861253 h 3065543"/>
                  <a:gd name="connsiteX15" fmla="*/ 2401648 w 3499977"/>
                  <a:gd name="connsiteY15" fmla="*/ 1861829 h 3065543"/>
                  <a:gd name="connsiteX16" fmla="*/ 3274944 w 3499977"/>
                  <a:gd name="connsiteY16" fmla="*/ 1862104 h 3065543"/>
                  <a:gd name="connsiteX17" fmla="*/ 3279542 w 3499977"/>
                  <a:gd name="connsiteY17" fmla="*/ 1646303 h 3065543"/>
                  <a:gd name="connsiteX18" fmla="*/ 3499977 w 3499977"/>
                  <a:gd name="connsiteY18" fmla="*/ 1641700 h 3065543"/>
                  <a:gd name="connsiteX19" fmla="*/ 3499166 w 3499977"/>
                  <a:gd name="connsiteY19" fmla="*/ 1423191 h 3065543"/>
                  <a:gd name="connsiteX20" fmla="*/ 3280894 w 3499977"/>
                  <a:gd name="connsiteY20" fmla="*/ 1422108 h 3065543"/>
                  <a:gd name="connsiteX21" fmla="*/ 3280353 w 3499977"/>
                  <a:gd name="connsiteY21" fmla="*/ 1203329 h 3065543"/>
                  <a:gd name="connsiteX22" fmla="*/ 3055320 w 3499977"/>
                  <a:gd name="connsiteY22" fmla="*/ 1204141 h 3065543"/>
                  <a:gd name="connsiteX23" fmla="*/ 3054238 w 3499977"/>
                  <a:gd name="connsiteY23" fmla="*/ 1422379 h 3065543"/>
                  <a:gd name="connsiteX24" fmla="*/ 2841376 w 3499977"/>
                  <a:gd name="connsiteY24" fmla="*/ 1422379 h 3065543"/>
                  <a:gd name="connsiteX25" fmla="*/ 2837319 w 3499977"/>
                  <a:gd name="connsiteY25" fmla="*/ 1637909 h 3065543"/>
                  <a:gd name="connsiteX26" fmla="*/ 3047476 w 3499977"/>
                  <a:gd name="connsiteY26" fmla="*/ 1643595 h 3065543"/>
                  <a:gd name="connsiteX27" fmla="*/ 3061541 w 3499977"/>
                  <a:gd name="connsiteY27" fmla="*/ 1693687 h 3065543"/>
                  <a:gd name="connsiteX28" fmla="*/ 3061541 w 3499977"/>
                  <a:gd name="connsiteY28" fmla="*/ 1861563 h 3065543"/>
                  <a:gd name="connsiteX29" fmla="*/ 3274944 w 3499977"/>
                  <a:gd name="connsiteY29" fmla="*/ 1862104 h 3065543"/>
                  <a:gd name="connsiteX30" fmla="*/ 1469867 w 3499977"/>
                  <a:gd name="connsiteY30" fmla="*/ 3064588 h 3065543"/>
                  <a:gd name="connsiteX31" fmla="*/ 1855948 w 3499977"/>
                  <a:gd name="connsiteY31" fmla="*/ 3032278 h 3065543"/>
                  <a:gd name="connsiteX32" fmla="*/ 2034628 w 3499977"/>
                  <a:gd name="connsiteY32" fmla="*/ 2981664 h 3065543"/>
                  <a:gd name="connsiteX33" fmla="*/ 2765027 w 3499977"/>
                  <a:gd name="connsiteY33" fmla="*/ 2441150 h 3065543"/>
                  <a:gd name="connsiteX34" fmla="*/ 2842338 w 3499977"/>
                  <a:gd name="connsiteY34" fmla="*/ 2313397 h 3065543"/>
                  <a:gd name="connsiteX35" fmla="*/ 2534717 w 3499977"/>
                  <a:gd name="connsiteY35" fmla="*/ 2133406 h 3065543"/>
                  <a:gd name="connsiteX36" fmla="*/ 2202766 w 3499977"/>
                  <a:gd name="connsiteY36" fmla="*/ 1946919 h 3065543"/>
                  <a:gd name="connsiteX37" fmla="*/ 2168166 w 3499977"/>
                  <a:gd name="connsiteY37" fmla="*/ 1957205 h 3065543"/>
                  <a:gd name="connsiteX38" fmla="*/ 1608067 w 3499977"/>
                  <a:gd name="connsiteY38" fmla="*/ 2297969 h 3065543"/>
                  <a:gd name="connsiteX39" fmla="*/ 1312339 w 3499977"/>
                  <a:gd name="connsiteY39" fmla="*/ 2269550 h 3065543"/>
                  <a:gd name="connsiteX40" fmla="*/ 1158528 w 3499977"/>
                  <a:gd name="connsiteY40" fmla="*/ 2202967 h 3065543"/>
                  <a:gd name="connsiteX41" fmla="*/ 818468 w 3499977"/>
                  <a:gd name="connsiteY41" fmla="*/ 1813483 h 3065543"/>
                  <a:gd name="connsiteX42" fmla="*/ 1013368 w 3499977"/>
                  <a:gd name="connsiteY42" fmla="*/ 964142 h 3065543"/>
                  <a:gd name="connsiteX43" fmla="*/ 1260168 w 3499977"/>
                  <a:gd name="connsiteY43" fmla="*/ 815548 h 3065543"/>
                  <a:gd name="connsiteX44" fmla="*/ 1808102 w 3499977"/>
                  <a:gd name="connsiteY44" fmla="*/ 817172 h 3065543"/>
                  <a:gd name="connsiteX45" fmla="*/ 2193305 w 3499977"/>
                  <a:gd name="connsiteY45" fmla="*/ 1144945 h 3065543"/>
                  <a:gd name="connsiteX46" fmla="*/ 2386042 w 3499977"/>
                  <a:gd name="connsiteY46" fmla="*/ 1037491 h 3065543"/>
                  <a:gd name="connsiteX47" fmla="*/ 2828552 w 3499977"/>
                  <a:gd name="connsiteY47" fmla="*/ 794165 h 3065543"/>
                  <a:gd name="connsiteX48" fmla="*/ 2850718 w 3499977"/>
                  <a:gd name="connsiteY48" fmla="*/ 762227 h 3065543"/>
                  <a:gd name="connsiteX49" fmla="*/ 2703125 w 3499977"/>
                  <a:gd name="connsiteY49" fmla="*/ 549486 h 3065543"/>
                  <a:gd name="connsiteX50" fmla="*/ 2353874 w 3499977"/>
                  <a:gd name="connsiteY50" fmla="*/ 241201 h 3065543"/>
                  <a:gd name="connsiteX51" fmla="*/ 2020842 w 3499977"/>
                  <a:gd name="connsiteY51" fmla="*/ 79886 h 3065543"/>
                  <a:gd name="connsiteX52" fmla="*/ 1618339 w 3499977"/>
                  <a:gd name="connsiteY52" fmla="*/ 5453 h 3065543"/>
                  <a:gd name="connsiteX53" fmla="*/ 1426954 w 3499977"/>
                  <a:gd name="connsiteY53" fmla="*/ 6265 h 3065543"/>
                  <a:gd name="connsiteX54" fmla="*/ 1036885 w 3499977"/>
                  <a:gd name="connsiteY54" fmla="*/ 80968 h 3065543"/>
                  <a:gd name="connsiteX55" fmla="*/ 590861 w 3499977"/>
                  <a:gd name="connsiteY55" fmla="*/ 322129 h 3065543"/>
                  <a:gd name="connsiteX56" fmla="*/ 287564 w 3499977"/>
                  <a:gd name="connsiteY56" fmla="*/ 636639 h 3065543"/>
                  <a:gd name="connsiteX57" fmla="*/ 80501 w 3499977"/>
                  <a:gd name="connsiteY57" fmla="*/ 1035597 h 3065543"/>
                  <a:gd name="connsiteX58" fmla="*/ 18328 w 3499977"/>
                  <a:gd name="connsiteY58" fmla="*/ 1302200 h 3065543"/>
                  <a:gd name="connsiteX59" fmla="*/ 7785 w 3499977"/>
                  <a:gd name="connsiteY59" fmla="*/ 1673820 h 3065543"/>
                  <a:gd name="connsiteX60" fmla="*/ 56442 w 3499977"/>
                  <a:gd name="connsiteY60" fmla="*/ 1946107 h 3065543"/>
                  <a:gd name="connsiteX61" fmla="*/ 368660 w 3499977"/>
                  <a:gd name="connsiteY61" fmla="*/ 2533717 h 3065543"/>
                  <a:gd name="connsiteX62" fmla="*/ 611135 w 3499977"/>
                  <a:gd name="connsiteY62" fmla="*/ 2759450 h 3065543"/>
                  <a:gd name="connsiteX63" fmla="*/ 1088246 w 3499977"/>
                  <a:gd name="connsiteY63" fmla="*/ 3000881 h 3065543"/>
                  <a:gd name="connsiteX64" fmla="*/ 1469867 w 3499977"/>
                  <a:gd name="connsiteY64" fmla="*/ 3064588 h 3065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3499977" h="3065543">
                    <a:moveTo>
                      <a:pt x="2401648" y="1861829"/>
                    </a:moveTo>
                    <a:cubicBezTo>
                      <a:pt x="2435796" y="1862066"/>
                      <a:pt x="2469945" y="1861930"/>
                      <a:pt x="2504093" y="1860168"/>
                    </a:cubicBezTo>
                    <a:lnTo>
                      <a:pt x="2510032" y="1854205"/>
                    </a:lnTo>
                    <a:cubicBezTo>
                      <a:pt x="2515701" y="1783461"/>
                      <a:pt x="2503553" y="1711632"/>
                      <a:pt x="2517321" y="1641429"/>
                    </a:cubicBezTo>
                    <a:cubicBezTo>
                      <a:pt x="2587777" y="1642242"/>
                      <a:pt x="2658233" y="1642242"/>
                      <a:pt x="2728689" y="1641158"/>
                    </a:cubicBezTo>
                    <a:cubicBezTo>
                      <a:pt x="2730039" y="1570413"/>
                      <a:pt x="2729769" y="1499669"/>
                      <a:pt x="2728959" y="1428924"/>
                    </a:cubicBezTo>
                    <a:cubicBezTo>
                      <a:pt x="2656613" y="1427026"/>
                      <a:pt x="2584268" y="1428382"/>
                      <a:pt x="2511922" y="1428111"/>
                    </a:cubicBezTo>
                    <a:cubicBezTo>
                      <a:pt x="2508952" y="1357095"/>
                      <a:pt x="2513271" y="1285808"/>
                      <a:pt x="2510032" y="1214792"/>
                    </a:cubicBezTo>
                    <a:cubicBezTo>
                      <a:pt x="2502203" y="1198529"/>
                      <a:pt x="2481148" y="1203950"/>
                      <a:pt x="2466840" y="1202053"/>
                    </a:cubicBezTo>
                    <a:cubicBezTo>
                      <a:pt x="2410691" y="1202866"/>
                      <a:pt x="2354002" y="1200155"/>
                      <a:pt x="2297853" y="1205034"/>
                    </a:cubicBezTo>
                    <a:cubicBezTo>
                      <a:pt x="2287325" y="1277134"/>
                      <a:pt x="2294614" y="1350047"/>
                      <a:pt x="2292454" y="1422419"/>
                    </a:cubicBezTo>
                    <a:cubicBezTo>
                      <a:pt x="2221998" y="1422148"/>
                      <a:pt x="2151542" y="1422148"/>
                      <a:pt x="2081355" y="1422690"/>
                    </a:cubicBezTo>
                    <a:cubicBezTo>
                      <a:pt x="2077576" y="1495332"/>
                      <a:pt x="2079196" y="1568516"/>
                      <a:pt x="2080276" y="1641429"/>
                    </a:cubicBezTo>
                    <a:cubicBezTo>
                      <a:pt x="2153161" y="1642513"/>
                      <a:pt x="2225777" y="1641429"/>
                      <a:pt x="2298663" y="1642513"/>
                    </a:cubicBezTo>
                    <a:cubicBezTo>
                      <a:pt x="2297583" y="1715426"/>
                      <a:pt x="2297313" y="1788340"/>
                      <a:pt x="2299203" y="1861253"/>
                    </a:cubicBezTo>
                    <a:cubicBezTo>
                      <a:pt x="2333351" y="1860982"/>
                      <a:pt x="2367500" y="1861591"/>
                      <a:pt x="2401648" y="1861829"/>
                    </a:cubicBezTo>
                    <a:close/>
                    <a:moveTo>
                      <a:pt x="3274944" y="1862104"/>
                    </a:moveTo>
                    <a:cubicBezTo>
                      <a:pt x="3284410" y="1790622"/>
                      <a:pt x="3278190" y="1718056"/>
                      <a:pt x="3279542" y="1646303"/>
                    </a:cubicBezTo>
                    <a:cubicBezTo>
                      <a:pt x="3352570" y="1637368"/>
                      <a:pt x="3426679" y="1644949"/>
                      <a:pt x="3499977" y="1641700"/>
                    </a:cubicBezTo>
                    <a:cubicBezTo>
                      <a:pt x="3498625" y="1568864"/>
                      <a:pt x="3499707" y="1496028"/>
                      <a:pt x="3499166" y="1423191"/>
                    </a:cubicBezTo>
                    <a:cubicBezTo>
                      <a:pt x="3426409" y="1421837"/>
                      <a:pt x="3353651" y="1423462"/>
                      <a:pt x="3280894" y="1422108"/>
                    </a:cubicBezTo>
                    <a:cubicBezTo>
                      <a:pt x="3279271" y="1349272"/>
                      <a:pt x="3279271" y="1276165"/>
                      <a:pt x="3280353" y="1203329"/>
                    </a:cubicBezTo>
                    <a:cubicBezTo>
                      <a:pt x="3205432" y="1203599"/>
                      <a:pt x="3130241" y="1201704"/>
                      <a:pt x="3055320" y="1204141"/>
                    </a:cubicBezTo>
                    <a:cubicBezTo>
                      <a:pt x="3054779" y="1276977"/>
                      <a:pt x="3056402" y="1349813"/>
                      <a:pt x="3054238" y="1422379"/>
                    </a:cubicBezTo>
                    <a:cubicBezTo>
                      <a:pt x="2983374" y="1422921"/>
                      <a:pt x="2912240" y="1422921"/>
                      <a:pt x="2841376" y="1422379"/>
                    </a:cubicBezTo>
                    <a:cubicBezTo>
                      <a:pt x="2831639" y="1493591"/>
                      <a:pt x="2836508" y="1566156"/>
                      <a:pt x="2837319" y="1637909"/>
                    </a:cubicBezTo>
                    <a:cubicBezTo>
                      <a:pt x="2906560" y="1649552"/>
                      <a:pt x="2977694" y="1636826"/>
                      <a:pt x="3047476" y="1643595"/>
                    </a:cubicBezTo>
                    <a:cubicBezTo>
                      <a:pt x="3065598" y="1654155"/>
                      <a:pt x="3059918" y="1676358"/>
                      <a:pt x="3061541" y="1693687"/>
                    </a:cubicBezTo>
                    <a:cubicBezTo>
                      <a:pt x="3061000" y="1749736"/>
                      <a:pt x="3060729" y="1805514"/>
                      <a:pt x="3061541" y="1861563"/>
                    </a:cubicBezTo>
                    <a:cubicBezTo>
                      <a:pt x="3132675" y="1861833"/>
                      <a:pt x="3203810" y="1861292"/>
                      <a:pt x="3274944" y="1862104"/>
                    </a:cubicBezTo>
                    <a:close/>
                    <a:moveTo>
                      <a:pt x="1469867" y="3064588"/>
                    </a:moveTo>
                    <a:cubicBezTo>
                      <a:pt x="1599214" y="3069088"/>
                      <a:pt x="1729304" y="3057585"/>
                      <a:pt x="1855948" y="3032278"/>
                    </a:cubicBezTo>
                    <a:cubicBezTo>
                      <a:pt x="1915688" y="3016580"/>
                      <a:pt x="1975429" y="3000069"/>
                      <a:pt x="2034628" y="2981664"/>
                    </a:cubicBezTo>
                    <a:cubicBezTo>
                      <a:pt x="2325491" y="2881519"/>
                      <a:pt x="2582292" y="2688536"/>
                      <a:pt x="2765027" y="2441150"/>
                    </a:cubicBezTo>
                    <a:cubicBezTo>
                      <a:pt x="2793411" y="2400280"/>
                      <a:pt x="2822335" y="2359139"/>
                      <a:pt x="2842338" y="2313397"/>
                    </a:cubicBezTo>
                    <a:cubicBezTo>
                      <a:pt x="2741510" y="2250333"/>
                      <a:pt x="2635275" y="2196471"/>
                      <a:pt x="2534717" y="2133406"/>
                    </a:cubicBezTo>
                    <a:cubicBezTo>
                      <a:pt x="2422264" y="2074402"/>
                      <a:pt x="2315759" y="2004841"/>
                      <a:pt x="2202766" y="1946919"/>
                    </a:cubicBezTo>
                    <a:cubicBezTo>
                      <a:pt x="2190602" y="1939070"/>
                      <a:pt x="2174383" y="1944483"/>
                      <a:pt x="2168166" y="1957205"/>
                    </a:cubicBezTo>
                    <a:cubicBezTo>
                      <a:pt x="2040846" y="2142609"/>
                      <a:pt x="1833782" y="2277128"/>
                      <a:pt x="1608067" y="2297969"/>
                    </a:cubicBezTo>
                    <a:cubicBezTo>
                      <a:pt x="1509130" y="2302029"/>
                      <a:pt x="1406950" y="2303653"/>
                      <a:pt x="1312339" y="2269550"/>
                    </a:cubicBezTo>
                    <a:cubicBezTo>
                      <a:pt x="1260438" y="2249250"/>
                      <a:pt x="1206915" y="2231116"/>
                      <a:pt x="1158528" y="2202967"/>
                    </a:cubicBezTo>
                    <a:cubicBezTo>
                      <a:pt x="1002555" y="2120414"/>
                      <a:pt x="880642" y="1978316"/>
                      <a:pt x="818468" y="1813483"/>
                    </a:cubicBezTo>
                    <a:cubicBezTo>
                      <a:pt x="698177" y="1526580"/>
                      <a:pt x="782516" y="1170928"/>
                      <a:pt x="1013368" y="964142"/>
                    </a:cubicBezTo>
                    <a:cubicBezTo>
                      <a:pt x="1086624" y="901618"/>
                      <a:pt x="1169071" y="848298"/>
                      <a:pt x="1260168" y="815548"/>
                    </a:cubicBezTo>
                    <a:cubicBezTo>
                      <a:pt x="1433171" y="742198"/>
                      <a:pt x="1634828" y="746799"/>
                      <a:pt x="1808102" y="817172"/>
                    </a:cubicBezTo>
                    <a:cubicBezTo>
                      <a:pt x="1969482" y="878071"/>
                      <a:pt x="2102478" y="999869"/>
                      <a:pt x="2193305" y="1144945"/>
                    </a:cubicBezTo>
                    <a:cubicBezTo>
                      <a:pt x="2254397" y="1104074"/>
                      <a:pt x="2320895" y="1071866"/>
                      <a:pt x="2386042" y="1037491"/>
                    </a:cubicBezTo>
                    <a:cubicBezTo>
                      <a:pt x="2533095" y="955751"/>
                      <a:pt x="2680688" y="874823"/>
                      <a:pt x="2828552" y="794165"/>
                    </a:cubicBezTo>
                    <a:cubicBezTo>
                      <a:pt x="2839365" y="786857"/>
                      <a:pt x="2861801" y="779279"/>
                      <a:pt x="2850718" y="762227"/>
                    </a:cubicBezTo>
                    <a:cubicBezTo>
                      <a:pt x="2811792" y="684817"/>
                      <a:pt x="2756107" y="617422"/>
                      <a:pt x="2703125" y="549486"/>
                    </a:cubicBezTo>
                    <a:cubicBezTo>
                      <a:pt x="2600674" y="432289"/>
                      <a:pt x="2484708" y="326189"/>
                      <a:pt x="2353874" y="241201"/>
                    </a:cubicBezTo>
                    <a:cubicBezTo>
                      <a:pt x="2248180" y="177595"/>
                      <a:pt x="2137890" y="120214"/>
                      <a:pt x="2020842" y="79886"/>
                    </a:cubicBezTo>
                    <a:cubicBezTo>
                      <a:pt x="1890279" y="39557"/>
                      <a:pt x="1755390" y="10054"/>
                      <a:pt x="1618339" y="5453"/>
                    </a:cubicBezTo>
                    <a:cubicBezTo>
                      <a:pt x="1554814" y="-3208"/>
                      <a:pt x="1490749" y="-501"/>
                      <a:pt x="1426954" y="6265"/>
                    </a:cubicBezTo>
                    <a:cubicBezTo>
                      <a:pt x="1293687" y="10325"/>
                      <a:pt x="1163935" y="43617"/>
                      <a:pt x="1036885" y="80968"/>
                    </a:cubicBezTo>
                    <a:cubicBezTo>
                      <a:pt x="877668" y="138890"/>
                      <a:pt x="723317" y="215217"/>
                      <a:pt x="590861" y="322129"/>
                    </a:cubicBezTo>
                    <a:cubicBezTo>
                      <a:pt x="474354" y="410636"/>
                      <a:pt x="376228" y="520796"/>
                      <a:pt x="287564" y="636639"/>
                    </a:cubicBezTo>
                    <a:cubicBezTo>
                      <a:pt x="199711" y="758438"/>
                      <a:pt x="131861" y="894581"/>
                      <a:pt x="80501" y="1035597"/>
                    </a:cubicBezTo>
                    <a:cubicBezTo>
                      <a:pt x="57524" y="1123833"/>
                      <a:pt x="24004" y="1210445"/>
                      <a:pt x="18328" y="1302200"/>
                    </a:cubicBezTo>
                    <a:cubicBezTo>
                      <a:pt x="487" y="1425081"/>
                      <a:pt x="-6812" y="1550127"/>
                      <a:pt x="7785" y="1673820"/>
                    </a:cubicBezTo>
                    <a:cubicBezTo>
                      <a:pt x="13462" y="1765846"/>
                      <a:pt x="27789" y="1858142"/>
                      <a:pt x="56442" y="1946107"/>
                    </a:cubicBezTo>
                    <a:cubicBezTo>
                      <a:pt x="113480" y="2162638"/>
                      <a:pt x="224040" y="2363470"/>
                      <a:pt x="368660" y="2533717"/>
                    </a:cubicBezTo>
                    <a:cubicBezTo>
                      <a:pt x="445700" y="2613021"/>
                      <a:pt x="520038" y="2696115"/>
                      <a:pt x="611135" y="2759450"/>
                    </a:cubicBezTo>
                    <a:cubicBezTo>
                      <a:pt x="753863" y="2868256"/>
                      <a:pt x="915242" y="2952703"/>
                      <a:pt x="1088246" y="3000881"/>
                    </a:cubicBezTo>
                    <a:cubicBezTo>
                      <a:pt x="1211916" y="3039586"/>
                      <a:pt x="1340520" y="3060089"/>
                      <a:pt x="1469867" y="3064588"/>
                    </a:cubicBezTo>
                    <a:close/>
                  </a:path>
                </a:pathLst>
              </a:custGeom>
              <a:solidFill>
                <a:schemeClr val="bg1">
                  <a:lumMod val="85000"/>
                </a:schemeClr>
              </a:solidFill>
              <a:ln>
                <a:noFill/>
              </a:ln>
            </p:spPr>
            <p:txBody>
              <a:bodyPr vert="horz" wrap="square" lIns="91440" tIns="45720" rIns="91440" bIns="45720" numCol="1" anchor="t" anchorCtr="0" compatLnSpc="1">
                <a:noAutofit/>
              </a:bodyPr>
              <a:lstStyle/>
              <a:p>
                <a:endParaRPr lang="en-US">
                  <a:solidFill>
                    <a:schemeClr val="bg1"/>
                  </a:solidFill>
                  <a:latin typeface="Calibri"/>
                  <a:ea typeface="微软雅黑"/>
                  <a:cs typeface="+mn-ea"/>
                  <a:sym typeface="Calibri"/>
                </a:endParaRPr>
              </a:p>
            </p:txBody>
          </p:sp>
          <p:sp>
            <p:nvSpPr>
              <p:cNvPr id="27" name="TextBox 26"/>
              <p:cNvSpPr txBox="1"/>
              <p:nvPr/>
            </p:nvSpPr>
            <p:spPr>
              <a:xfrm>
                <a:off x="2126061" y="5304070"/>
                <a:ext cx="678980" cy="276999"/>
              </a:xfrm>
              <a:prstGeom prst="rect">
                <a:avLst/>
              </a:prstGeom>
              <a:noFill/>
            </p:spPr>
            <p:txBody>
              <a:bodyPr wrap="square" rtlCol="0">
                <a:spAutoFit/>
              </a:bodyPr>
              <a:lstStyle/>
              <a:p>
                <a:pPr algn="ctr"/>
                <a:r>
                  <a:rPr lang="en-US" sz="1200" dirty="0">
                    <a:solidFill>
                      <a:schemeClr val="bg1"/>
                    </a:solidFill>
                    <a:latin typeface="Calibri"/>
                    <a:ea typeface="微软雅黑"/>
                    <a:cs typeface="+mn-ea"/>
                    <a:sym typeface="Calibri"/>
                  </a:rPr>
                  <a:t>C++</a:t>
                </a:r>
              </a:p>
            </p:txBody>
          </p:sp>
        </p:grpSp>
        <p:grpSp>
          <p:nvGrpSpPr>
            <p:cNvPr id="18" name="Group 17"/>
            <p:cNvGrpSpPr/>
            <p:nvPr/>
          </p:nvGrpSpPr>
          <p:grpSpPr>
            <a:xfrm>
              <a:off x="5786741" y="4050422"/>
              <a:ext cx="678980" cy="1073453"/>
              <a:chOff x="3358903" y="4507616"/>
              <a:chExt cx="678980" cy="1073453"/>
            </a:xfrm>
          </p:grpSpPr>
          <p:grpSp>
            <p:nvGrpSpPr>
              <p:cNvPr id="20" name="Group 19"/>
              <p:cNvGrpSpPr/>
              <p:nvPr/>
            </p:nvGrpSpPr>
            <p:grpSpPr>
              <a:xfrm>
                <a:off x="3455975" y="4507616"/>
                <a:ext cx="484836" cy="495464"/>
                <a:chOff x="-4856996" y="-3670989"/>
                <a:chExt cx="2825750" cy="2887663"/>
              </a:xfrm>
              <a:solidFill>
                <a:schemeClr val="bg1">
                  <a:lumMod val="85000"/>
                </a:schemeClr>
              </a:solidFill>
            </p:grpSpPr>
            <p:sp>
              <p:nvSpPr>
                <p:cNvPr id="21" name="Freeform 37"/>
                <p:cNvSpPr/>
                <p:nvPr/>
              </p:nvSpPr>
              <p:spPr bwMode="auto">
                <a:xfrm flipV="1">
                  <a:off x="-4856996" y="-3670989"/>
                  <a:ext cx="2684463" cy="2887663"/>
                </a:xfrm>
                <a:custGeom>
                  <a:avLst/>
                  <a:gdLst>
                    <a:gd name="T0" fmla="*/ 2443 w 9935"/>
                    <a:gd name="T1" fmla="*/ 9783 h 10668"/>
                    <a:gd name="T2" fmla="*/ 5460 w 9935"/>
                    <a:gd name="T3" fmla="*/ 10659 h 10668"/>
                    <a:gd name="T4" fmla="*/ 6924 w 9935"/>
                    <a:gd name="T5" fmla="*/ 10410 h 10668"/>
                    <a:gd name="T6" fmla="*/ 7613 w 9935"/>
                    <a:gd name="T7" fmla="*/ 10125 h 10668"/>
                    <a:gd name="T8" fmla="*/ 9755 w 9935"/>
                    <a:gd name="T9" fmla="*/ 8300 h 10668"/>
                    <a:gd name="T10" fmla="*/ 9935 w 9935"/>
                    <a:gd name="T11" fmla="*/ 8000 h 10668"/>
                    <a:gd name="T12" fmla="*/ 9817 w 9935"/>
                    <a:gd name="T13" fmla="*/ 7903 h 10668"/>
                    <a:gd name="T14" fmla="*/ 7916 w 9935"/>
                    <a:gd name="T15" fmla="*/ 6806 h 10668"/>
                    <a:gd name="T16" fmla="*/ 7645 w 9935"/>
                    <a:gd name="T17" fmla="*/ 6664 h 10668"/>
                    <a:gd name="T18" fmla="*/ 7405 w 9935"/>
                    <a:gd name="T19" fmla="*/ 6979 h 10668"/>
                    <a:gd name="T20" fmla="*/ 6670 w 9935"/>
                    <a:gd name="T21" fmla="*/ 7609 h 10668"/>
                    <a:gd name="T22" fmla="*/ 4794 w 9935"/>
                    <a:gd name="T23" fmla="*/ 7885 h 10668"/>
                    <a:gd name="T24" fmla="*/ 3675 w 9935"/>
                    <a:gd name="T25" fmla="*/ 7347 h 10668"/>
                    <a:gd name="T26" fmla="*/ 3207 w 9935"/>
                    <a:gd name="T27" fmla="*/ 6872 h 10668"/>
                    <a:gd name="T28" fmla="*/ 2723 w 9935"/>
                    <a:gd name="T29" fmla="*/ 5315 h 10668"/>
                    <a:gd name="T30" fmla="*/ 2827 w 9935"/>
                    <a:gd name="T31" fmla="*/ 4588 h 10668"/>
                    <a:gd name="T32" fmla="*/ 5354 w 9935"/>
                    <a:gd name="T33" fmla="*/ 2682 h 10668"/>
                    <a:gd name="T34" fmla="*/ 7344 w 9935"/>
                    <a:gd name="T35" fmla="*/ 3571 h 10668"/>
                    <a:gd name="T36" fmla="*/ 7674 w 9935"/>
                    <a:gd name="T37" fmla="*/ 3990 h 10668"/>
                    <a:gd name="T38" fmla="*/ 9935 w 9935"/>
                    <a:gd name="T39" fmla="*/ 2672 h 10668"/>
                    <a:gd name="T40" fmla="*/ 6183 w 9935"/>
                    <a:gd name="T41" fmla="*/ 102 h 10668"/>
                    <a:gd name="T42" fmla="*/ 3943 w 9935"/>
                    <a:gd name="T43" fmla="*/ 226 h 10668"/>
                    <a:gd name="T44" fmla="*/ 1023 w 9935"/>
                    <a:gd name="T45" fmla="*/ 2246 h 10668"/>
                    <a:gd name="T46" fmla="*/ 739 w 9935"/>
                    <a:gd name="T47" fmla="*/ 2676 h 10668"/>
                    <a:gd name="T48" fmla="*/ 352 w 9935"/>
                    <a:gd name="T49" fmla="*/ 3455 h 10668"/>
                    <a:gd name="T50" fmla="*/ 16 w 9935"/>
                    <a:gd name="T51" fmla="*/ 4855 h 10668"/>
                    <a:gd name="T52" fmla="*/ 8 w 9935"/>
                    <a:gd name="T53" fmla="*/ 5598 h 10668"/>
                    <a:gd name="T54" fmla="*/ 137 w 9935"/>
                    <a:gd name="T55" fmla="*/ 6507 h 10668"/>
                    <a:gd name="T56" fmla="*/ 380 w 9935"/>
                    <a:gd name="T57" fmla="*/ 7284 h 10668"/>
                    <a:gd name="T58" fmla="*/ 1271 w 9935"/>
                    <a:gd name="T59" fmla="*/ 8763 h 10668"/>
                    <a:gd name="T60" fmla="*/ 2443 w 9935"/>
                    <a:gd name="T61" fmla="*/ 9783 h 10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35" h="10668">
                      <a:moveTo>
                        <a:pt x="2443" y="9783"/>
                      </a:moveTo>
                      <a:cubicBezTo>
                        <a:pt x="3325" y="10380"/>
                        <a:pt x="4399" y="10668"/>
                        <a:pt x="5460" y="10659"/>
                      </a:cubicBezTo>
                      <a:cubicBezTo>
                        <a:pt x="5954" y="10631"/>
                        <a:pt x="6453" y="10571"/>
                        <a:pt x="6924" y="10410"/>
                      </a:cubicBezTo>
                      <a:cubicBezTo>
                        <a:pt x="7150" y="10306"/>
                        <a:pt x="7395" y="10248"/>
                        <a:pt x="7613" y="10125"/>
                      </a:cubicBezTo>
                      <a:cubicBezTo>
                        <a:pt x="8476" y="9727"/>
                        <a:pt x="9221" y="9084"/>
                        <a:pt x="9755" y="8300"/>
                      </a:cubicBezTo>
                      <a:cubicBezTo>
                        <a:pt x="9818" y="8203"/>
                        <a:pt x="9907" y="8115"/>
                        <a:pt x="9935" y="8000"/>
                      </a:cubicBezTo>
                      <a:cubicBezTo>
                        <a:pt x="9913" y="7952"/>
                        <a:pt x="9859" y="7931"/>
                        <a:pt x="9817" y="7903"/>
                      </a:cubicBezTo>
                      <a:cubicBezTo>
                        <a:pt x="9180" y="7544"/>
                        <a:pt x="8551" y="7170"/>
                        <a:pt x="7916" y="6806"/>
                      </a:cubicBezTo>
                      <a:cubicBezTo>
                        <a:pt x="7827" y="6755"/>
                        <a:pt x="7742" y="6696"/>
                        <a:pt x="7645" y="6664"/>
                      </a:cubicBezTo>
                      <a:cubicBezTo>
                        <a:pt x="7540" y="6746"/>
                        <a:pt x="7497" y="6884"/>
                        <a:pt x="7405" y="6979"/>
                      </a:cubicBezTo>
                      <a:cubicBezTo>
                        <a:pt x="7187" y="7218"/>
                        <a:pt x="6939" y="7430"/>
                        <a:pt x="6670" y="7609"/>
                      </a:cubicBezTo>
                      <a:cubicBezTo>
                        <a:pt x="6101" y="7904"/>
                        <a:pt x="5426" y="8033"/>
                        <a:pt x="4794" y="7885"/>
                      </a:cubicBezTo>
                      <a:cubicBezTo>
                        <a:pt x="4389" y="7793"/>
                        <a:pt x="3977" y="7644"/>
                        <a:pt x="3675" y="7347"/>
                      </a:cubicBezTo>
                      <a:cubicBezTo>
                        <a:pt x="3516" y="7192"/>
                        <a:pt x="3343" y="7048"/>
                        <a:pt x="3207" y="6872"/>
                      </a:cubicBezTo>
                      <a:cubicBezTo>
                        <a:pt x="2910" y="6410"/>
                        <a:pt x="2703" y="5871"/>
                        <a:pt x="2723" y="5315"/>
                      </a:cubicBezTo>
                      <a:cubicBezTo>
                        <a:pt x="2714" y="5069"/>
                        <a:pt x="2751" y="4823"/>
                        <a:pt x="2827" y="4588"/>
                      </a:cubicBezTo>
                      <a:cubicBezTo>
                        <a:pt x="3087" y="3469"/>
                        <a:pt x="4212" y="2638"/>
                        <a:pt x="5354" y="2682"/>
                      </a:cubicBezTo>
                      <a:cubicBezTo>
                        <a:pt x="6106" y="2657"/>
                        <a:pt x="6848" y="3014"/>
                        <a:pt x="7344" y="3571"/>
                      </a:cubicBezTo>
                      <a:cubicBezTo>
                        <a:pt x="7466" y="3701"/>
                        <a:pt x="7550" y="3862"/>
                        <a:pt x="7674" y="3990"/>
                      </a:cubicBezTo>
                      <a:cubicBezTo>
                        <a:pt x="8418" y="3535"/>
                        <a:pt x="9187" y="3122"/>
                        <a:pt x="9935" y="2672"/>
                      </a:cubicBezTo>
                      <a:cubicBezTo>
                        <a:pt x="9161" y="1302"/>
                        <a:pt x="7728" y="353"/>
                        <a:pt x="6183" y="102"/>
                      </a:cubicBezTo>
                      <a:cubicBezTo>
                        <a:pt x="5438" y="0"/>
                        <a:pt x="4669" y="20"/>
                        <a:pt x="3943" y="226"/>
                      </a:cubicBezTo>
                      <a:cubicBezTo>
                        <a:pt x="2783" y="549"/>
                        <a:pt x="1721" y="1259"/>
                        <a:pt x="1023" y="2246"/>
                      </a:cubicBezTo>
                      <a:cubicBezTo>
                        <a:pt x="927" y="2388"/>
                        <a:pt x="843" y="2539"/>
                        <a:pt x="739" y="2676"/>
                      </a:cubicBezTo>
                      <a:cubicBezTo>
                        <a:pt x="563" y="2910"/>
                        <a:pt x="472" y="3192"/>
                        <a:pt x="352" y="3455"/>
                      </a:cubicBezTo>
                      <a:cubicBezTo>
                        <a:pt x="174" y="3903"/>
                        <a:pt x="79" y="4379"/>
                        <a:pt x="16" y="4855"/>
                      </a:cubicBezTo>
                      <a:cubicBezTo>
                        <a:pt x="0" y="5102"/>
                        <a:pt x="9" y="5350"/>
                        <a:pt x="8" y="5598"/>
                      </a:cubicBezTo>
                      <a:cubicBezTo>
                        <a:pt x="2" y="5906"/>
                        <a:pt x="85" y="6206"/>
                        <a:pt x="137" y="6507"/>
                      </a:cubicBezTo>
                      <a:cubicBezTo>
                        <a:pt x="173" y="6779"/>
                        <a:pt x="322" y="7017"/>
                        <a:pt x="380" y="7284"/>
                      </a:cubicBezTo>
                      <a:cubicBezTo>
                        <a:pt x="617" y="7809"/>
                        <a:pt x="889" y="8327"/>
                        <a:pt x="1271" y="8763"/>
                      </a:cubicBezTo>
                      <a:cubicBezTo>
                        <a:pt x="1630" y="9137"/>
                        <a:pt x="2007" y="9500"/>
                        <a:pt x="2443" y="978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solidFill>
                      <a:schemeClr val="bg1"/>
                    </a:solidFill>
                    <a:latin typeface="Calibri"/>
                    <a:ea typeface="微软雅黑"/>
                    <a:cs typeface="+mn-ea"/>
                    <a:sym typeface="Calibri"/>
                  </a:endParaRPr>
                </a:p>
              </p:txBody>
            </p:sp>
            <p:sp>
              <p:nvSpPr>
                <p:cNvPr id="22" name="Freeform 38"/>
                <p:cNvSpPr>
                  <a:spLocks noEditPoints="1"/>
                </p:cNvSpPr>
                <p:nvPr/>
              </p:nvSpPr>
              <p:spPr bwMode="auto">
                <a:xfrm flipV="1">
                  <a:off x="-2644021" y="-2631177"/>
                  <a:ext cx="612775" cy="782638"/>
                </a:xfrm>
                <a:custGeom>
                  <a:avLst/>
                  <a:gdLst>
                    <a:gd name="T0" fmla="*/ 606 w 2269"/>
                    <a:gd name="T1" fmla="*/ 2887 h 2890"/>
                    <a:gd name="T2" fmla="*/ 1007 w 2269"/>
                    <a:gd name="T3" fmla="*/ 2882 h 2890"/>
                    <a:gd name="T4" fmla="*/ 947 w 2269"/>
                    <a:gd name="T5" fmla="*/ 2207 h 2890"/>
                    <a:gd name="T6" fmla="*/ 1477 w 2269"/>
                    <a:gd name="T7" fmla="*/ 2216 h 2890"/>
                    <a:gd name="T8" fmla="*/ 1524 w 2269"/>
                    <a:gd name="T9" fmla="*/ 2883 h 2890"/>
                    <a:gd name="T10" fmla="*/ 1945 w 2269"/>
                    <a:gd name="T11" fmla="*/ 2885 h 2890"/>
                    <a:gd name="T12" fmla="*/ 1891 w 2269"/>
                    <a:gd name="T13" fmla="*/ 2194 h 2890"/>
                    <a:gd name="T14" fmla="*/ 2269 w 2269"/>
                    <a:gd name="T15" fmla="*/ 2185 h 2890"/>
                    <a:gd name="T16" fmla="*/ 2268 w 2269"/>
                    <a:gd name="T17" fmla="*/ 1816 h 2890"/>
                    <a:gd name="T18" fmla="*/ 1865 w 2269"/>
                    <a:gd name="T19" fmla="*/ 1818 h 2890"/>
                    <a:gd name="T20" fmla="*/ 1765 w 2269"/>
                    <a:gd name="T21" fmla="*/ 1190 h 2890"/>
                    <a:gd name="T22" fmla="*/ 2155 w 2269"/>
                    <a:gd name="T23" fmla="*/ 1182 h 2890"/>
                    <a:gd name="T24" fmla="*/ 2156 w 2269"/>
                    <a:gd name="T25" fmla="*/ 796 h 2890"/>
                    <a:gd name="T26" fmla="*/ 1761 w 2269"/>
                    <a:gd name="T27" fmla="*/ 796 h 2890"/>
                    <a:gd name="T28" fmla="*/ 1655 w 2269"/>
                    <a:gd name="T29" fmla="*/ 30 h 2890"/>
                    <a:gd name="T30" fmla="*/ 1236 w 2269"/>
                    <a:gd name="T31" fmla="*/ 31 h 2890"/>
                    <a:gd name="T32" fmla="*/ 1312 w 2269"/>
                    <a:gd name="T33" fmla="*/ 794 h 2890"/>
                    <a:gd name="T34" fmla="*/ 808 w 2269"/>
                    <a:gd name="T35" fmla="*/ 795 h 2890"/>
                    <a:gd name="T36" fmla="*/ 720 w 2269"/>
                    <a:gd name="T37" fmla="*/ 49 h 2890"/>
                    <a:gd name="T38" fmla="*/ 317 w 2269"/>
                    <a:gd name="T39" fmla="*/ 30 h 2890"/>
                    <a:gd name="T40" fmla="*/ 361 w 2269"/>
                    <a:gd name="T41" fmla="*/ 794 h 2890"/>
                    <a:gd name="T42" fmla="*/ 3 w 2269"/>
                    <a:gd name="T43" fmla="*/ 795 h 2890"/>
                    <a:gd name="T44" fmla="*/ 4 w 2269"/>
                    <a:gd name="T45" fmla="*/ 1182 h 2890"/>
                    <a:gd name="T46" fmla="*/ 423 w 2269"/>
                    <a:gd name="T47" fmla="*/ 1187 h 2890"/>
                    <a:gd name="T48" fmla="*/ 471 w 2269"/>
                    <a:gd name="T49" fmla="*/ 1793 h 2890"/>
                    <a:gd name="T50" fmla="*/ 110 w 2269"/>
                    <a:gd name="T51" fmla="*/ 1815 h 2890"/>
                    <a:gd name="T52" fmla="*/ 109 w 2269"/>
                    <a:gd name="T53" fmla="*/ 2196 h 2890"/>
                    <a:gd name="T54" fmla="*/ 523 w 2269"/>
                    <a:gd name="T55" fmla="*/ 2212 h 2890"/>
                    <a:gd name="T56" fmla="*/ 606 w 2269"/>
                    <a:gd name="T57" fmla="*/ 2887 h 2890"/>
                    <a:gd name="T58" fmla="*/ 913 w 2269"/>
                    <a:gd name="T59" fmla="*/ 1817 h 2890"/>
                    <a:gd name="T60" fmla="*/ 843 w 2269"/>
                    <a:gd name="T61" fmla="*/ 1187 h 2890"/>
                    <a:gd name="T62" fmla="*/ 1354 w 2269"/>
                    <a:gd name="T63" fmla="*/ 1186 h 2890"/>
                    <a:gd name="T64" fmla="*/ 1414 w 2269"/>
                    <a:gd name="T65" fmla="*/ 1812 h 2890"/>
                    <a:gd name="T66" fmla="*/ 913 w 2269"/>
                    <a:gd name="T67" fmla="*/ 1817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69" h="2890">
                      <a:moveTo>
                        <a:pt x="606" y="2887"/>
                      </a:moveTo>
                      <a:cubicBezTo>
                        <a:pt x="740" y="2889"/>
                        <a:pt x="874" y="2890"/>
                        <a:pt x="1007" y="2882"/>
                      </a:cubicBezTo>
                      <a:cubicBezTo>
                        <a:pt x="1010" y="2655"/>
                        <a:pt x="952" y="2433"/>
                        <a:pt x="947" y="2207"/>
                      </a:cubicBezTo>
                      <a:cubicBezTo>
                        <a:pt x="1124" y="2208"/>
                        <a:pt x="1301" y="2201"/>
                        <a:pt x="1477" y="2216"/>
                      </a:cubicBezTo>
                      <a:cubicBezTo>
                        <a:pt x="1477" y="2439"/>
                        <a:pt x="1513" y="2660"/>
                        <a:pt x="1524" y="2883"/>
                      </a:cubicBezTo>
                      <a:cubicBezTo>
                        <a:pt x="1664" y="2890"/>
                        <a:pt x="1805" y="2890"/>
                        <a:pt x="1945" y="2885"/>
                      </a:cubicBezTo>
                      <a:cubicBezTo>
                        <a:pt x="1937" y="2654"/>
                        <a:pt x="1859" y="2425"/>
                        <a:pt x="1891" y="2194"/>
                      </a:cubicBezTo>
                      <a:cubicBezTo>
                        <a:pt x="2016" y="2177"/>
                        <a:pt x="2143" y="2190"/>
                        <a:pt x="2269" y="2185"/>
                      </a:cubicBezTo>
                      <a:cubicBezTo>
                        <a:pt x="2269" y="2062"/>
                        <a:pt x="2269" y="1939"/>
                        <a:pt x="2268" y="1816"/>
                      </a:cubicBezTo>
                      <a:cubicBezTo>
                        <a:pt x="2134" y="1812"/>
                        <a:pt x="1999" y="1812"/>
                        <a:pt x="1865" y="1818"/>
                      </a:cubicBezTo>
                      <a:cubicBezTo>
                        <a:pt x="1806" y="1613"/>
                        <a:pt x="1807" y="1398"/>
                        <a:pt x="1765" y="1190"/>
                      </a:cubicBezTo>
                      <a:cubicBezTo>
                        <a:pt x="1895" y="1187"/>
                        <a:pt x="2025" y="1181"/>
                        <a:pt x="2155" y="1182"/>
                      </a:cubicBezTo>
                      <a:cubicBezTo>
                        <a:pt x="2158" y="1053"/>
                        <a:pt x="2157" y="925"/>
                        <a:pt x="2156" y="796"/>
                      </a:cubicBezTo>
                      <a:cubicBezTo>
                        <a:pt x="2024" y="790"/>
                        <a:pt x="1893" y="790"/>
                        <a:pt x="1761" y="796"/>
                      </a:cubicBezTo>
                      <a:cubicBezTo>
                        <a:pt x="1685" y="547"/>
                        <a:pt x="1703" y="283"/>
                        <a:pt x="1655" y="30"/>
                      </a:cubicBezTo>
                      <a:cubicBezTo>
                        <a:pt x="1515" y="26"/>
                        <a:pt x="1375" y="26"/>
                        <a:pt x="1236" y="31"/>
                      </a:cubicBezTo>
                      <a:cubicBezTo>
                        <a:pt x="1271" y="284"/>
                        <a:pt x="1315" y="538"/>
                        <a:pt x="1312" y="794"/>
                      </a:cubicBezTo>
                      <a:cubicBezTo>
                        <a:pt x="1144" y="790"/>
                        <a:pt x="976" y="789"/>
                        <a:pt x="808" y="795"/>
                      </a:cubicBezTo>
                      <a:cubicBezTo>
                        <a:pt x="753" y="550"/>
                        <a:pt x="771" y="293"/>
                        <a:pt x="720" y="49"/>
                      </a:cubicBezTo>
                      <a:cubicBezTo>
                        <a:pt x="595" y="0"/>
                        <a:pt x="449" y="37"/>
                        <a:pt x="317" y="30"/>
                      </a:cubicBezTo>
                      <a:cubicBezTo>
                        <a:pt x="337" y="284"/>
                        <a:pt x="369" y="538"/>
                        <a:pt x="361" y="794"/>
                      </a:cubicBezTo>
                      <a:cubicBezTo>
                        <a:pt x="241" y="792"/>
                        <a:pt x="122" y="789"/>
                        <a:pt x="3" y="795"/>
                      </a:cubicBezTo>
                      <a:cubicBezTo>
                        <a:pt x="1" y="924"/>
                        <a:pt x="0" y="1053"/>
                        <a:pt x="4" y="1182"/>
                      </a:cubicBezTo>
                      <a:cubicBezTo>
                        <a:pt x="143" y="1185"/>
                        <a:pt x="283" y="1184"/>
                        <a:pt x="423" y="1187"/>
                      </a:cubicBezTo>
                      <a:cubicBezTo>
                        <a:pt x="454" y="1388"/>
                        <a:pt x="469" y="1590"/>
                        <a:pt x="471" y="1793"/>
                      </a:cubicBezTo>
                      <a:cubicBezTo>
                        <a:pt x="350" y="1794"/>
                        <a:pt x="229" y="1796"/>
                        <a:pt x="110" y="1815"/>
                      </a:cubicBezTo>
                      <a:cubicBezTo>
                        <a:pt x="112" y="1942"/>
                        <a:pt x="112" y="2069"/>
                        <a:pt x="109" y="2196"/>
                      </a:cubicBezTo>
                      <a:cubicBezTo>
                        <a:pt x="246" y="2210"/>
                        <a:pt x="385" y="2207"/>
                        <a:pt x="523" y="2212"/>
                      </a:cubicBezTo>
                      <a:cubicBezTo>
                        <a:pt x="553" y="2437"/>
                        <a:pt x="563" y="2664"/>
                        <a:pt x="606" y="2887"/>
                      </a:cubicBezTo>
                      <a:moveTo>
                        <a:pt x="913" y="1817"/>
                      </a:moveTo>
                      <a:cubicBezTo>
                        <a:pt x="875" y="1609"/>
                        <a:pt x="875" y="1396"/>
                        <a:pt x="843" y="1187"/>
                      </a:cubicBezTo>
                      <a:cubicBezTo>
                        <a:pt x="1013" y="1183"/>
                        <a:pt x="1184" y="1183"/>
                        <a:pt x="1354" y="1186"/>
                      </a:cubicBezTo>
                      <a:cubicBezTo>
                        <a:pt x="1384" y="1393"/>
                        <a:pt x="1403" y="1603"/>
                        <a:pt x="1414" y="1812"/>
                      </a:cubicBezTo>
                      <a:cubicBezTo>
                        <a:pt x="1247" y="1814"/>
                        <a:pt x="1080" y="1811"/>
                        <a:pt x="913" y="1817"/>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a:solidFill>
                      <a:schemeClr val="bg1"/>
                    </a:solidFill>
                    <a:latin typeface="Calibri"/>
                    <a:ea typeface="微软雅黑"/>
                    <a:cs typeface="+mn-ea"/>
                    <a:sym typeface="Calibri"/>
                  </a:endParaRPr>
                </a:p>
              </p:txBody>
            </p:sp>
          </p:grpSp>
          <p:sp>
            <p:nvSpPr>
              <p:cNvPr id="28" name="TextBox 27"/>
              <p:cNvSpPr txBox="1"/>
              <p:nvPr/>
            </p:nvSpPr>
            <p:spPr>
              <a:xfrm>
                <a:off x="3358903" y="5304070"/>
                <a:ext cx="678980" cy="276999"/>
              </a:xfrm>
              <a:prstGeom prst="rect">
                <a:avLst/>
              </a:prstGeom>
              <a:noFill/>
            </p:spPr>
            <p:txBody>
              <a:bodyPr wrap="square" rtlCol="0">
                <a:spAutoFit/>
              </a:bodyPr>
              <a:lstStyle/>
              <a:p>
                <a:pPr algn="ctr"/>
                <a:r>
                  <a:rPr lang="en-US" sz="1200" dirty="0">
                    <a:solidFill>
                      <a:schemeClr val="bg1"/>
                    </a:solidFill>
                    <a:latin typeface="Calibri"/>
                    <a:ea typeface="微软雅黑"/>
                    <a:cs typeface="+mn-ea"/>
                    <a:sym typeface="Calibri"/>
                  </a:rPr>
                  <a:t>C#</a:t>
                </a:r>
              </a:p>
            </p:txBody>
          </p:sp>
        </p:grpSp>
        <p:grpSp>
          <p:nvGrpSpPr>
            <p:cNvPr id="16" name="Group 15"/>
            <p:cNvGrpSpPr/>
            <p:nvPr/>
          </p:nvGrpSpPr>
          <p:grpSpPr>
            <a:xfrm>
              <a:off x="6975352" y="4050424"/>
              <a:ext cx="678980" cy="1073451"/>
              <a:chOff x="4547514" y="4507618"/>
              <a:chExt cx="678980" cy="1073451"/>
            </a:xfrm>
          </p:grpSpPr>
          <p:sp>
            <p:nvSpPr>
              <p:cNvPr id="19" name="Freeform 35"/>
              <p:cNvSpPr/>
              <p:nvPr/>
            </p:nvSpPr>
            <p:spPr bwMode="auto">
              <a:xfrm flipV="1">
                <a:off x="4655967" y="4507618"/>
                <a:ext cx="462074" cy="495458"/>
              </a:xfrm>
              <a:custGeom>
                <a:avLst/>
                <a:gdLst>
                  <a:gd name="T0" fmla="*/ 4938 w 10645"/>
                  <a:gd name="T1" fmla="*/ 11333 h 11405"/>
                  <a:gd name="T2" fmla="*/ 5641 w 10645"/>
                  <a:gd name="T3" fmla="*/ 11385 h 11405"/>
                  <a:gd name="T4" fmla="*/ 6064 w 10645"/>
                  <a:gd name="T5" fmla="*/ 11365 h 11405"/>
                  <a:gd name="T6" fmla="*/ 7523 w 10645"/>
                  <a:gd name="T7" fmla="*/ 11102 h 11405"/>
                  <a:gd name="T8" fmla="*/ 8320 w 10645"/>
                  <a:gd name="T9" fmla="*/ 10752 h 11405"/>
                  <a:gd name="T10" fmla="*/ 9006 w 10645"/>
                  <a:gd name="T11" fmla="*/ 10340 h 11405"/>
                  <a:gd name="T12" fmla="*/ 10399 w 10645"/>
                  <a:gd name="T13" fmla="*/ 8939 h 11405"/>
                  <a:gd name="T14" fmla="*/ 10609 w 10645"/>
                  <a:gd name="T15" fmla="*/ 8590 h 11405"/>
                  <a:gd name="T16" fmla="*/ 9859 w 10645"/>
                  <a:gd name="T17" fmla="*/ 8154 h 11405"/>
                  <a:gd name="T18" fmla="*/ 8805 w 10645"/>
                  <a:gd name="T19" fmla="*/ 7551 h 11405"/>
                  <a:gd name="T20" fmla="*/ 8176 w 10645"/>
                  <a:gd name="T21" fmla="*/ 7193 h 11405"/>
                  <a:gd name="T22" fmla="*/ 7846 w 10645"/>
                  <a:gd name="T23" fmla="*/ 7587 h 11405"/>
                  <a:gd name="T24" fmla="*/ 6065 w 10645"/>
                  <a:gd name="T25" fmla="*/ 8506 h 11405"/>
                  <a:gd name="T26" fmla="*/ 4855 w 10645"/>
                  <a:gd name="T27" fmla="*/ 8395 h 11405"/>
                  <a:gd name="T28" fmla="*/ 3702 w 10645"/>
                  <a:gd name="T29" fmla="*/ 7675 h 11405"/>
                  <a:gd name="T30" fmla="*/ 3187 w 10645"/>
                  <a:gd name="T31" fmla="*/ 6957 h 11405"/>
                  <a:gd name="T32" fmla="*/ 3200 w 10645"/>
                  <a:gd name="T33" fmla="*/ 4415 h 11405"/>
                  <a:gd name="T34" fmla="*/ 5641 w 10645"/>
                  <a:gd name="T35" fmla="*/ 2864 h 11405"/>
                  <a:gd name="T36" fmla="*/ 7366 w 10645"/>
                  <a:gd name="T37" fmla="*/ 3379 h 11405"/>
                  <a:gd name="T38" fmla="*/ 8121 w 10645"/>
                  <a:gd name="T39" fmla="*/ 4176 h 11405"/>
                  <a:gd name="T40" fmla="*/ 8241 w 10645"/>
                  <a:gd name="T41" fmla="*/ 4237 h 11405"/>
                  <a:gd name="T42" fmla="*/ 10645 w 10645"/>
                  <a:gd name="T43" fmla="*/ 2923 h 11405"/>
                  <a:gd name="T44" fmla="*/ 10359 w 10645"/>
                  <a:gd name="T45" fmla="*/ 2432 h 11405"/>
                  <a:gd name="T46" fmla="*/ 7042 w 10645"/>
                  <a:gd name="T47" fmla="*/ 196 h 11405"/>
                  <a:gd name="T48" fmla="*/ 5959 w 10645"/>
                  <a:gd name="T49" fmla="*/ 46 h 11405"/>
                  <a:gd name="T50" fmla="*/ 2673 w 10645"/>
                  <a:gd name="T51" fmla="*/ 936 h 11405"/>
                  <a:gd name="T52" fmla="*/ 2008 w 10645"/>
                  <a:gd name="T53" fmla="*/ 1432 h 11405"/>
                  <a:gd name="T54" fmla="*/ 1115 w 10645"/>
                  <a:gd name="T55" fmla="*/ 2406 h 11405"/>
                  <a:gd name="T56" fmla="*/ 522 w 10645"/>
                  <a:gd name="T57" fmla="*/ 3438 h 11405"/>
                  <a:gd name="T58" fmla="*/ 171 w 10645"/>
                  <a:gd name="T59" fmla="*/ 4493 h 11405"/>
                  <a:gd name="T60" fmla="*/ 50 w 10645"/>
                  <a:gd name="T61" fmla="*/ 5594 h 11405"/>
                  <a:gd name="T62" fmla="*/ 1444 w 10645"/>
                  <a:gd name="T63" fmla="*/ 9439 h 11405"/>
                  <a:gd name="T64" fmla="*/ 2342 w 10645"/>
                  <a:gd name="T65" fmla="*/ 10266 h 11405"/>
                  <a:gd name="T66" fmla="*/ 4938 w 10645"/>
                  <a:gd name="T67" fmla="*/ 11333 h 11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645" h="11405">
                    <a:moveTo>
                      <a:pt x="4938" y="11333"/>
                    </a:moveTo>
                    <a:cubicBezTo>
                      <a:pt x="5170" y="11380"/>
                      <a:pt x="5408" y="11347"/>
                      <a:pt x="5641" y="11385"/>
                    </a:cubicBezTo>
                    <a:cubicBezTo>
                      <a:pt x="5783" y="11405"/>
                      <a:pt x="5922" y="11363"/>
                      <a:pt x="6064" y="11365"/>
                    </a:cubicBezTo>
                    <a:cubicBezTo>
                      <a:pt x="6562" y="11370"/>
                      <a:pt x="7049" y="11245"/>
                      <a:pt x="7523" y="11102"/>
                    </a:cubicBezTo>
                    <a:cubicBezTo>
                      <a:pt x="7795" y="11002"/>
                      <a:pt x="8071" y="10903"/>
                      <a:pt x="8320" y="10752"/>
                    </a:cubicBezTo>
                    <a:cubicBezTo>
                      <a:pt x="8561" y="10636"/>
                      <a:pt x="8797" y="10507"/>
                      <a:pt x="9006" y="10340"/>
                    </a:cubicBezTo>
                    <a:cubicBezTo>
                      <a:pt x="9550" y="9963"/>
                      <a:pt x="10032" y="9491"/>
                      <a:pt x="10399" y="8939"/>
                    </a:cubicBezTo>
                    <a:cubicBezTo>
                      <a:pt x="10480" y="8830"/>
                      <a:pt x="10562" y="8719"/>
                      <a:pt x="10609" y="8590"/>
                    </a:cubicBezTo>
                    <a:cubicBezTo>
                      <a:pt x="10359" y="8444"/>
                      <a:pt x="10106" y="8305"/>
                      <a:pt x="9859" y="8154"/>
                    </a:cubicBezTo>
                    <a:cubicBezTo>
                      <a:pt x="9511" y="7948"/>
                      <a:pt x="9146" y="7771"/>
                      <a:pt x="8805" y="7551"/>
                    </a:cubicBezTo>
                    <a:cubicBezTo>
                      <a:pt x="8595" y="7433"/>
                      <a:pt x="8387" y="7311"/>
                      <a:pt x="8176" y="7193"/>
                    </a:cubicBezTo>
                    <a:cubicBezTo>
                      <a:pt x="8051" y="7312"/>
                      <a:pt x="7970" y="7467"/>
                      <a:pt x="7846" y="7587"/>
                    </a:cubicBezTo>
                    <a:cubicBezTo>
                      <a:pt x="7384" y="8085"/>
                      <a:pt x="6754" y="8462"/>
                      <a:pt x="6065" y="8506"/>
                    </a:cubicBezTo>
                    <a:cubicBezTo>
                      <a:pt x="5660" y="8515"/>
                      <a:pt x="5242" y="8540"/>
                      <a:pt x="4855" y="8395"/>
                    </a:cubicBezTo>
                    <a:cubicBezTo>
                      <a:pt x="4410" y="8272"/>
                      <a:pt x="4029" y="7992"/>
                      <a:pt x="3702" y="7675"/>
                    </a:cubicBezTo>
                    <a:cubicBezTo>
                      <a:pt x="3481" y="7475"/>
                      <a:pt x="3338" y="7210"/>
                      <a:pt x="3187" y="6957"/>
                    </a:cubicBezTo>
                    <a:cubicBezTo>
                      <a:pt x="2803" y="6168"/>
                      <a:pt x="2815" y="5202"/>
                      <a:pt x="3200" y="4415"/>
                    </a:cubicBezTo>
                    <a:cubicBezTo>
                      <a:pt x="3661" y="3516"/>
                      <a:pt x="4624" y="2883"/>
                      <a:pt x="5641" y="2864"/>
                    </a:cubicBezTo>
                    <a:cubicBezTo>
                      <a:pt x="6253" y="2835"/>
                      <a:pt x="6863" y="3037"/>
                      <a:pt x="7366" y="3379"/>
                    </a:cubicBezTo>
                    <a:cubicBezTo>
                      <a:pt x="7665" y="3593"/>
                      <a:pt x="7918" y="3870"/>
                      <a:pt x="8121" y="4176"/>
                    </a:cubicBezTo>
                    <a:cubicBezTo>
                      <a:pt x="8145" y="4218"/>
                      <a:pt x="8187" y="4265"/>
                      <a:pt x="8241" y="4237"/>
                    </a:cubicBezTo>
                    <a:cubicBezTo>
                      <a:pt x="9044" y="3804"/>
                      <a:pt x="9839" y="3351"/>
                      <a:pt x="10645" y="2923"/>
                    </a:cubicBezTo>
                    <a:cubicBezTo>
                      <a:pt x="10607" y="2731"/>
                      <a:pt x="10466" y="2587"/>
                      <a:pt x="10359" y="2432"/>
                    </a:cubicBezTo>
                    <a:cubicBezTo>
                      <a:pt x="9584" y="1307"/>
                      <a:pt x="8364" y="515"/>
                      <a:pt x="7042" y="196"/>
                    </a:cubicBezTo>
                    <a:cubicBezTo>
                      <a:pt x="6688" y="103"/>
                      <a:pt x="6322" y="75"/>
                      <a:pt x="5959" y="46"/>
                    </a:cubicBezTo>
                    <a:cubicBezTo>
                      <a:pt x="4807" y="0"/>
                      <a:pt x="3645" y="316"/>
                      <a:pt x="2673" y="936"/>
                    </a:cubicBezTo>
                    <a:cubicBezTo>
                      <a:pt x="2446" y="1093"/>
                      <a:pt x="2208" y="1239"/>
                      <a:pt x="2008" y="1432"/>
                    </a:cubicBezTo>
                    <a:cubicBezTo>
                      <a:pt x="1689" y="1736"/>
                      <a:pt x="1367" y="2043"/>
                      <a:pt x="1115" y="2406"/>
                    </a:cubicBezTo>
                    <a:cubicBezTo>
                      <a:pt x="881" y="2727"/>
                      <a:pt x="693" y="3080"/>
                      <a:pt x="522" y="3438"/>
                    </a:cubicBezTo>
                    <a:cubicBezTo>
                      <a:pt x="359" y="3774"/>
                      <a:pt x="279" y="4139"/>
                      <a:pt x="171" y="4493"/>
                    </a:cubicBezTo>
                    <a:cubicBezTo>
                      <a:pt x="96" y="4855"/>
                      <a:pt x="41" y="5224"/>
                      <a:pt x="50" y="5594"/>
                    </a:cubicBezTo>
                    <a:cubicBezTo>
                      <a:pt x="0" y="6992"/>
                      <a:pt x="527" y="8389"/>
                      <a:pt x="1444" y="9439"/>
                    </a:cubicBezTo>
                    <a:cubicBezTo>
                      <a:pt x="1727" y="9732"/>
                      <a:pt x="2007" y="10032"/>
                      <a:pt x="2342" y="10266"/>
                    </a:cubicBezTo>
                    <a:cubicBezTo>
                      <a:pt x="3109" y="10816"/>
                      <a:pt x="3997" y="11212"/>
                      <a:pt x="4938" y="11333"/>
                    </a:cubicBezTo>
                  </a:path>
                </a:pathLst>
              </a:custGeom>
              <a:solidFill>
                <a:schemeClr val="bg1">
                  <a:lumMod val="85000"/>
                </a:schemeClr>
              </a:solidFill>
              <a:ln>
                <a:noFill/>
              </a:ln>
            </p:spPr>
            <p:txBody>
              <a:bodyPr vert="horz" wrap="square" lIns="91440" tIns="45720" rIns="91440" bIns="45720" numCol="1" anchor="t" anchorCtr="0" compatLnSpc="1"/>
              <a:lstStyle/>
              <a:p>
                <a:endParaRPr lang="en-US">
                  <a:solidFill>
                    <a:schemeClr val="bg1"/>
                  </a:solidFill>
                  <a:latin typeface="Calibri"/>
                  <a:ea typeface="微软雅黑"/>
                  <a:cs typeface="+mn-ea"/>
                  <a:sym typeface="Calibri"/>
                </a:endParaRPr>
              </a:p>
            </p:txBody>
          </p:sp>
          <p:sp>
            <p:nvSpPr>
              <p:cNvPr id="29" name="TextBox 28"/>
              <p:cNvSpPr txBox="1"/>
              <p:nvPr/>
            </p:nvSpPr>
            <p:spPr>
              <a:xfrm>
                <a:off x="4547514" y="5304070"/>
                <a:ext cx="678980" cy="276999"/>
              </a:xfrm>
              <a:prstGeom prst="rect">
                <a:avLst/>
              </a:prstGeom>
              <a:noFill/>
            </p:spPr>
            <p:txBody>
              <a:bodyPr wrap="square" rtlCol="0">
                <a:spAutoFit/>
              </a:bodyPr>
              <a:lstStyle/>
              <a:p>
                <a:pPr algn="ctr"/>
                <a:r>
                  <a:rPr lang="en-US" sz="1200" dirty="0">
                    <a:solidFill>
                      <a:schemeClr val="bg1"/>
                    </a:solidFill>
                    <a:latin typeface="Calibri"/>
                    <a:ea typeface="微软雅黑"/>
                    <a:cs typeface="+mn-ea"/>
                    <a:sym typeface="Calibri"/>
                  </a:rPr>
                  <a:t>C</a:t>
                </a:r>
              </a:p>
            </p:txBody>
          </p:sp>
        </p:grpSp>
        <p:sp>
          <p:nvSpPr>
            <p:cNvPr id="30" name="TextBox 29"/>
            <p:cNvSpPr txBox="1"/>
            <p:nvPr/>
          </p:nvSpPr>
          <p:spPr>
            <a:xfrm>
              <a:off x="4846489" y="5419971"/>
              <a:ext cx="2422828" cy="276999"/>
            </a:xfrm>
            <a:prstGeom prst="rect">
              <a:avLst/>
            </a:prstGeom>
            <a:noFill/>
          </p:spPr>
          <p:txBody>
            <a:bodyPr wrap="square" rtlCol="0">
              <a:spAutoFit/>
            </a:bodyPr>
            <a:lstStyle/>
            <a:p>
              <a:pPr algn="ctr"/>
              <a:r>
                <a:rPr lang="en-US" sz="1200" dirty="0">
                  <a:solidFill>
                    <a:schemeClr val="bg1"/>
                  </a:solidFill>
                  <a:latin typeface="Calibri"/>
                  <a:ea typeface="微软雅黑"/>
                  <a:cs typeface="+mn-ea"/>
                  <a:sym typeface="Calibri"/>
                </a:rPr>
                <a:t>More programming language </a:t>
              </a:r>
            </a:p>
          </p:txBody>
        </p:sp>
        <p:sp>
          <p:nvSpPr>
            <p:cNvPr id="31" name="TextBox 30"/>
            <p:cNvSpPr txBox="1"/>
            <p:nvPr/>
          </p:nvSpPr>
          <p:spPr>
            <a:xfrm>
              <a:off x="4846489" y="1520224"/>
              <a:ext cx="2422828" cy="307777"/>
            </a:xfrm>
            <a:prstGeom prst="rect">
              <a:avLst/>
            </a:prstGeom>
            <a:noFill/>
          </p:spPr>
          <p:txBody>
            <a:bodyPr wrap="square" rtlCol="0">
              <a:spAutoFit/>
            </a:bodyPr>
            <a:lstStyle/>
            <a:p>
              <a:pPr algn="ctr"/>
              <a:r>
                <a:rPr lang="en-US" sz="1400" b="1" dirty="0">
                  <a:solidFill>
                    <a:schemeClr val="bg1"/>
                  </a:solidFill>
                  <a:latin typeface="Calibri"/>
                  <a:ea typeface="微软雅黑"/>
                  <a:cs typeface="+mn-ea"/>
                  <a:sym typeface="Calibri"/>
                </a:rPr>
                <a:t>Fully support language </a:t>
              </a:r>
            </a:p>
          </p:txBody>
        </p:sp>
      </p:grpSp>
      <p:sp>
        <p:nvSpPr>
          <p:cNvPr id="40" name="TextBox 3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5881430" y="3864422"/>
            <a:ext cx="4354769" cy="369332"/>
          </a:xfrm>
          <a:prstGeom prst="rect">
            <a:avLst/>
          </a:prstGeom>
          <a:noFill/>
        </p:spPr>
        <p:txBody>
          <a:bodyPr wrap="square" rtlCol="0">
            <a:spAutoFit/>
          </a:bodyPr>
          <a:lstStyle/>
          <a:p>
            <a:r>
              <a:rPr lang="en-US" dirty="0">
                <a:solidFill>
                  <a:schemeClr val="bg1"/>
                </a:solidFill>
                <a:latin typeface="Calibri"/>
                <a:ea typeface="微软雅黑"/>
                <a:cs typeface="+mn-ea"/>
                <a:sym typeface="Calibri"/>
              </a:rPr>
              <a:t>Support programming language </a:t>
            </a:r>
          </a:p>
        </p:txBody>
      </p:sp>
      <p:sp>
        <p:nvSpPr>
          <p:cNvPr id="41" name="Rectangle 4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5881431" y="4309543"/>
            <a:ext cx="5034219" cy="894732"/>
          </a:xfrm>
          <a:prstGeom prst="rect">
            <a:avLst/>
          </a:prstGeom>
        </p:spPr>
        <p:txBody>
          <a:bodyPr wrap="square">
            <a:spAutoFit/>
          </a:bodyPr>
          <a:lstStyle/>
          <a:p>
            <a:pPr>
              <a:lnSpc>
                <a:spcPct val="150000"/>
              </a:lnSpc>
            </a:pPr>
            <a:r>
              <a:rPr lang="en-US" sz="1200" dirty="0">
                <a:solidFill>
                  <a:schemeClr val="bg1"/>
                </a:solidFill>
                <a:latin typeface="Calibri"/>
                <a:ea typeface="微软雅黑"/>
                <a:cs typeface="+mn-ea"/>
                <a:sym typeface="Calibri"/>
              </a:rPr>
              <a:t>Hey, hey, hey! It's Fat Company! Now I'm </a:t>
            </a:r>
            <a:r>
              <a:rPr lang="en-US" sz="1200" dirty="0" err="1">
                <a:solidFill>
                  <a:schemeClr val="bg1"/>
                </a:solidFill>
                <a:latin typeface="Calibri"/>
                <a:ea typeface="微软雅黑"/>
                <a:cs typeface="+mn-ea"/>
                <a:sym typeface="Calibri"/>
              </a:rPr>
              <a:t>gonna</a:t>
            </a:r>
            <a:r>
              <a:rPr lang="en-US" sz="1200" dirty="0">
                <a:solidFill>
                  <a:schemeClr val="bg1"/>
                </a:solidFill>
                <a:latin typeface="Calibri"/>
                <a:ea typeface="微软雅黑"/>
                <a:cs typeface="+mn-ea"/>
                <a:sym typeface="Calibri"/>
              </a:rPr>
              <a:t> sing a song for you, and this is </a:t>
            </a:r>
            <a:r>
              <a:rPr lang="en-US" sz="1200" dirty="0" err="1">
                <a:solidFill>
                  <a:schemeClr val="bg1"/>
                </a:solidFill>
                <a:latin typeface="Calibri"/>
                <a:ea typeface="微软雅黑"/>
                <a:cs typeface="+mn-ea"/>
                <a:sym typeface="Calibri"/>
              </a:rPr>
              <a:t>gonna</a:t>
            </a:r>
            <a:r>
              <a:rPr lang="en-US" sz="1200" dirty="0">
                <a:solidFill>
                  <a:schemeClr val="bg1"/>
                </a:solidFill>
                <a:latin typeface="Calibri"/>
                <a:ea typeface="微软雅黑"/>
                <a:cs typeface="+mn-ea"/>
                <a:sym typeface="Calibri"/>
              </a:rPr>
              <a:t> show you a thing or two. You'll have some fun now With me and the gang, learning from each other While we do our thing</a:t>
            </a:r>
          </a:p>
        </p:txBody>
      </p:sp>
      <p:sp>
        <p:nvSpPr>
          <p:cNvPr id="42" name="TextBox 4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5859284" y="1126164"/>
            <a:ext cx="5608816" cy="1323439"/>
          </a:xfrm>
          <a:prstGeom prst="rect">
            <a:avLst/>
          </a:prstGeom>
          <a:noFill/>
        </p:spPr>
        <p:txBody>
          <a:bodyPr wrap="square" rtlCol="0">
            <a:spAutoFit/>
          </a:bodyPr>
          <a:lstStyle/>
          <a:p>
            <a:r>
              <a:rPr lang="en-US" sz="4000" b="1" dirty="0">
                <a:solidFill>
                  <a:schemeClr val="bg1"/>
                </a:solidFill>
                <a:latin typeface="Calibri"/>
                <a:ea typeface="微软雅黑"/>
                <a:cs typeface="+mn-ea"/>
                <a:sym typeface="Calibri"/>
              </a:rPr>
              <a:t>Learning </a:t>
            </a:r>
            <a:r>
              <a:rPr lang="en-US" sz="4000" b="1" dirty="0">
                <a:gradFill>
                  <a:gsLst>
                    <a:gs pos="0">
                      <a:schemeClr val="accent1"/>
                    </a:gs>
                    <a:gs pos="100000">
                      <a:schemeClr val="accent2"/>
                    </a:gs>
                  </a:gsLst>
                  <a:lin ang="10200000" scaled="0"/>
                </a:gradFill>
                <a:latin typeface="Calibri"/>
                <a:ea typeface="微软雅黑"/>
                <a:cs typeface="+mn-ea"/>
                <a:sym typeface="Calibri"/>
              </a:rPr>
              <a:t>Management Systems</a:t>
            </a:r>
          </a:p>
        </p:txBody>
      </p:sp>
      <p:grpSp>
        <p:nvGrpSpPr>
          <p:cNvPr id="47" name="Group 4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0332553" y="3558064"/>
            <a:ext cx="660492" cy="205272"/>
            <a:chOff x="6442216" y="3223727"/>
            <a:chExt cx="1082174" cy="336325"/>
          </a:xfrm>
          <a:solidFill>
            <a:schemeClr val="bg1"/>
          </a:solidFill>
        </p:grpSpPr>
        <p:sp>
          <p:nvSpPr>
            <p:cNvPr id="48" name="Freeform 45"/>
            <p:cNvSpPr/>
            <p:nvPr/>
          </p:nvSpPr>
          <p:spPr bwMode="auto">
            <a:xfrm>
              <a:off x="7334465" y="3223727"/>
              <a:ext cx="189925" cy="336325"/>
            </a:xfrm>
            <a:custGeom>
              <a:avLst/>
              <a:gdLst>
                <a:gd name="T0" fmla="*/ 6350 w 96"/>
                <a:gd name="T1" fmla="*/ 33734 h 168"/>
                <a:gd name="T2" fmla="*/ 106363 w 96"/>
                <a:gd name="T3" fmla="*/ 134938 h 168"/>
                <a:gd name="T4" fmla="*/ 4763 w 96"/>
                <a:gd name="T5" fmla="*/ 237747 h 168"/>
                <a:gd name="T6" fmla="*/ 4763 w 96"/>
                <a:gd name="T7" fmla="*/ 237747 h 168"/>
                <a:gd name="T8" fmla="*/ 0 w 96"/>
                <a:gd name="T9" fmla="*/ 250598 h 168"/>
                <a:gd name="T10" fmla="*/ 19050 w 96"/>
                <a:gd name="T11" fmla="*/ 269875 h 168"/>
                <a:gd name="T12" fmla="*/ 31750 w 96"/>
                <a:gd name="T13" fmla="*/ 265056 h 168"/>
                <a:gd name="T14" fmla="*/ 31750 w 96"/>
                <a:gd name="T15" fmla="*/ 265056 h 168"/>
                <a:gd name="T16" fmla="*/ 146050 w 96"/>
                <a:gd name="T17" fmla="*/ 149395 h 168"/>
                <a:gd name="T18" fmla="*/ 146050 w 96"/>
                <a:gd name="T19" fmla="*/ 149395 h 168"/>
                <a:gd name="T20" fmla="*/ 152400 w 96"/>
                <a:gd name="T21" fmla="*/ 134938 h 168"/>
                <a:gd name="T22" fmla="*/ 152400 w 96"/>
                <a:gd name="T23" fmla="*/ 134938 h 168"/>
                <a:gd name="T24" fmla="*/ 152400 w 96"/>
                <a:gd name="T25" fmla="*/ 134938 h 168"/>
                <a:gd name="T26" fmla="*/ 146050 w 96"/>
                <a:gd name="T27" fmla="*/ 120480 h 168"/>
                <a:gd name="T28" fmla="*/ 146050 w 96"/>
                <a:gd name="T29" fmla="*/ 120480 h 168"/>
                <a:gd name="T30" fmla="*/ 31750 w 96"/>
                <a:gd name="T31" fmla="*/ 4819 h 168"/>
                <a:gd name="T32" fmla="*/ 31750 w 96"/>
                <a:gd name="T33" fmla="*/ 4819 h 168"/>
                <a:gd name="T34" fmla="*/ 19050 w 96"/>
                <a:gd name="T35" fmla="*/ 0 h 168"/>
                <a:gd name="T36" fmla="*/ 0 w 96"/>
                <a:gd name="T37" fmla="*/ 19277 h 168"/>
                <a:gd name="T38" fmla="*/ 6350 w 96"/>
                <a:gd name="T39" fmla="*/ 33734 h 1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6" h="168">
                  <a:moveTo>
                    <a:pt x="4" y="21"/>
                  </a:moveTo>
                  <a:cubicBezTo>
                    <a:pt x="67" y="84"/>
                    <a:pt x="67" y="84"/>
                    <a:pt x="67" y="84"/>
                  </a:cubicBezTo>
                  <a:cubicBezTo>
                    <a:pt x="3" y="148"/>
                    <a:pt x="3" y="148"/>
                    <a:pt x="3" y="148"/>
                  </a:cubicBezTo>
                  <a:cubicBezTo>
                    <a:pt x="3" y="148"/>
                    <a:pt x="3" y="148"/>
                    <a:pt x="3" y="148"/>
                  </a:cubicBezTo>
                  <a:cubicBezTo>
                    <a:pt x="1" y="150"/>
                    <a:pt x="0" y="153"/>
                    <a:pt x="0" y="156"/>
                  </a:cubicBezTo>
                  <a:cubicBezTo>
                    <a:pt x="0" y="163"/>
                    <a:pt x="5" y="168"/>
                    <a:pt x="12" y="168"/>
                  </a:cubicBezTo>
                  <a:cubicBezTo>
                    <a:pt x="15" y="168"/>
                    <a:pt x="18" y="167"/>
                    <a:pt x="20" y="165"/>
                  </a:cubicBezTo>
                  <a:cubicBezTo>
                    <a:pt x="20" y="165"/>
                    <a:pt x="20" y="165"/>
                    <a:pt x="20" y="165"/>
                  </a:cubicBezTo>
                  <a:cubicBezTo>
                    <a:pt x="92" y="93"/>
                    <a:pt x="92" y="93"/>
                    <a:pt x="92" y="93"/>
                  </a:cubicBezTo>
                  <a:cubicBezTo>
                    <a:pt x="92" y="93"/>
                    <a:pt x="92" y="93"/>
                    <a:pt x="92" y="93"/>
                  </a:cubicBezTo>
                  <a:cubicBezTo>
                    <a:pt x="95" y="90"/>
                    <a:pt x="96" y="87"/>
                    <a:pt x="96" y="84"/>
                  </a:cubicBezTo>
                  <a:cubicBezTo>
                    <a:pt x="96" y="84"/>
                    <a:pt x="96" y="84"/>
                    <a:pt x="96" y="84"/>
                  </a:cubicBezTo>
                  <a:cubicBezTo>
                    <a:pt x="96" y="84"/>
                    <a:pt x="96" y="84"/>
                    <a:pt x="96" y="84"/>
                  </a:cubicBezTo>
                  <a:cubicBezTo>
                    <a:pt x="96" y="81"/>
                    <a:pt x="95" y="77"/>
                    <a:pt x="92" y="75"/>
                  </a:cubicBezTo>
                  <a:cubicBezTo>
                    <a:pt x="92" y="75"/>
                    <a:pt x="92" y="75"/>
                    <a:pt x="92" y="75"/>
                  </a:cubicBezTo>
                  <a:cubicBezTo>
                    <a:pt x="20" y="3"/>
                    <a:pt x="20" y="3"/>
                    <a:pt x="20" y="3"/>
                  </a:cubicBezTo>
                  <a:cubicBezTo>
                    <a:pt x="20" y="3"/>
                    <a:pt x="20" y="3"/>
                    <a:pt x="20" y="3"/>
                  </a:cubicBezTo>
                  <a:cubicBezTo>
                    <a:pt x="18" y="1"/>
                    <a:pt x="15" y="0"/>
                    <a:pt x="12" y="0"/>
                  </a:cubicBezTo>
                  <a:cubicBezTo>
                    <a:pt x="5" y="0"/>
                    <a:pt x="0" y="5"/>
                    <a:pt x="0" y="12"/>
                  </a:cubicBezTo>
                  <a:cubicBezTo>
                    <a:pt x="0" y="16"/>
                    <a:pt x="2" y="19"/>
                    <a:pt x="4" y="21"/>
                  </a:cubicBezTo>
                </a:path>
              </a:pathLst>
            </a:custGeom>
            <a:grpFill/>
            <a:ln>
              <a:noFill/>
            </a:ln>
          </p:spPr>
          <p:txBody>
            <a:bodyPr/>
            <a:lstStyle/>
            <a:p>
              <a:endParaRPr lang="en-US" dirty="0">
                <a:latin typeface="Calibri"/>
                <a:ea typeface="微软雅黑"/>
                <a:cs typeface="+mn-ea"/>
                <a:sym typeface="Calibri"/>
              </a:endParaRPr>
            </a:p>
          </p:txBody>
        </p:sp>
        <p:sp>
          <p:nvSpPr>
            <p:cNvPr id="49" name="Freeform 46"/>
            <p:cNvSpPr/>
            <p:nvPr/>
          </p:nvSpPr>
          <p:spPr bwMode="auto">
            <a:xfrm>
              <a:off x="6442216" y="3223727"/>
              <a:ext cx="191902" cy="336325"/>
            </a:xfrm>
            <a:custGeom>
              <a:avLst/>
              <a:gdLst>
                <a:gd name="T0" fmla="*/ 147571 w 96"/>
                <a:gd name="T1" fmla="*/ 33734 h 168"/>
                <a:gd name="T2" fmla="*/ 46517 w 96"/>
                <a:gd name="T3" fmla="*/ 134938 h 168"/>
                <a:gd name="T4" fmla="*/ 149175 w 96"/>
                <a:gd name="T5" fmla="*/ 237747 h 168"/>
                <a:gd name="T6" fmla="*/ 149175 w 96"/>
                <a:gd name="T7" fmla="*/ 237747 h 168"/>
                <a:gd name="T8" fmla="*/ 153987 w 96"/>
                <a:gd name="T9" fmla="*/ 250598 h 168"/>
                <a:gd name="T10" fmla="*/ 134739 w 96"/>
                <a:gd name="T11" fmla="*/ 269875 h 168"/>
                <a:gd name="T12" fmla="*/ 121906 w 96"/>
                <a:gd name="T13" fmla="*/ 265056 h 168"/>
                <a:gd name="T14" fmla="*/ 121906 w 96"/>
                <a:gd name="T15" fmla="*/ 265056 h 168"/>
                <a:gd name="T16" fmla="*/ 6416 w 96"/>
                <a:gd name="T17" fmla="*/ 149395 h 168"/>
                <a:gd name="T18" fmla="*/ 6416 w 96"/>
                <a:gd name="T19" fmla="*/ 149395 h 168"/>
                <a:gd name="T20" fmla="*/ 0 w 96"/>
                <a:gd name="T21" fmla="*/ 134938 h 168"/>
                <a:gd name="T22" fmla="*/ 0 w 96"/>
                <a:gd name="T23" fmla="*/ 134938 h 168"/>
                <a:gd name="T24" fmla="*/ 0 w 96"/>
                <a:gd name="T25" fmla="*/ 134938 h 168"/>
                <a:gd name="T26" fmla="*/ 6416 w 96"/>
                <a:gd name="T27" fmla="*/ 120480 h 168"/>
                <a:gd name="T28" fmla="*/ 6416 w 96"/>
                <a:gd name="T29" fmla="*/ 120480 h 168"/>
                <a:gd name="T30" fmla="*/ 121906 w 96"/>
                <a:gd name="T31" fmla="*/ 4819 h 168"/>
                <a:gd name="T32" fmla="*/ 121906 w 96"/>
                <a:gd name="T33" fmla="*/ 4819 h 168"/>
                <a:gd name="T34" fmla="*/ 134739 w 96"/>
                <a:gd name="T35" fmla="*/ 0 h 168"/>
                <a:gd name="T36" fmla="*/ 153987 w 96"/>
                <a:gd name="T37" fmla="*/ 19277 h 168"/>
                <a:gd name="T38" fmla="*/ 147571 w 96"/>
                <a:gd name="T39" fmla="*/ 33734 h 1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6" h="168">
                  <a:moveTo>
                    <a:pt x="92" y="21"/>
                  </a:moveTo>
                  <a:cubicBezTo>
                    <a:pt x="29" y="84"/>
                    <a:pt x="29" y="84"/>
                    <a:pt x="29" y="84"/>
                  </a:cubicBezTo>
                  <a:cubicBezTo>
                    <a:pt x="93" y="148"/>
                    <a:pt x="93" y="148"/>
                    <a:pt x="93" y="148"/>
                  </a:cubicBezTo>
                  <a:cubicBezTo>
                    <a:pt x="93" y="148"/>
                    <a:pt x="93" y="148"/>
                    <a:pt x="93" y="148"/>
                  </a:cubicBezTo>
                  <a:cubicBezTo>
                    <a:pt x="95" y="150"/>
                    <a:pt x="96" y="153"/>
                    <a:pt x="96" y="156"/>
                  </a:cubicBezTo>
                  <a:cubicBezTo>
                    <a:pt x="96" y="163"/>
                    <a:pt x="91" y="168"/>
                    <a:pt x="84" y="168"/>
                  </a:cubicBezTo>
                  <a:cubicBezTo>
                    <a:pt x="81" y="168"/>
                    <a:pt x="78" y="167"/>
                    <a:pt x="76" y="165"/>
                  </a:cubicBezTo>
                  <a:cubicBezTo>
                    <a:pt x="76" y="165"/>
                    <a:pt x="76" y="165"/>
                    <a:pt x="76" y="165"/>
                  </a:cubicBezTo>
                  <a:cubicBezTo>
                    <a:pt x="4" y="93"/>
                    <a:pt x="4" y="93"/>
                    <a:pt x="4" y="93"/>
                  </a:cubicBezTo>
                  <a:cubicBezTo>
                    <a:pt x="4" y="93"/>
                    <a:pt x="4" y="93"/>
                    <a:pt x="4" y="93"/>
                  </a:cubicBezTo>
                  <a:cubicBezTo>
                    <a:pt x="1" y="90"/>
                    <a:pt x="0" y="87"/>
                    <a:pt x="0" y="84"/>
                  </a:cubicBezTo>
                  <a:cubicBezTo>
                    <a:pt x="0" y="84"/>
                    <a:pt x="0" y="84"/>
                    <a:pt x="0" y="84"/>
                  </a:cubicBezTo>
                  <a:cubicBezTo>
                    <a:pt x="0" y="84"/>
                    <a:pt x="0" y="84"/>
                    <a:pt x="0" y="84"/>
                  </a:cubicBezTo>
                  <a:cubicBezTo>
                    <a:pt x="0" y="81"/>
                    <a:pt x="1" y="77"/>
                    <a:pt x="4" y="75"/>
                  </a:cubicBezTo>
                  <a:cubicBezTo>
                    <a:pt x="4" y="75"/>
                    <a:pt x="4" y="75"/>
                    <a:pt x="4" y="75"/>
                  </a:cubicBezTo>
                  <a:cubicBezTo>
                    <a:pt x="76" y="3"/>
                    <a:pt x="76" y="3"/>
                    <a:pt x="76" y="3"/>
                  </a:cubicBezTo>
                  <a:cubicBezTo>
                    <a:pt x="76" y="3"/>
                    <a:pt x="76" y="3"/>
                    <a:pt x="76" y="3"/>
                  </a:cubicBezTo>
                  <a:cubicBezTo>
                    <a:pt x="78" y="1"/>
                    <a:pt x="81" y="0"/>
                    <a:pt x="84" y="0"/>
                  </a:cubicBezTo>
                  <a:cubicBezTo>
                    <a:pt x="91" y="0"/>
                    <a:pt x="96" y="5"/>
                    <a:pt x="96" y="12"/>
                  </a:cubicBezTo>
                  <a:cubicBezTo>
                    <a:pt x="96" y="16"/>
                    <a:pt x="94" y="19"/>
                    <a:pt x="92" y="21"/>
                  </a:cubicBezTo>
                </a:path>
              </a:pathLst>
            </a:custGeom>
            <a:solidFill>
              <a:schemeClr val="bg1">
                <a:alpha val="40000"/>
              </a:schemeClr>
            </a:solidFill>
            <a:ln>
              <a:noFill/>
            </a:ln>
          </p:spPr>
          <p:txBody>
            <a:bodyPr/>
            <a:lstStyle/>
            <a:p>
              <a:endParaRPr lang="en-US" dirty="0">
                <a:solidFill>
                  <a:schemeClr val="tx1">
                    <a:alpha val="10000"/>
                  </a:schemeClr>
                </a:solidFill>
                <a:latin typeface="Calibri"/>
                <a:ea typeface="微软雅黑"/>
                <a:cs typeface="+mn-ea"/>
                <a:sym typeface="Calibri"/>
              </a:endParaRPr>
            </a:p>
          </p:txBody>
        </p:sp>
      </p:grpSp>
      <p:sp>
        <p:nvSpPr>
          <p:cNvPr id="33"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椭圆 5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7144018" y="-1977444"/>
            <a:ext cx="5252128" cy="5252128"/>
          </a:xfrm>
          <a:prstGeom prst="ellipse">
            <a:avLst/>
          </a:prstGeom>
          <a:solidFill>
            <a:schemeClr val="accent6">
              <a:alpha val="31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3" name="TextBox 6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789175" y="819865"/>
            <a:ext cx="6465431" cy="1077218"/>
          </a:xfrm>
          <a:prstGeom prst="rect">
            <a:avLst/>
          </a:prstGeom>
          <a:noFill/>
        </p:spPr>
        <p:txBody>
          <a:bodyPr wrap="square" rtlCol="0">
            <a:spAutoFit/>
          </a:bodyPr>
          <a:lstStyle/>
          <a:p>
            <a:r>
              <a:rPr lang="en-US" sz="3200" b="1" dirty="0">
                <a:latin typeface="Calibri"/>
                <a:ea typeface="微软雅黑"/>
                <a:sym typeface="Calibri"/>
              </a:rPr>
              <a:t>Creating solutions is what </a:t>
            </a:r>
          </a:p>
          <a:p>
            <a:r>
              <a:rPr lang="en-US" sz="3200" b="1" dirty="0">
                <a:latin typeface="Calibri"/>
                <a:ea typeface="微软雅黑"/>
                <a:sym typeface="Calibri"/>
              </a:rPr>
              <a:t>We do best.</a:t>
            </a:r>
          </a:p>
        </p:txBody>
      </p:sp>
      <p:sp>
        <p:nvSpPr>
          <p:cNvPr id="4" name="矩形 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789175" y="2121826"/>
            <a:ext cx="5863515" cy="923330"/>
          </a:xfrm>
          <a:prstGeom prst="rect">
            <a:avLst/>
          </a:prstGeom>
        </p:spPr>
        <p:txBody>
          <a:bodyPr wrap="square">
            <a:spAutoFit/>
          </a:bodyPr>
          <a:lstStyle/>
          <a:p>
            <a:pPr>
              <a:lnSpc>
                <a:spcPct val="150000"/>
              </a:lnSpc>
            </a:pPr>
            <a:r>
              <a:rPr lang="zh-CN" altLang="en-US" sz="1200" dirty="0">
                <a:latin typeface="Calibri"/>
                <a:ea typeface="微软雅黑"/>
                <a:sym typeface="Calibri"/>
              </a:rPr>
              <a:t>Hey, hey, hey! It's Fat </a:t>
            </a:r>
            <a:r>
              <a:rPr lang="en-US" altLang="zh-CN" sz="1200" dirty="0">
                <a:latin typeface="Calibri"/>
                <a:ea typeface="微软雅黑"/>
                <a:sym typeface="Calibri"/>
              </a:rPr>
              <a:t>Company</a:t>
            </a:r>
            <a:r>
              <a:rPr lang="zh-CN" altLang="en-US" sz="1200" dirty="0">
                <a:latin typeface="Calibri"/>
                <a:ea typeface="微软雅黑"/>
                <a:sym typeface="Calibri"/>
              </a:rPr>
              <a:t>! Now I'm gonna sing a song for you, and this is gonna show you a thing or two. You'll have some fun now With me and the gang, learning from each other While we do our thing.</a:t>
            </a:r>
          </a:p>
        </p:txBody>
      </p:sp>
      <p:pic>
        <p:nvPicPr>
          <p:cNvPr id="2" name="图片 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a:stretch>
            <a:fillRect/>
          </a:stretch>
        </p:blipFill>
        <p:spPr>
          <a:xfrm>
            <a:off x="7254606" y="12852"/>
            <a:ext cx="4768250" cy="4334773"/>
          </a:xfrm>
          <a:prstGeom prst="rect">
            <a:avLst/>
          </a:prstGeom>
        </p:spPr>
      </p:pic>
      <p:sp>
        <p:nvSpPr>
          <p:cNvPr id="12" name="Rectangle: Rounded Corners 1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73416" y="3779996"/>
            <a:ext cx="3421691" cy="2565505"/>
          </a:xfrm>
          <a:prstGeom prst="roundRect">
            <a:avLst>
              <a:gd name="adj" fmla="val 3972"/>
            </a:avLst>
          </a:prstGeom>
          <a:gradFill>
            <a:gsLst>
              <a:gs pos="0">
                <a:schemeClr val="accent1"/>
              </a:gs>
              <a:gs pos="100000">
                <a:schemeClr val="accent3"/>
              </a:gs>
            </a:gsLst>
            <a:lin ang="2700000" scaled="1"/>
          </a:gradFill>
          <a:ln>
            <a:noFill/>
          </a:ln>
          <a:effectLst>
            <a:outerShdw blurRad="50800" dist="127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sym typeface="Calibri"/>
            </a:endParaRPr>
          </a:p>
        </p:txBody>
      </p:sp>
      <p:sp>
        <p:nvSpPr>
          <p:cNvPr id="13" name="Rectangle: Rounded Corners 1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8163740" y="3779996"/>
            <a:ext cx="3421691" cy="2565505"/>
          </a:xfrm>
          <a:prstGeom prst="roundRect">
            <a:avLst>
              <a:gd name="adj" fmla="val 3293"/>
            </a:avLst>
          </a:prstGeom>
          <a:gradFill>
            <a:gsLst>
              <a:gs pos="0">
                <a:srgbClr val="EDEDA1"/>
              </a:gs>
              <a:gs pos="100000">
                <a:schemeClr val="accent2"/>
              </a:gs>
            </a:gsLst>
            <a:lin ang="2700000" scaled="1"/>
          </a:gradFill>
          <a:ln>
            <a:noFill/>
          </a:ln>
          <a:effectLst>
            <a:outerShdw blurRad="50800" dist="127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sym typeface="Calibri"/>
            </a:endParaRPr>
          </a:p>
        </p:txBody>
      </p:sp>
      <p:sp>
        <p:nvSpPr>
          <p:cNvPr id="14" name="Rectangle: Rounded Corners 1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318578" y="3779996"/>
            <a:ext cx="3421691" cy="2565505"/>
          </a:xfrm>
          <a:prstGeom prst="roundRect">
            <a:avLst>
              <a:gd name="adj" fmla="val 3972"/>
            </a:avLst>
          </a:prstGeom>
          <a:gradFill>
            <a:gsLst>
              <a:gs pos="1000">
                <a:schemeClr val="accent6"/>
              </a:gs>
              <a:gs pos="100000">
                <a:schemeClr val="accent5"/>
              </a:gs>
            </a:gsLst>
            <a:lin ang="2700000" scaled="1"/>
          </a:gradFill>
          <a:ln>
            <a:noFill/>
          </a:ln>
          <a:effectLst>
            <a:outerShdw blurRad="50800" dist="12700" dir="54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sym typeface="Calibri"/>
            </a:endParaRPr>
          </a:p>
        </p:txBody>
      </p:sp>
      <p:grpSp>
        <p:nvGrpSpPr>
          <p:cNvPr id="15" name="Group 1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1486846" y="4700388"/>
            <a:ext cx="1324616" cy="1324616"/>
            <a:chOff x="9882728" y="1842881"/>
            <a:chExt cx="1324616" cy="1324616"/>
          </a:xfrm>
        </p:grpSpPr>
        <p:sp>
          <p:nvSpPr>
            <p:cNvPr id="16" name="Oval 20"/>
            <p:cNvSpPr/>
            <p:nvPr/>
          </p:nvSpPr>
          <p:spPr>
            <a:xfrm>
              <a:off x="9914073" y="1874226"/>
              <a:ext cx="1261926" cy="1261926"/>
            </a:xfrm>
            <a:prstGeom prst="ellipse">
              <a:avLst/>
            </a:prstGeom>
            <a:noFill/>
            <a:ln w="3175">
              <a:solidFill>
                <a:schemeClr val="bg1">
                  <a:alpha val="3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sym typeface="Calibri"/>
              </a:endParaRPr>
            </a:p>
          </p:txBody>
        </p:sp>
        <p:sp>
          <p:nvSpPr>
            <p:cNvPr id="17" name="Block Arc 21"/>
            <p:cNvSpPr/>
            <p:nvPr/>
          </p:nvSpPr>
          <p:spPr>
            <a:xfrm>
              <a:off x="9882728" y="1842881"/>
              <a:ext cx="1324616" cy="1324616"/>
            </a:xfrm>
            <a:prstGeom prst="blockArc">
              <a:avLst>
                <a:gd name="adj1" fmla="val 2800032"/>
                <a:gd name="adj2" fmla="val 112569"/>
                <a:gd name="adj3" fmla="val 7098"/>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latin typeface="Calibri"/>
                <a:ea typeface="微软雅黑"/>
                <a:sym typeface="Calibri"/>
              </a:endParaRPr>
            </a:p>
          </p:txBody>
        </p:sp>
      </p:grpSp>
      <p:sp>
        <p:nvSpPr>
          <p:cNvPr id="18" name="TextBox 2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1702604" y="5162641"/>
            <a:ext cx="893100" cy="400110"/>
          </a:xfrm>
          <a:prstGeom prst="rect">
            <a:avLst/>
          </a:prstGeom>
          <a:noFill/>
        </p:spPr>
        <p:txBody>
          <a:bodyPr wrap="square" rtlCol="0">
            <a:spAutoFit/>
          </a:bodyPr>
          <a:lstStyle/>
          <a:p>
            <a:pPr algn="ctr"/>
            <a:r>
              <a:rPr lang="en-US" sz="2000" dirty="0">
                <a:solidFill>
                  <a:schemeClr val="bg1"/>
                </a:solidFill>
                <a:latin typeface="Calibri"/>
                <a:ea typeface="微软雅黑"/>
                <a:sym typeface="Calibri"/>
              </a:rPr>
              <a:t>70%</a:t>
            </a:r>
          </a:p>
        </p:txBody>
      </p:sp>
      <p:sp>
        <p:nvSpPr>
          <p:cNvPr id="19" name="TextBox 2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1256957" y="4030667"/>
            <a:ext cx="1854608" cy="276999"/>
          </a:xfrm>
          <a:prstGeom prst="rect">
            <a:avLst/>
          </a:prstGeom>
          <a:noFill/>
        </p:spPr>
        <p:txBody>
          <a:bodyPr wrap="square" rtlCol="0">
            <a:spAutoFit/>
          </a:bodyPr>
          <a:lstStyle/>
          <a:p>
            <a:pPr algn="ctr"/>
            <a:r>
              <a:rPr lang="en-US" sz="1200" dirty="0">
                <a:solidFill>
                  <a:schemeClr val="bg1"/>
                </a:solidFill>
                <a:latin typeface="Calibri"/>
                <a:ea typeface="微软雅黑"/>
                <a:sym typeface="Calibri"/>
              </a:rPr>
              <a:t>Current Parlance</a:t>
            </a:r>
          </a:p>
        </p:txBody>
      </p:sp>
      <p:sp>
        <p:nvSpPr>
          <p:cNvPr id="20" name="TextBox 2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1256957" y="4319819"/>
            <a:ext cx="1854608" cy="276999"/>
          </a:xfrm>
          <a:prstGeom prst="rect">
            <a:avLst/>
          </a:prstGeom>
          <a:noFill/>
        </p:spPr>
        <p:txBody>
          <a:bodyPr wrap="square" rtlCol="0">
            <a:spAutoFit/>
          </a:bodyPr>
          <a:lstStyle/>
          <a:p>
            <a:pPr algn="ctr"/>
            <a:r>
              <a:rPr lang="en-US" sz="1200" b="1" dirty="0">
                <a:solidFill>
                  <a:schemeClr val="bg1"/>
                </a:solidFill>
                <a:latin typeface="Calibri"/>
                <a:ea typeface="微软雅黑"/>
                <a:sym typeface="Calibri"/>
              </a:rPr>
              <a:t>15,582,000</a:t>
            </a:r>
          </a:p>
        </p:txBody>
      </p:sp>
      <p:sp>
        <p:nvSpPr>
          <p:cNvPr id="21" name="TextBox 2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102119" y="4018514"/>
            <a:ext cx="1854608" cy="276999"/>
          </a:xfrm>
          <a:prstGeom prst="rect">
            <a:avLst/>
          </a:prstGeom>
          <a:noFill/>
        </p:spPr>
        <p:txBody>
          <a:bodyPr wrap="square" rtlCol="0">
            <a:spAutoFit/>
          </a:bodyPr>
          <a:lstStyle/>
          <a:p>
            <a:pPr algn="ctr"/>
            <a:r>
              <a:rPr lang="en-US" sz="1200" dirty="0">
                <a:solidFill>
                  <a:schemeClr val="bg1"/>
                </a:solidFill>
                <a:latin typeface="Calibri"/>
                <a:ea typeface="微软雅黑"/>
                <a:sym typeface="Calibri"/>
              </a:rPr>
              <a:t>Expended So Far</a:t>
            </a:r>
          </a:p>
        </p:txBody>
      </p:sp>
      <p:sp>
        <p:nvSpPr>
          <p:cNvPr id="22" name="TextBox 2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102119" y="4307666"/>
            <a:ext cx="1854608" cy="276999"/>
          </a:xfrm>
          <a:prstGeom prst="rect">
            <a:avLst/>
          </a:prstGeom>
          <a:noFill/>
        </p:spPr>
        <p:txBody>
          <a:bodyPr wrap="square" rtlCol="0">
            <a:spAutoFit/>
          </a:bodyPr>
          <a:lstStyle/>
          <a:p>
            <a:pPr algn="ctr"/>
            <a:r>
              <a:rPr lang="en-US" sz="1200" b="1" dirty="0">
                <a:solidFill>
                  <a:schemeClr val="bg1"/>
                </a:solidFill>
                <a:latin typeface="Calibri"/>
                <a:ea typeface="微软雅黑"/>
                <a:sym typeface="Calibri"/>
              </a:rPr>
              <a:t>1,085,000</a:t>
            </a:r>
          </a:p>
        </p:txBody>
      </p:sp>
      <p:sp>
        <p:nvSpPr>
          <p:cNvPr id="23" name="TextBox 2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085264" y="4578999"/>
            <a:ext cx="1854608" cy="246221"/>
          </a:xfrm>
          <a:prstGeom prst="rect">
            <a:avLst/>
          </a:prstGeom>
          <a:noFill/>
        </p:spPr>
        <p:txBody>
          <a:bodyPr wrap="square" rtlCol="0">
            <a:spAutoFit/>
          </a:bodyPr>
          <a:lstStyle/>
          <a:p>
            <a:pPr algn="ctr"/>
            <a:r>
              <a:rPr lang="en-US" sz="1000" dirty="0">
                <a:solidFill>
                  <a:schemeClr val="bg1">
                    <a:alpha val="70000"/>
                  </a:schemeClr>
                </a:solidFill>
                <a:latin typeface="Calibri"/>
                <a:ea typeface="微软雅黑"/>
                <a:sym typeface="Calibri"/>
              </a:rPr>
              <a:t>-20% from last Month</a:t>
            </a:r>
          </a:p>
        </p:txBody>
      </p:sp>
      <p:cxnSp>
        <p:nvCxnSpPr>
          <p:cNvPr id="24" name="Straight Connector 2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CxnSpPr/>
          <p:nvPr/>
        </p:nvCxnSpPr>
        <p:spPr>
          <a:xfrm>
            <a:off x="4810007" y="5436899"/>
            <a:ext cx="0" cy="473964"/>
          </a:xfrm>
          <a:prstGeom prst="line">
            <a:avLst/>
          </a:prstGeom>
          <a:ln w="101600" cap="rnd">
            <a:solidFill>
              <a:schemeClr val="bg1">
                <a:alpha val="50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3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CxnSpPr/>
          <p:nvPr/>
        </p:nvCxnSpPr>
        <p:spPr>
          <a:xfrm>
            <a:off x="5202219" y="5176616"/>
            <a:ext cx="0" cy="734247"/>
          </a:xfrm>
          <a:prstGeom prst="line">
            <a:avLst/>
          </a:prstGeom>
          <a:ln w="101600" cap="rnd">
            <a:solidFill>
              <a:schemeClr val="bg1">
                <a:alpha val="50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3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CxnSpPr/>
          <p:nvPr/>
        </p:nvCxnSpPr>
        <p:spPr>
          <a:xfrm>
            <a:off x="5594431" y="5286496"/>
            <a:ext cx="0" cy="624367"/>
          </a:xfrm>
          <a:prstGeom prst="line">
            <a:avLst/>
          </a:prstGeom>
          <a:ln w="101600" cap="rnd">
            <a:solidFill>
              <a:schemeClr val="bg1">
                <a:alpha val="50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3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CxnSpPr/>
          <p:nvPr/>
        </p:nvCxnSpPr>
        <p:spPr>
          <a:xfrm>
            <a:off x="5986643" y="5086441"/>
            <a:ext cx="0" cy="824422"/>
          </a:xfrm>
          <a:prstGeom prst="line">
            <a:avLst/>
          </a:prstGeom>
          <a:ln w="101600" cap="rnd">
            <a:solidFill>
              <a:schemeClr val="bg1">
                <a:alpha val="50000"/>
              </a:schemeClr>
            </a:solidFill>
            <a:round/>
          </a:ln>
        </p:spPr>
        <p:style>
          <a:lnRef idx="1">
            <a:schemeClr val="accent1"/>
          </a:lnRef>
          <a:fillRef idx="0">
            <a:schemeClr val="accent1"/>
          </a:fillRef>
          <a:effectRef idx="0">
            <a:schemeClr val="accent1"/>
          </a:effectRef>
          <a:fontRef idx="minor">
            <a:schemeClr val="tx1"/>
          </a:fontRef>
        </p:style>
      </p:cxnSp>
      <p:cxnSp>
        <p:nvCxnSpPr>
          <p:cNvPr id="28" name="Straight Connector 3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CxnSpPr/>
          <p:nvPr/>
        </p:nvCxnSpPr>
        <p:spPr>
          <a:xfrm>
            <a:off x="6378855" y="5286496"/>
            <a:ext cx="0" cy="624367"/>
          </a:xfrm>
          <a:prstGeom prst="line">
            <a:avLst/>
          </a:prstGeom>
          <a:ln w="101600" cap="rnd">
            <a:solidFill>
              <a:schemeClr val="bg1">
                <a:alpha val="50000"/>
              </a:schemeClr>
            </a:solidFill>
            <a:round/>
          </a:ln>
        </p:spPr>
        <p:style>
          <a:lnRef idx="1">
            <a:schemeClr val="accent1"/>
          </a:lnRef>
          <a:fillRef idx="0">
            <a:schemeClr val="accent1"/>
          </a:fillRef>
          <a:effectRef idx="0">
            <a:schemeClr val="accent1"/>
          </a:effectRef>
          <a:fontRef idx="minor">
            <a:schemeClr val="tx1"/>
          </a:fontRef>
        </p:style>
      </p:cxnSp>
      <p:cxnSp>
        <p:nvCxnSpPr>
          <p:cNvPr id="29" name="Straight Connector 3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CxnSpPr/>
          <p:nvPr/>
        </p:nvCxnSpPr>
        <p:spPr>
          <a:xfrm>
            <a:off x="6771067" y="5086441"/>
            <a:ext cx="0" cy="824422"/>
          </a:xfrm>
          <a:prstGeom prst="line">
            <a:avLst/>
          </a:prstGeom>
          <a:ln w="101600" cap="rnd">
            <a:solidFill>
              <a:schemeClr val="bg1">
                <a:alpha val="50000"/>
              </a:schemeClr>
            </a:solidFill>
            <a:round/>
          </a:ln>
        </p:spPr>
        <p:style>
          <a:lnRef idx="1">
            <a:schemeClr val="accent1"/>
          </a:lnRef>
          <a:fillRef idx="0">
            <a:schemeClr val="accent1"/>
          </a:fillRef>
          <a:effectRef idx="0">
            <a:schemeClr val="accent1"/>
          </a:effectRef>
          <a:fontRef idx="minor">
            <a:schemeClr val="tx1"/>
          </a:fontRef>
        </p:style>
      </p:cxnSp>
      <p:cxnSp>
        <p:nvCxnSpPr>
          <p:cNvPr id="30" name="Straight Connector 3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CxnSpPr/>
          <p:nvPr/>
        </p:nvCxnSpPr>
        <p:spPr>
          <a:xfrm>
            <a:off x="7163279" y="4962935"/>
            <a:ext cx="0" cy="947928"/>
          </a:xfrm>
          <a:prstGeom prst="line">
            <a:avLst/>
          </a:prstGeom>
          <a:ln w="101600" cap="rnd">
            <a:solidFill>
              <a:schemeClr val="bg1"/>
            </a:solidFill>
            <a:round/>
          </a:ln>
        </p:spPr>
        <p:style>
          <a:lnRef idx="1">
            <a:schemeClr val="accent1"/>
          </a:lnRef>
          <a:fillRef idx="0">
            <a:schemeClr val="accent1"/>
          </a:fillRef>
          <a:effectRef idx="0">
            <a:schemeClr val="accent1"/>
          </a:effectRef>
          <a:fontRef idx="minor">
            <a:schemeClr val="tx1"/>
          </a:fontRef>
        </p:style>
      </p:cxnSp>
      <p:sp>
        <p:nvSpPr>
          <p:cNvPr id="31" name="TextBox 4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4608100" y="5969599"/>
            <a:ext cx="403814" cy="200055"/>
          </a:xfrm>
          <a:prstGeom prst="rect">
            <a:avLst/>
          </a:prstGeom>
          <a:noFill/>
        </p:spPr>
        <p:txBody>
          <a:bodyPr wrap="square" rtlCol="0">
            <a:spAutoFit/>
          </a:bodyPr>
          <a:lstStyle/>
          <a:p>
            <a:pPr algn="ctr"/>
            <a:r>
              <a:rPr lang="en-US" sz="700" b="1" dirty="0">
                <a:solidFill>
                  <a:schemeClr val="bg1">
                    <a:alpha val="70000"/>
                  </a:schemeClr>
                </a:solidFill>
                <a:latin typeface="Calibri"/>
                <a:ea typeface="微软雅黑"/>
                <a:sym typeface="Calibri"/>
              </a:rPr>
              <a:t>JAN</a:t>
            </a:r>
          </a:p>
        </p:txBody>
      </p:sp>
      <p:sp>
        <p:nvSpPr>
          <p:cNvPr id="32" name="TextBox 4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000312" y="5969599"/>
            <a:ext cx="403814" cy="200055"/>
          </a:xfrm>
          <a:prstGeom prst="rect">
            <a:avLst/>
          </a:prstGeom>
          <a:noFill/>
        </p:spPr>
        <p:txBody>
          <a:bodyPr wrap="square" rtlCol="0">
            <a:spAutoFit/>
          </a:bodyPr>
          <a:lstStyle/>
          <a:p>
            <a:pPr algn="ctr"/>
            <a:r>
              <a:rPr lang="en-US" sz="700" b="1" dirty="0">
                <a:solidFill>
                  <a:schemeClr val="bg1">
                    <a:alpha val="70000"/>
                  </a:schemeClr>
                </a:solidFill>
                <a:latin typeface="Calibri"/>
                <a:ea typeface="微软雅黑"/>
                <a:sym typeface="Calibri"/>
              </a:rPr>
              <a:t>FEB</a:t>
            </a:r>
          </a:p>
        </p:txBody>
      </p:sp>
      <p:sp>
        <p:nvSpPr>
          <p:cNvPr id="33" name="TextBox 4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357276" y="5969599"/>
            <a:ext cx="453614" cy="200055"/>
          </a:xfrm>
          <a:prstGeom prst="rect">
            <a:avLst/>
          </a:prstGeom>
          <a:noFill/>
        </p:spPr>
        <p:txBody>
          <a:bodyPr wrap="square" rtlCol="0">
            <a:spAutoFit/>
          </a:bodyPr>
          <a:lstStyle/>
          <a:p>
            <a:pPr algn="ctr"/>
            <a:r>
              <a:rPr lang="en-US" sz="700" b="1" dirty="0">
                <a:solidFill>
                  <a:schemeClr val="bg1">
                    <a:alpha val="70000"/>
                  </a:schemeClr>
                </a:solidFill>
                <a:latin typeface="Calibri"/>
                <a:ea typeface="微软雅黑"/>
                <a:sym typeface="Calibri"/>
              </a:rPr>
              <a:t>MAR</a:t>
            </a:r>
          </a:p>
        </p:txBody>
      </p:sp>
      <p:sp>
        <p:nvSpPr>
          <p:cNvPr id="34" name="TextBox 4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757052" y="5969599"/>
            <a:ext cx="453614" cy="200055"/>
          </a:xfrm>
          <a:prstGeom prst="rect">
            <a:avLst/>
          </a:prstGeom>
          <a:noFill/>
        </p:spPr>
        <p:txBody>
          <a:bodyPr wrap="square" rtlCol="0">
            <a:spAutoFit/>
          </a:bodyPr>
          <a:lstStyle/>
          <a:p>
            <a:pPr algn="ctr"/>
            <a:r>
              <a:rPr lang="en-US" sz="700" b="1" dirty="0">
                <a:solidFill>
                  <a:schemeClr val="bg1">
                    <a:alpha val="70000"/>
                  </a:schemeClr>
                </a:solidFill>
                <a:latin typeface="Calibri"/>
                <a:ea typeface="微软雅黑"/>
                <a:sym typeface="Calibri"/>
              </a:rPr>
              <a:t>APR</a:t>
            </a:r>
          </a:p>
        </p:txBody>
      </p:sp>
      <p:sp>
        <p:nvSpPr>
          <p:cNvPr id="35" name="TextBox 4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6156828" y="5969599"/>
            <a:ext cx="453614" cy="200055"/>
          </a:xfrm>
          <a:prstGeom prst="rect">
            <a:avLst/>
          </a:prstGeom>
          <a:noFill/>
        </p:spPr>
        <p:txBody>
          <a:bodyPr wrap="square" rtlCol="0">
            <a:spAutoFit/>
          </a:bodyPr>
          <a:lstStyle/>
          <a:p>
            <a:pPr algn="ctr"/>
            <a:r>
              <a:rPr lang="en-US" sz="700" b="1" dirty="0">
                <a:solidFill>
                  <a:schemeClr val="bg1">
                    <a:alpha val="70000"/>
                  </a:schemeClr>
                </a:solidFill>
                <a:latin typeface="Calibri"/>
                <a:ea typeface="微软雅黑"/>
                <a:sym typeface="Calibri"/>
              </a:rPr>
              <a:t>MAY</a:t>
            </a:r>
          </a:p>
        </p:txBody>
      </p:sp>
      <p:sp>
        <p:nvSpPr>
          <p:cNvPr id="36" name="TextBox 5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6544260" y="5969599"/>
            <a:ext cx="453614" cy="200055"/>
          </a:xfrm>
          <a:prstGeom prst="rect">
            <a:avLst/>
          </a:prstGeom>
          <a:noFill/>
        </p:spPr>
        <p:txBody>
          <a:bodyPr wrap="square" rtlCol="0">
            <a:spAutoFit/>
          </a:bodyPr>
          <a:lstStyle/>
          <a:p>
            <a:pPr algn="ctr"/>
            <a:r>
              <a:rPr lang="en-US" sz="700" b="1" dirty="0">
                <a:solidFill>
                  <a:schemeClr val="bg1">
                    <a:alpha val="70000"/>
                  </a:schemeClr>
                </a:solidFill>
                <a:latin typeface="Calibri"/>
                <a:ea typeface="微软雅黑"/>
                <a:sym typeface="Calibri"/>
              </a:rPr>
              <a:t>JUN</a:t>
            </a:r>
          </a:p>
        </p:txBody>
      </p:sp>
      <p:sp>
        <p:nvSpPr>
          <p:cNvPr id="37" name="TextBox 5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6945807" y="5969599"/>
            <a:ext cx="453614" cy="200055"/>
          </a:xfrm>
          <a:prstGeom prst="rect">
            <a:avLst/>
          </a:prstGeom>
          <a:noFill/>
        </p:spPr>
        <p:txBody>
          <a:bodyPr wrap="square" rtlCol="0">
            <a:spAutoFit/>
          </a:bodyPr>
          <a:lstStyle/>
          <a:p>
            <a:pPr algn="ctr"/>
            <a:r>
              <a:rPr lang="en-US" sz="700" b="1" dirty="0">
                <a:solidFill>
                  <a:schemeClr val="bg1">
                    <a:alpha val="70000"/>
                  </a:schemeClr>
                </a:solidFill>
                <a:latin typeface="Calibri"/>
                <a:ea typeface="微软雅黑"/>
                <a:sym typeface="Calibri"/>
              </a:rPr>
              <a:t>JUL</a:t>
            </a:r>
          </a:p>
        </p:txBody>
      </p:sp>
      <p:grpSp>
        <p:nvGrpSpPr>
          <p:cNvPr id="38" name="Group 5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8656362" y="4792986"/>
            <a:ext cx="2440242" cy="1341059"/>
            <a:chOff x="7277581" y="4209903"/>
            <a:chExt cx="2813156" cy="1545991"/>
          </a:xfrm>
        </p:grpSpPr>
        <p:sp>
          <p:nvSpPr>
            <p:cNvPr id="39" name="Freeform: Shape 55"/>
            <p:cNvSpPr/>
            <p:nvPr/>
          </p:nvSpPr>
          <p:spPr>
            <a:xfrm>
              <a:off x="7593560" y="4403556"/>
              <a:ext cx="2089096" cy="1209791"/>
            </a:xfrm>
            <a:custGeom>
              <a:avLst/>
              <a:gdLst>
                <a:gd name="connsiteX0" fmla="*/ 1677766 w 3546265"/>
                <a:gd name="connsiteY0" fmla="*/ 2416 h 2053636"/>
                <a:gd name="connsiteX1" fmla="*/ 1901945 w 3546265"/>
                <a:gd name="connsiteY1" fmla="*/ 4480 h 2053636"/>
                <a:gd name="connsiteX2" fmla="*/ 2445715 w 3546265"/>
                <a:gd name="connsiteY2" fmla="*/ 126033 h 2053636"/>
                <a:gd name="connsiteX3" fmla="*/ 2923550 w 3546265"/>
                <a:gd name="connsiteY3" fmla="*/ 406658 h 2053636"/>
                <a:gd name="connsiteX4" fmla="*/ 3385871 w 3546265"/>
                <a:gd name="connsiteY4" fmla="*/ 990416 h 2053636"/>
                <a:gd name="connsiteX5" fmla="*/ 3537910 w 3546265"/>
                <a:gd name="connsiteY5" fmla="*/ 1509645 h 2053636"/>
                <a:gd name="connsiteX6" fmla="*/ 3544115 w 3546265"/>
                <a:gd name="connsiteY6" fmla="*/ 1827786 h 2053636"/>
                <a:gd name="connsiteX7" fmla="*/ 3295889 w 3546265"/>
                <a:gd name="connsiteY7" fmla="*/ 2053636 h 2053636"/>
                <a:gd name="connsiteX8" fmla="*/ 2102591 w 3546265"/>
                <a:gd name="connsiteY8" fmla="*/ 2053636 h 2053636"/>
                <a:gd name="connsiteX9" fmla="*/ 2093775 w 3546265"/>
                <a:gd name="connsiteY9" fmla="*/ 1987370 h 2053636"/>
                <a:gd name="connsiteX10" fmla="*/ 1756941 w 3546265"/>
                <a:gd name="connsiteY10" fmla="*/ 1718310 h 2053636"/>
                <a:gd name="connsiteX11" fmla="*/ 1441029 w 3546265"/>
                <a:gd name="connsiteY11" fmla="*/ 2011653 h 2053636"/>
                <a:gd name="connsiteX12" fmla="*/ 1438596 w 3546265"/>
                <a:gd name="connsiteY12" fmla="*/ 2053636 h 2053636"/>
                <a:gd name="connsiteX13" fmla="*/ 262878 w 3546265"/>
                <a:gd name="connsiteY13" fmla="*/ 2053636 h 2053636"/>
                <a:gd name="connsiteX14" fmla="*/ 689 w 3546265"/>
                <a:gd name="connsiteY14" fmla="*/ 1801524 h 2053636"/>
                <a:gd name="connsiteX15" fmla="*/ 689 w 3546265"/>
                <a:gd name="connsiteY15" fmla="*/ 1587680 h 2053636"/>
                <a:gd name="connsiteX16" fmla="*/ 117045 w 3546265"/>
                <a:gd name="connsiteY16" fmla="*/ 1078955 h 2053636"/>
                <a:gd name="connsiteX17" fmla="*/ 371477 w 3546265"/>
                <a:gd name="connsiteY17" fmla="*/ 652766 h 2053636"/>
                <a:gd name="connsiteX18" fmla="*/ 870256 w 3546265"/>
                <a:gd name="connsiteY18" fmla="*/ 234081 h 2053636"/>
                <a:gd name="connsiteX19" fmla="*/ 1455914 w 3546265"/>
                <a:gd name="connsiteY19" fmla="*/ 26240 h 2053636"/>
                <a:gd name="connsiteX20" fmla="*/ 1677766 w 3546265"/>
                <a:gd name="connsiteY20" fmla="*/ 2416 h 2053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46265" h="2053636">
                  <a:moveTo>
                    <a:pt x="1677766" y="2416"/>
                  </a:moveTo>
                  <a:cubicBezTo>
                    <a:pt x="1752040" y="-1335"/>
                    <a:pt x="1826702" y="-773"/>
                    <a:pt x="1901945" y="4480"/>
                  </a:cubicBezTo>
                  <a:cubicBezTo>
                    <a:pt x="2090442" y="17986"/>
                    <a:pt x="2271181" y="58504"/>
                    <a:pt x="2445715" y="126033"/>
                  </a:cubicBezTo>
                  <a:cubicBezTo>
                    <a:pt x="2621024" y="194314"/>
                    <a:pt x="2779268" y="288856"/>
                    <a:pt x="2923550" y="406658"/>
                  </a:cubicBezTo>
                  <a:cubicBezTo>
                    <a:pt x="3121355" y="568729"/>
                    <a:pt x="3275720" y="763065"/>
                    <a:pt x="3385871" y="990416"/>
                  </a:cubicBezTo>
                  <a:cubicBezTo>
                    <a:pt x="3465769" y="1155489"/>
                    <a:pt x="3516965" y="1328065"/>
                    <a:pt x="3537910" y="1509645"/>
                  </a:cubicBezTo>
                  <a:cubicBezTo>
                    <a:pt x="3550321" y="1615442"/>
                    <a:pt x="3545667" y="1721239"/>
                    <a:pt x="3544115" y="1827786"/>
                  </a:cubicBezTo>
                  <a:cubicBezTo>
                    <a:pt x="3542564" y="1950090"/>
                    <a:pt x="3425432" y="2053636"/>
                    <a:pt x="3295889" y="2053636"/>
                  </a:cubicBezTo>
                  <a:lnTo>
                    <a:pt x="2102591" y="2053636"/>
                  </a:lnTo>
                  <a:lnTo>
                    <a:pt x="2093775" y="1987370"/>
                  </a:lnTo>
                  <a:cubicBezTo>
                    <a:pt x="2056741" y="1828044"/>
                    <a:pt x="1917932" y="1712320"/>
                    <a:pt x="1756941" y="1718310"/>
                  </a:cubicBezTo>
                  <a:cubicBezTo>
                    <a:pt x="1595951" y="1724299"/>
                    <a:pt x="1466123" y="1850016"/>
                    <a:pt x="1441029" y="2011653"/>
                  </a:cubicBezTo>
                  <a:lnTo>
                    <a:pt x="1438596" y="2053636"/>
                  </a:lnTo>
                  <a:lnTo>
                    <a:pt x="262878" y="2053636"/>
                  </a:lnTo>
                  <a:cubicBezTo>
                    <a:pt x="110064" y="2053636"/>
                    <a:pt x="689" y="1948589"/>
                    <a:pt x="689" y="1801524"/>
                  </a:cubicBezTo>
                  <a:cubicBezTo>
                    <a:pt x="689" y="1730243"/>
                    <a:pt x="-862" y="1658961"/>
                    <a:pt x="689" y="1587680"/>
                  </a:cubicBezTo>
                  <a:cubicBezTo>
                    <a:pt x="5343" y="1410601"/>
                    <a:pt x="51111" y="1242527"/>
                    <a:pt x="117045" y="1078955"/>
                  </a:cubicBezTo>
                  <a:cubicBezTo>
                    <a:pt x="179878" y="925137"/>
                    <a:pt x="265205" y="783324"/>
                    <a:pt x="371477" y="652766"/>
                  </a:cubicBezTo>
                  <a:cubicBezTo>
                    <a:pt x="510329" y="481691"/>
                    <a:pt x="677105" y="342880"/>
                    <a:pt x="870256" y="234081"/>
                  </a:cubicBezTo>
                  <a:cubicBezTo>
                    <a:pt x="1052547" y="131286"/>
                    <a:pt x="1247249" y="60004"/>
                    <a:pt x="1455914" y="26240"/>
                  </a:cubicBezTo>
                  <a:cubicBezTo>
                    <a:pt x="1529606" y="14234"/>
                    <a:pt x="1603492" y="6168"/>
                    <a:pt x="1677766" y="2416"/>
                  </a:cubicBezTo>
                  <a:close/>
                </a:path>
              </a:pathLst>
            </a:custGeom>
            <a:gradFill flip="none" rotWithShape="1">
              <a:gsLst>
                <a:gs pos="0">
                  <a:schemeClr val="accent1"/>
                </a:gs>
                <a:gs pos="100000">
                  <a:schemeClr val="accent2"/>
                </a:gs>
              </a:gsLst>
              <a:lin ang="5400000" scaled="1"/>
              <a:tileRect/>
            </a:gradFill>
            <a:ln w="50800" cap="flat">
              <a:solidFill>
                <a:schemeClr val="bg1"/>
              </a:solidFill>
              <a:prstDash val="solid"/>
              <a:miter/>
            </a:ln>
            <a:effectLst>
              <a:innerShdw blurRad="152400">
                <a:prstClr val="black">
                  <a:alpha val="67000"/>
                </a:prstClr>
              </a:innerShdw>
            </a:effectLst>
          </p:spPr>
          <p:txBody>
            <a:bodyPr rtlCol="0" anchor="ctr"/>
            <a:lstStyle/>
            <a:p>
              <a:endParaRPr lang="en-US">
                <a:latin typeface="Calibri"/>
                <a:ea typeface="微软雅黑"/>
                <a:sym typeface="Calibri"/>
              </a:endParaRPr>
            </a:p>
          </p:txBody>
        </p:sp>
        <p:sp>
          <p:nvSpPr>
            <p:cNvPr id="40" name="Freeform: Shape 56"/>
            <p:cNvSpPr/>
            <p:nvPr/>
          </p:nvSpPr>
          <p:spPr>
            <a:xfrm>
              <a:off x="7355840" y="4220139"/>
              <a:ext cx="2565229" cy="1535755"/>
            </a:xfrm>
            <a:custGeom>
              <a:avLst/>
              <a:gdLst>
                <a:gd name="connsiteX0" fmla="*/ 2197341 w 4354506"/>
                <a:gd name="connsiteY0" fmla="*/ 91 h 2606965"/>
                <a:gd name="connsiteX1" fmla="*/ 2335424 w 4354506"/>
                <a:gd name="connsiteY1" fmla="*/ 5687 h 2606965"/>
                <a:gd name="connsiteX2" fmla="*/ 3003126 w 4354506"/>
                <a:gd name="connsiteY2" fmla="*/ 159992 h 2606965"/>
                <a:gd name="connsiteX3" fmla="*/ 3589866 w 4354506"/>
                <a:gd name="connsiteY3" fmla="*/ 516227 h 2606965"/>
                <a:gd name="connsiteX4" fmla="*/ 4157557 w 4354506"/>
                <a:gd name="connsiteY4" fmla="*/ 1257272 h 2606965"/>
                <a:gd name="connsiteX5" fmla="*/ 4344247 w 4354506"/>
                <a:gd name="connsiteY5" fmla="*/ 1916402 h 2606965"/>
                <a:gd name="connsiteX6" fmla="*/ 4351867 w 4354506"/>
                <a:gd name="connsiteY6" fmla="*/ 2320262 h 2606965"/>
                <a:gd name="connsiteX7" fmla="*/ 4047066 w 4354506"/>
                <a:gd name="connsiteY7" fmla="*/ 2606965 h 2606965"/>
                <a:gd name="connsiteX8" fmla="*/ 2175404 w 4354506"/>
                <a:gd name="connsiteY8" fmla="*/ 2606965 h 2606965"/>
                <a:gd name="connsiteX9" fmla="*/ 322791 w 4354506"/>
                <a:gd name="connsiteY9" fmla="*/ 2606965 h 2606965"/>
                <a:gd name="connsiteX10" fmla="*/ 846 w 4354506"/>
                <a:gd name="connsiteY10" fmla="*/ 2286925 h 2606965"/>
                <a:gd name="connsiteX11" fmla="*/ 846 w 4354506"/>
                <a:gd name="connsiteY11" fmla="*/ 2015462 h 2606965"/>
                <a:gd name="connsiteX12" fmla="*/ 143721 w 4354506"/>
                <a:gd name="connsiteY12" fmla="*/ 1369667 h 2606965"/>
                <a:gd name="connsiteX13" fmla="*/ 456141 w 4354506"/>
                <a:gd name="connsiteY13" fmla="*/ 828647 h 2606965"/>
                <a:gd name="connsiteX14" fmla="*/ 1068599 w 4354506"/>
                <a:gd name="connsiteY14" fmla="*/ 297152 h 2606965"/>
                <a:gd name="connsiteX15" fmla="*/ 1787736 w 4354506"/>
                <a:gd name="connsiteY15" fmla="*/ 33310 h 2606965"/>
                <a:gd name="connsiteX16" fmla="*/ 2197341 w 4354506"/>
                <a:gd name="connsiteY16" fmla="*/ 91 h 2606965"/>
                <a:gd name="connsiteX17" fmla="*/ 2081298 w 4354506"/>
                <a:gd name="connsiteY17" fmla="*/ 313769 h 2606965"/>
                <a:gd name="connsiteX18" fmla="*/ 1859446 w 4354506"/>
                <a:gd name="connsiteY18" fmla="*/ 337593 h 2606965"/>
                <a:gd name="connsiteX19" fmla="*/ 1273788 w 4354506"/>
                <a:gd name="connsiteY19" fmla="*/ 545434 h 2606965"/>
                <a:gd name="connsiteX20" fmla="*/ 775009 w 4354506"/>
                <a:gd name="connsiteY20" fmla="*/ 964119 h 2606965"/>
                <a:gd name="connsiteX21" fmla="*/ 520577 w 4354506"/>
                <a:gd name="connsiteY21" fmla="*/ 1390308 h 2606965"/>
                <a:gd name="connsiteX22" fmla="*/ 404221 w 4354506"/>
                <a:gd name="connsiteY22" fmla="*/ 1899033 h 2606965"/>
                <a:gd name="connsiteX23" fmla="*/ 404221 w 4354506"/>
                <a:gd name="connsiteY23" fmla="*/ 2112877 h 2606965"/>
                <a:gd name="connsiteX24" fmla="*/ 666410 w 4354506"/>
                <a:gd name="connsiteY24" fmla="*/ 2364989 h 2606965"/>
                <a:gd name="connsiteX25" fmla="*/ 1842128 w 4354506"/>
                <a:gd name="connsiteY25" fmla="*/ 2364989 h 2606965"/>
                <a:gd name="connsiteX26" fmla="*/ 1844561 w 4354506"/>
                <a:gd name="connsiteY26" fmla="*/ 2323006 h 2606965"/>
                <a:gd name="connsiteX27" fmla="*/ 2160473 w 4354506"/>
                <a:gd name="connsiteY27" fmla="*/ 2029663 h 2606965"/>
                <a:gd name="connsiteX28" fmla="*/ 2497307 w 4354506"/>
                <a:gd name="connsiteY28" fmla="*/ 2298723 h 2606965"/>
                <a:gd name="connsiteX29" fmla="*/ 2506123 w 4354506"/>
                <a:gd name="connsiteY29" fmla="*/ 2364989 h 2606965"/>
                <a:gd name="connsiteX30" fmla="*/ 3699421 w 4354506"/>
                <a:gd name="connsiteY30" fmla="*/ 2364989 h 2606965"/>
                <a:gd name="connsiteX31" fmla="*/ 3947647 w 4354506"/>
                <a:gd name="connsiteY31" fmla="*/ 2139139 h 2606965"/>
                <a:gd name="connsiteX32" fmla="*/ 3941442 w 4354506"/>
                <a:gd name="connsiteY32" fmla="*/ 1820998 h 2606965"/>
                <a:gd name="connsiteX33" fmla="*/ 3789403 w 4354506"/>
                <a:gd name="connsiteY33" fmla="*/ 1301769 h 2606965"/>
                <a:gd name="connsiteX34" fmla="*/ 3327082 w 4354506"/>
                <a:gd name="connsiteY34" fmla="*/ 718011 h 2606965"/>
                <a:gd name="connsiteX35" fmla="*/ 2849247 w 4354506"/>
                <a:gd name="connsiteY35" fmla="*/ 437386 h 2606965"/>
                <a:gd name="connsiteX36" fmla="*/ 2305477 w 4354506"/>
                <a:gd name="connsiteY36" fmla="*/ 315833 h 2606965"/>
                <a:gd name="connsiteX37" fmla="*/ 2081298 w 4354506"/>
                <a:gd name="connsiteY37" fmla="*/ 313769 h 2606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354506" h="2606965">
                  <a:moveTo>
                    <a:pt x="2197341" y="91"/>
                  </a:moveTo>
                  <a:cubicBezTo>
                    <a:pt x="2243210" y="508"/>
                    <a:pt x="2289228" y="2353"/>
                    <a:pt x="2335424" y="5687"/>
                  </a:cubicBezTo>
                  <a:cubicBezTo>
                    <a:pt x="2566882" y="22832"/>
                    <a:pt x="2788814" y="74267"/>
                    <a:pt x="3003126" y="159992"/>
                  </a:cubicBezTo>
                  <a:cubicBezTo>
                    <a:pt x="3218391" y="246670"/>
                    <a:pt x="3412701" y="366685"/>
                    <a:pt x="3589866" y="516227"/>
                  </a:cubicBezTo>
                  <a:cubicBezTo>
                    <a:pt x="3832754" y="721967"/>
                    <a:pt x="4022301" y="968665"/>
                    <a:pt x="4157557" y="1257272"/>
                  </a:cubicBezTo>
                  <a:cubicBezTo>
                    <a:pt x="4255664" y="1466822"/>
                    <a:pt x="4318529" y="1685897"/>
                    <a:pt x="4344247" y="1916402"/>
                  </a:cubicBezTo>
                  <a:cubicBezTo>
                    <a:pt x="4359487" y="2050705"/>
                    <a:pt x="4353772" y="2185007"/>
                    <a:pt x="4351867" y="2320262"/>
                  </a:cubicBezTo>
                  <a:cubicBezTo>
                    <a:pt x="4349962" y="2475520"/>
                    <a:pt x="4206134" y="2606965"/>
                    <a:pt x="4047066" y="2606965"/>
                  </a:cubicBezTo>
                  <a:cubicBezTo>
                    <a:pt x="3423179" y="2606965"/>
                    <a:pt x="2799291" y="2606965"/>
                    <a:pt x="2175404" y="2606965"/>
                  </a:cubicBezTo>
                  <a:cubicBezTo>
                    <a:pt x="1558184" y="2606965"/>
                    <a:pt x="940011" y="2606965"/>
                    <a:pt x="322791" y="2606965"/>
                  </a:cubicBezTo>
                  <a:cubicBezTo>
                    <a:pt x="135149" y="2606965"/>
                    <a:pt x="846" y="2473615"/>
                    <a:pt x="846" y="2286925"/>
                  </a:cubicBezTo>
                  <a:cubicBezTo>
                    <a:pt x="846" y="2196437"/>
                    <a:pt x="-1059" y="2105950"/>
                    <a:pt x="846" y="2015462"/>
                  </a:cubicBezTo>
                  <a:cubicBezTo>
                    <a:pt x="6561" y="1790672"/>
                    <a:pt x="62759" y="1577312"/>
                    <a:pt x="143721" y="1369667"/>
                  </a:cubicBezTo>
                  <a:cubicBezTo>
                    <a:pt x="220874" y="1174405"/>
                    <a:pt x="325649" y="994382"/>
                    <a:pt x="456141" y="828647"/>
                  </a:cubicBezTo>
                  <a:cubicBezTo>
                    <a:pt x="626639" y="611477"/>
                    <a:pt x="831426" y="435265"/>
                    <a:pt x="1068599" y="297152"/>
                  </a:cubicBezTo>
                  <a:cubicBezTo>
                    <a:pt x="1292436" y="166660"/>
                    <a:pt x="1531514" y="76172"/>
                    <a:pt x="1787736" y="33310"/>
                  </a:cubicBezTo>
                  <a:cubicBezTo>
                    <a:pt x="1923467" y="10450"/>
                    <a:pt x="2059735" y="-1159"/>
                    <a:pt x="2197341" y="91"/>
                  </a:cubicBezTo>
                  <a:close/>
                  <a:moveTo>
                    <a:pt x="2081298" y="313769"/>
                  </a:moveTo>
                  <a:cubicBezTo>
                    <a:pt x="2007024" y="317521"/>
                    <a:pt x="1933138" y="325587"/>
                    <a:pt x="1859446" y="337593"/>
                  </a:cubicBezTo>
                  <a:cubicBezTo>
                    <a:pt x="1650781" y="371357"/>
                    <a:pt x="1456079" y="442639"/>
                    <a:pt x="1273788" y="545434"/>
                  </a:cubicBezTo>
                  <a:cubicBezTo>
                    <a:pt x="1080637" y="654233"/>
                    <a:pt x="913861" y="793044"/>
                    <a:pt x="775009" y="964119"/>
                  </a:cubicBezTo>
                  <a:cubicBezTo>
                    <a:pt x="668737" y="1094677"/>
                    <a:pt x="583410" y="1236490"/>
                    <a:pt x="520577" y="1390308"/>
                  </a:cubicBezTo>
                  <a:cubicBezTo>
                    <a:pt x="454643" y="1553880"/>
                    <a:pt x="408875" y="1721954"/>
                    <a:pt x="404221" y="1899033"/>
                  </a:cubicBezTo>
                  <a:cubicBezTo>
                    <a:pt x="402670" y="1970314"/>
                    <a:pt x="404221" y="2041596"/>
                    <a:pt x="404221" y="2112877"/>
                  </a:cubicBezTo>
                  <a:cubicBezTo>
                    <a:pt x="404221" y="2259942"/>
                    <a:pt x="513596" y="2364989"/>
                    <a:pt x="666410" y="2364989"/>
                  </a:cubicBezTo>
                  <a:lnTo>
                    <a:pt x="1842128" y="2364989"/>
                  </a:lnTo>
                  <a:lnTo>
                    <a:pt x="1844561" y="2323006"/>
                  </a:lnTo>
                  <a:cubicBezTo>
                    <a:pt x="1869655" y="2161369"/>
                    <a:pt x="1999483" y="2035652"/>
                    <a:pt x="2160473" y="2029663"/>
                  </a:cubicBezTo>
                  <a:cubicBezTo>
                    <a:pt x="2321464" y="2023673"/>
                    <a:pt x="2460273" y="2139397"/>
                    <a:pt x="2497307" y="2298723"/>
                  </a:cubicBezTo>
                  <a:lnTo>
                    <a:pt x="2506123" y="2364989"/>
                  </a:lnTo>
                  <a:lnTo>
                    <a:pt x="3699421" y="2364989"/>
                  </a:lnTo>
                  <a:cubicBezTo>
                    <a:pt x="3828964" y="2364989"/>
                    <a:pt x="3946096" y="2261443"/>
                    <a:pt x="3947647" y="2139139"/>
                  </a:cubicBezTo>
                  <a:cubicBezTo>
                    <a:pt x="3949199" y="2032592"/>
                    <a:pt x="3953853" y="1926795"/>
                    <a:pt x="3941442" y="1820998"/>
                  </a:cubicBezTo>
                  <a:cubicBezTo>
                    <a:pt x="3920497" y="1639418"/>
                    <a:pt x="3869301" y="1466842"/>
                    <a:pt x="3789403" y="1301769"/>
                  </a:cubicBezTo>
                  <a:cubicBezTo>
                    <a:pt x="3679252" y="1074418"/>
                    <a:pt x="3524887" y="880082"/>
                    <a:pt x="3327082" y="718011"/>
                  </a:cubicBezTo>
                  <a:cubicBezTo>
                    <a:pt x="3182800" y="600209"/>
                    <a:pt x="3024556" y="505667"/>
                    <a:pt x="2849247" y="437386"/>
                  </a:cubicBezTo>
                  <a:cubicBezTo>
                    <a:pt x="2674713" y="369857"/>
                    <a:pt x="2493974" y="329339"/>
                    <a:pt x="2305477" y="315833"/>
                  </a:cubicBezTo>
                  <a:cubicBezTo>
                    <a:pt x="2230234" y="310580"/>
                    <a:pt x="2155572" y="310018"/>
                    <a:pt x="2081298" y="313769"/>
                  </a:cubicBezTo>
                  <a:close/>
                </a:path>
              </a:pathLst>
            </a:custGeom>
            <a:solidFill>
              <a:schemeClr val="bg2">
                <a:alpha val="30000"/>
              </a:schemeClr>
            </a:solidFill>
            <a:ln w="9525" cap="flat">
              <a:noFill/>
              <a:prstDash val="solid"/>
              <a:miter/>
            </a:ln>
          </p:spPr>
          <p:txBody>
            <a:bodyPr rtlCol="0" anchor="ctr"/>
            <a:lstStyle/>
            <a:p>
              <a:endParaRPr lang="en-US">
                <a:latin typeface="Calibri"/>
                <a:ea typeface="微软雅黑"/>
                <a:sym typeface="Calibri"/>
              </a:endParaRPr>
            </a:p>
          </p:txBody>
        </p:sp>
        <p:sp>
          <p:nvSpPr>
            <p:cNvPr id="41" name="TextBox 57"/>
            <p:cNvSpPr txBox="1"/>
            <p:nvPr/>
          </p:nvSpPr>
          <p:spPr>
            <a:xfrm>
              <a:off x="7277581" y="5459922"/>
              <a:ext cx="385308" cy="195145"/>
            </a:xfrm>
            <a:prstGeom prst="rect">
              <a:avLst/>
            </a:prstGeom>
            <a:noFill/>
          </p:spPr>
          <p:txBody>
            <a:bodyPr wrap="square" rtlCol="0">
              <a:spAutoFit/>
            </a:bodyPr>
            <a:lstStyle/>
            <a:p>
              <a:pPr algn="r"/>
              <a:r>
                <a:rPr lang="en-US" sz="500" b="1" dirty="0">
                  <a:solidFill>
                    <a:schemeClr val="tx2"/>
                  </a:solidFill>
                  <a:latin typeface="Calibri"/>
                  <a:ea typeface="微软雅黑"/>
                  <a:sym typeface="Calibri"/>
                </a:rPr>
                <a:t>0%</a:t>
              </a:r>
            </a:p>
          </p:txBody>
        </p:sp>
        <p:sp>
          <p:nvSpPr>
            <p:cNvPr id="42" name="TextBox 58"/>
            <p:cNvSpPr txBox="1"/>
            <p:nvPr/>
          </p:nvSpPr>
          <p:spPr>
            <a:xfrm>
              <a:off x="9603813" y="5460187"/>
              <a:ext cx="486924" cy="195145"/>
            </a:xfrm>
            <a:prstGeom prst="rect">
              <a:avLst/>
            </a:prstGeom>
            <a:noFill/>
          </p:spPr>
          <p:txBody>
            <a:bodyPr wrap="square" rtlCol="0">
              <a:spAutoFit/>
            </a:bodyPr>
            <a:lstStyle/>
            <a:p>
              <a:r>
                <a:rPr lang="en-US" sz="500" b="1" dirty="0">
                  <a:solidFill>
                    <a:schemeClr val="tx2"/>
                  </a:solidFill>
                  <a:latin typeface="Calibri"/>
                  <a:ea typeface="微软雅黑"/>
                  <a:sym typeface="Calibri"/>
                </a:rPr>
                <a:t>100%</a:t>
              </a:r>
            </a:p>
          </p:txBody>
        </p:sp>
        <p:sp>
          <p:nvSpPr>
            <p:cNvPr id="43" name="TextBox 59"/>
            <p:cNvSpPr txBox="1"/>
            <p:nvPr/>
          </p:nvSpPr>
          <p:spPr>
            <a:xfrm>
              <a:off x="8410074" y="4209903"/>
              <a:ext cx="456066" cy="195145"/>
            </a:xfrm>
            <a:prstGeom prst="rect">
              <a:avLst/>
            </a:prstGeom>
            <a:noFill/>
          </p:spPr>
          <p:txBody>
            <a:bodyPr wrap="square" rtlCol="0">
              <a:spAutoFit/>
            </a:bodyPr>
            <a:lstStyle/>
            <a:p>
              <a:pPr algn="ctr"/>
              <a:r>
                <a:rPr lang="en-US" sz="500" b="1" dirty="0">
                  <a:solidFill>
                    <a:schemeClr val="tx2"/>
                  </a:solidFill>
                  <a:latin typeface="Calibri"/>
                  <a:ea typeface="微软雅黑"/>
                  <a:sym typeface="Calibri"/>
                </a:rPr>
                <a:t>50%</a:t>
              </a:r>
            </a:p>
          </p:txBody>
        </p:sp>
        <p:sp>
          <p:nvSpPr>
            <p:cNvPr id="44" name="TextBox 60"/>
            <p:cNvSpPr txBox="1"/>
            <p:nvPr/>
          </p:nvSpPr>
          <p:spPr>
            <a:xfrm>
              <a:off x="7427036" y="4685416"/>
              <a:ext cx="431890" cy="195145"/>
            </a:xfrm>
            <a:prstGeom prst="rect">
              <a:avLst/>
            </a:prstGeom>
            <a:noFill/>
          </p:spPr>
          <p:txBody>
            <a:bodyPr wrap="square" rtlCol="0">
              <a:spAutoFit/>
            </a:bodyPr>
            <a:lstStyle/>
            <a:p>
              <a:pPr algn="r"/>
              <a:r>
                <a:rPr lang="en-US" sz="500" b="1" dirty="0">
                  <a:solidFill>
                    <a:schemeClr val="tx2"/>
                  </a:solidFill>
                  <a:latin typeface="Calibri"/>
                  <a:ea typeface="微软雅黑"/>
                  <a:sym typeface="Calibri"/>
                </a:rPr>
                <a:t>25%</a:t>
              </a:r>
            </a:p>
          </p:txBody>
        </p:sp>
        <p:sp>
          <p:nvSpPr>
            <p:cNvPr id="45" name="TextBox 61"/>
            <p:cNvSpPr txBox="1"/>
            <p:nvPr/>
          </p:nvSpPr>
          <p:spPr>
            <a:xfrm>
              <a:off x="9413522" y="4685415"/>
              <a:ext cx="445539" cy="195145"/>
            </a:xfrm>
            <a:prstGeom prst="rect">
              <a:avLst/>
            </a:prstGeom>
            <a:noFill/>
          </p:spPr>
          <p:txBody>
            <a:bodyPr wrap="square" rtlCol="0">
              <a:spAutoFit/>
            </a:bodyPr>
            <a:lstStyle/>
            <a:p>
              <a:r>
                <a:rPr lang="en-US" sz="500" b="1" dirty="0">
                  <a:solidFill>
                    <a:schemeClr val="tx2"/>
                  </a:solidFill>
                  <a:latin typeface="Calibri"/>
                  <a:ea typeface="微软雅黑"/>
                  <a:sym typeface="Calibri"/>
                </a:rPr>
                <a:t>75%</a:t>
              </a:r>
            </a:p>
          </p:txBody>
        </p:sp>
      </p:grpSp>
      <p:sp>
        <p:nvSpPr>
          <p:cNvPr id="46" name="TextBox 6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9518905" y="5097533"/>
            <a:ext cx="635302" cy="338554"/>
          </a:xfrm>
          <a:prstGeom prst="rect">
            <a:avLst/>
          </a:prstGeom>
          <a:noFill/>
        </p:spPr>
        <p:txBody>
          <a:bodyPr wrap="square" rtlCol="0">
            <a:spAutoFit/>
          </a:bodyPr>
          <a:lstStyle/>
          <a:p>
            <a:pPr algn="ctr"/>
            <a:r>
              <a:rPr lang="en-US" sz="1600" b="1" dirty="0">
                <a:solidFill>
                  <a:schemeClr val="bg1"/>
                </a:solidFill>
                <a:latin typeface="Calibri"/>
                <a:ea typeface="微软雅黑"/>
                <a:sym typeface="Calibri"/>
              </a:rPr>
              <a:t>25%</a:t>
            </a:r>
          </a:p>
        </p:txBody>
      </p:sp>
      <p:grpSp>
        <p:nvGrpSpPr>
          <p:cNvPr id="47" name="Group 6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rot="18485515">
            <a:off x="9770289" y="5180997"/>
            <a:ext cx="132223" cy="1526849"/>
            <a:chOff x="5966626" y="2866986"/>
            <a:chExt cx="258748" cy="2987916"/>
          </a:xfrm>
        </p:grpSpPr>
        <p:pic>
          <p:nvPicPr>
            <p:cNvPr id="48" name="Graphic 64"/>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966626" y="2866986"/>
              <a:ext cx="258748" cy="1623058"/>
            </a:xfrm>
            <a:prstGeom prst="rect">
              <a:avLst/>
            </a:prstGeom>
            <a:effectLst>
              <a:outerShdw blurRad="50800" dist="25400" algn="ctr" rotWithShape="0">
                <a:srgbClr val="000000">
                  <a:alpha val="39000"/>
                </a:srgbClr>
              </a:outerShdw>
            </a:effectLst>
          </p:spPr>
        </p:pic>
        <p:pic>
          <p:nvPicPr>
            <p:cNvPr id="49" name="Graphic 65"/>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10800000">
              <a:off x="5966626" y="4231844"/>
              <a:ext cx="258748" cy="1623058"/>
            </a:xfrm>
            <a:prstGeom prst="rect">
              <a:avLst/>
            </a:prstGeom>
          </p:spPr>
        </p:pic>
      </p:grpSp>
      <p:sp>
        <p:nvSpPr>
          <p:cNvPr id="50" name="TextBox 6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8947281" y="3933370"/>
            <a:ext cx="1854608" cy="276999"/>
          </a:xfrm>
          <a:prstGeom prst="rect">
            <a:avLst/>
          </a:prstGeom>
          <a:noFill/>
        </p:spPr>
        <p:txBody>
          <a:bodyPr wrap="square" rtlCol="0">
            <a:spAutoFit/>
          </a:bodyPr>
          <a:lstStyle/>
          <a:p>
            <a:pPr algn="ctr"/>
            <a:r>
              <a:rPr lang="en-US" sz="1200" dirty="0">
                <a:solidFill>
                  <a:schemeClr val="bg1"/>
                </a:solidFill>
                <a:latin typeface="Calibri"/>
                <a:ea typeface="微软雅黑"/>
                <a:sym typeface="Calibri"/>
              </a:rPr>
              <a:t>Expended So Far</a:t>
            </a:r>
          </a:p>
        </p:txBody>
      </p:sp>
      <p:sp>
        <p:nvSpPr>
          <p:cNvPr id="51" name="TextBox 6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8947281" y="4222522"/>
            <a:ext cx="1854608" cy="276999"/>
          </a:xfrm>
          <a:prstGeom prst="rect">
            <a:avLst/>
          </a:prstGeom>
          <a:noFill/>
        </p:spPr>
        <p:txBody>
          <a:bodyPr wrap="square" rtlCol="0">
            <a:spAutoFit/>
          </a:bodyPr>
          <a:lstStyle/>
          <a:p>
            <a:pPr algn="ctr"/>
            <a:r>
              <a:rPr lang="en-US" sz="1200" b="1" dirty="0">
                <a:solidFill>
                  <a:schemeClr val="bg1"/>
                </a:solidFill>
                <a:latin typeface="Calibri"/>
                <a:ea typeface="微软雅黑"/>
                <a:sym typeface="Calibri"/>
              </a:rPr>
              <a:t>1,085,000</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0" y="0"/>
            <a:ext cx="3848100" cy="6858000"/>
          </a:xfrm>
          <a:prstGeom prst="rect">
            <a:avLst/>
          </a:prstGeom>
          <a:solidFill>
            <a:srgbClr val="FFB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4" name="矩形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3794375" y="0"/>
            <a:ext cx="8343899" cy="6858000"/>
          </a:xfrm>
          <a:prstGeom prst="rect">
            <a:avLst/>
          </a:prstGeom>
          <a:solidFill>
            <a:srgbClr val="F3F3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5" name="矩形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255000" y="0"/>
            <a:ext cx="3946525" cy="6858000"/>
          </a:xfrm>
          <a:prstGeom prst="rect">
            <a:avLst/>
          </a:prstGeom>
          <a:solidFill>
            <a:srgbClr val="583D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pic>
        <p:nvPicPr>
          <p:cNvPr id="6" name="图片 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35888" y="1778284"/>
            <a:ext cx="4321050" cy="4991256"/>
          </a:xfrm>
          <a:prstGeom prst="rect">
            <a:avLst/>
          </a:prstGeom>
        </p:spPr>
      </p:pic>
      <p:pic>
        <p:nvPicPr>
          <p:cNvPr id="7" name="图片 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rotWithShape="1">
          <a:blip r:embed="rId4" cstate="screen">
            <a:extLst>
              <a:ext uri="{28A0092B-C50C-407E-A947-70E740481C1C}">
                <a14:useLocalDpi xmlns:a14="http://schemas.microsoft.com/office/drawing/2010/main"/>
              </a:ext>
            </a:extLst>
          </a:blip>
          <a:srcRect r="-7844"/>
          <a:stretch>
            <a:fillRect/>
          </a:stretch>
        </p:blipFill>
        <p:spPr>
          <a:xfrm>
            <a:off x="8169150" y="-456640"/>
            <a:ext cx="4321050" cy="4991256"/>
          </a:xfrm>
          <a:prstGeom prst="rect">
            <a:avLst/>
          </a:prstGeom>
        </p:spPr>
      </p:pic>
      <p:sp>
        <p:nvSpPr>
          <p:cNvPr id="8" name="Title 4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4145088" y="1029313"/>
            <a:ext cx="3673350" cy="66051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000" b="1" dirty="0">
                <a:solidFill>
                  <a:schemeClr val="tx1">
                    <a:lumMod val="75000"/>
                    <a:lumOff val="25000"/>
                  </a:schemeClr>
                </a:solidFill>
                <a:latin typeface="Calibri"/>
                <a:ea typeface="微软雅黑"/>
                <a:cs typeface="+mn-ea"/>
                <a:sym typeface="Calibri"/>
              </a:rPr>
              <a:t>Creative Image Slide</a:t>
            </a:r>
          </a:p>
        </p:txBody>
      </p:sp>
      <p:sp>
        <p:nvSpPr>
          <p:cNvPr id="9" name="Title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4319336" y="2375601"/>
            <a:ext cx="3443539" cy="726509"/>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100000"/>
              </a:lnSpc>
            </a:pPr>
            <a:r>
              <a:rPr lang="en-US" sz="1400" b="0" dirty="0">
                <a:solidFill>
                  <a:schemeClr val="tx1">
                    <a:alpha val="70000"/>
                  </a:schemeClr>
                </a:solidFill>
                <a:latin typeface="Calibri"/>
                <a:ea typeface="微软雅黑"/>
                <a:cs typeface="+mn-ea"/>
                <a:sym typeface="Calibri"/>
              </a:rPr>
              <a:t>Hey, hey, hey! It's Fat Company! Now I'm </a:t>
            </a:r>
            <a:r>
              <a:rPr lang="en-US" sz="1400" b="0" dirty="0" err="1">
                <a:solidFill>
                  <a:schemeClr val="tx1">
                    <a:alpha val="70000"/>
                  </a:schemeClr>
                </a:solidFill>
                <a:latin typeface="Calibri"/>
                <a:ea typeface="微软雅黑"/>
                <a:cs typeface="+mn-ea"/>
                <a:sym typeface="Calibri"/>
              </a:rPr>
              <a:t>gonna</a:t>
            </a:r>
            <a:r>
              <a:rPr lang="en-US" sz="1400" b="0" dirty="0">
                <a:solidFill>
                  <a:schemeClr val="tx1">
                    <a:alpha val="70000"/>
                  </a:schemeClr>
                </a:solidFill>
                <a:latin typeface="Calibri"/>
                <a:ea typeface="微软雅黑"/>
                <a:cs typeface="+mn-ea"/>
                <a:sym typeface="Calibri"/>
              </a:rPr>
              <a:t> sing a song for you, and this is </a:t>
            </a:r>
            <a:r>
              <a:rPr lang="en-US" sz="1400" b="0" dirty="0" err="1">
                <a:solidFill>
                  <a:schemeClr val="tx1">
                    <a:alpha val="70000"/>
                  </a:schemeClr>
                </a:solidFill>
                <a:latin typeface="Calibri"/>
                <a:ea typeface="微软雅黑"/>
                <a:cs typeface="+mn-ea"/>
                <a:sym typeface="Calibri"/>
              </a:rPr>
              <a:t>gonna</a:t>
            </a:r>
            <a:r>
              <a:rPr lang="en-US" sz="1400" b="0" dirty="0">
                <a:solidFill>
                  <a:schemeClr val="tx1">
                    <a:alpha val="70000"/>
                  </a:schemeClr>
                </a:solidFill>
                <a:latin typeface="Calibri"/>
                <a:ea typeface="微软雅黑"/>
                <a:cs typeface="+mn-ea"/>
                <a:sym typeface="Calibri"/>
              </a:rPr>
              <a:t> show you a thing or two. </a:t>
            </a:r>
          </a:p>
        </p:txBody>
      </p:sp>
      <p:grpSp>
        <p:nvGrpSpPr>
          <p:cNvPr id="24" name="组合 2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4254376" y="3685367"/>
            <a:ext cx="3330830" cy="2572773"/>
            <a:chOff x="4511130" y="3860263"/>
            <a:chExt cx="2357616" cy="1821051"/>
          </a:xfrm>
        </p:grpSpPr>
        <p:sp>
          <p:nvSpPr>
            <p:cNvPr id="10" name="TextBox 20"/>
            <p:cNvSpPr txBox="1"/>
            <p:nvPr/>
          </p:nvSpPr>
          <p:spPr>
            <a:xfrm>
              <a:off x="4701761" y="5419895"/>
              <a:ext cx="364444" cy="261419"/>
            </a:xfrm>
            <a:prstGeom prst="rect">
              <a:avLst/>
            </a:prstGeom>
            <a:noFill/>
          </p:spPr>
          <p:txBody>
            <a:bodyPr wrap="none" rtlCol="0">
              <a:spAutoFit/>
            </a:bodyPr>
            <a:lstStyle/>
            <a:p>
              <a:r>
                <a:rPr lang="en-US">
                  <a:solidFill>
                    <a:schemeClr val="tx1">
                      <a:lumMod val="65000"/>
                      <a:lumOff val="35000"/>
                    </a:schemeClr>
                  </a:solidFill>
                  <a:latin typeface="Calibri"/>
                  <a:ea typeface="微软雅黑"/>
                  <a:cs typeface="+mn-ea"/>
                  <a:sym typeface="Calibri"/>
                </a:rPr>
                <a:t>65</a:t>
              </a:r>
              <a:r>
                <a:rPr lang="en-US" sz="1050">
                  <a:solidFill>
                    <a:schemeClr val="tx1">
                      <a:lumMod val="65000"/>
                      <a:lumOff val="35000"/>
                    </a:schemeClr>
                  </a:solidFill>
                  <a:latin typeface="Calibri"/>
                  <a:ea typeface="微软雅黑"/>
                  <a:cs typeface="+mn-ea"/>
                  <a:sym typeface="Calibri"/>
                </a:rPr>
                <a:t>%</a:t>
              </a:r>
            </a:p>
          </p:txBody>
        </p:sp>
        <p:sp>
          <p:nvSpPr>
            <p:cNvPr id="11" name="TextBox 21"/>
            <p:cNvSpPr txBox="1"/>
            <p:nvPr/>
          </p:nvSpPr>
          <p:spPr>
            <a:xfrm>
              <a:off x="5214195" y="5419895"/>
              <a:ext cx="854605" cy="261419"/>
            </a:xfrm>
            <a:prstGeom prst="rect">
              <a:avLst/>
            </a:prstGeom>
            <a:noFill/>
          </p:spPr>
          <p:txBody>
            <a:bodyPr wrap="none" rtlCol="0">
              <a:spAutoFit/>
            </a:bodyPr>
            <a:lstStyle/>
            <a:p>
              <a:r>
                <a:rPr lang="en-US">
                  <a:solidFill>
                    <a:schemeClr val="tx1">
                      <a:lumMod val="65000"/>
                      <a:lumOff val="35000"/>
                    </a:schemeClr>
                  </a:solidFill>
                  <a:latin typeface="Calibri"/>
                  <a:ea typeface="微软雅黑"/>
                  <a:cs typeface="+mn-ea"/>
                  <a:sym typeface="Calibri"/>
                </a:rPr>
                <a:t>1,210</a:t>
              </a:r>
              <a:r>
                <a:rPr lang="en-US" sz="1050">
                  <a:solidFill>
                    <a:schemeClr val="tx1">
                      <a:lumMod val="65000"/>
                      <a:lumOff val="35000"/>
                    </a:schemeClr>
                  </a:solidFill>
                  <a:latin typeface="Calibri"/>
                  <a:ea typeface="微软雅黑"/>
                  <a:cs typeface="+mn-ea"/>
                  <a:sym typeface="Calibri"/>
                </a:rPr>
                <a:t>$ for Day</a:t>
              </a:r>
            </a:p>
          </p:txBody>
        </p:sp>
        <p:sp>
          <p:nvSpPr>
            <p:cNvPr id="12" name="TextBox 22"/>
            <p:cNvSpPr txBox="1"/>
            <p:nvPr/>
          </p:nvSpPr>
          <p:spPr>
            <a:xfrm>
              <a:off x="6228190" y="5419895"/>
              <a:ext cx="633352" cy="261419"/>
            </a:xfrm>
            <a:prstGeom prst="rect">
              <a:avLst/>
            </a:prstGeom>
            <a:noFill/>
          </p:spPr>
          <p:txBody>
            <a:bodyPr wrap="none" rtlCol="0">
              <a:spAutoFit/>
            </a:bodyPr>
            <a:lstStyle/>
            <a:p>
              <a:r>
                <a:rPr lang="en-US">
                  <a:solidFill>
                    <a:schemeClr val="tx1">
                      <a:lumMod val="65000"/>
                      <a:lumOff val="35000"/>
                    </a:schemeClr>
                  </a:solidFill>
                  <a:latin typeface="Calibri"/>
                  <a:ea typeface="微软雅黑"/>
                  <a:cs typeface="+mn-ea"/>
                  <a:sym typeface="Calibri"/>
                </a:rPr>
                <a:t>420 </a:t>
              </a:r>
              <a:r>
                <a:rPr lang="en-US" sz="1050">
                  <a:solidFill>
                    <a:schemeClr val="tx1">
                      <a:lumMod val="65000"/>
                      <a:lumOff val="35000"/>
                    </a:schemeClr>
                  </a:solidFill>
                  <a:latin typeface="Calibri"/>
                  <a:ea typeface="微软雅黑"/>
                  <a:cs typeface="+mn-ea"/>
                  <a:sym typeface="Calibri"/>
                </a:rPr>
                <a:t>Users</a:t>
              </a:r>
            </a:p>
          </p:txBody>
        </p:sp>
        <p:cxnSp>
          <p:nvCxnSpPr>
            <p:cNvPr id="13" name="Straight Connector 23"/>
            <p:cNvCxnSpPr/>
            <p:nvPr/>
          </p:nvCxnSpPr>
          <p:spPr>
            <a:xfrm>
              <a:off x="5118596" y="5454910"/>
              <a:ext cx="0" cy="16929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24"/>
            <p:cNvCxnSpPr/>
            <p:nvPr/>
          </p:nvCxnSpPr>
          <p:spPr>
            <a:xfrm>
              <a:off x="6132591" y="5454910"/>
              <a:ext cx="0" cy="16929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15" name="Rectangle 25"/>
            <p:cNvSpPr/>
            <p:nvPr/>
          </p:nvSpPr>
          <p:spPr>
            <a:xfrm>
              <a:off x="4708965" y="4863541"/>
              <a:ext cx="2064712" cy="562279"/>
            </a:xfrm>
            <a:prstGeom prst="rect">
              <a:avLst/>
            </a:prstGeom>
          </p:spPr>
          <p:txBody>
            <a:bodyPr wrap="square">
              <a:spAutoFit/>
            </a:bodyPr>
            <a:lstStyle/>
            <a:p>
              <a:pPr>
                <a:lnSpc>
                  <a:spcPct val="150000"/>
                </a:lnSpc>
              </a:pPr>
              <a:r>
                <a:rPr lang="en-US" sz="1050" b="1">
                  <a:solidFill>
                    <a:schemeClr val="tx1">
                      <a:lumMod val="65000"/>
                      <a:lumOff val="35000"/>
                    </a:schemeClr>
                  </a:solidFill>
                  <a:latin typeface="Calibri"/>
                  <a:ea typeface="微软雅黑"/>
                  <a:cs typeface="+mn-ea"/>
                  <a:sym typeface="Calibri"/>
                </a:rPr>
                <a:t>BUSINESS ELEMENTS</a:t>
              </a:r>
            </a:p>
            <a:p>
              <a:pPr>
                <a:lnSpc>
                  <a:spcPct val="150000"/>
                </a:lnSpc>
              </a:pPr>
              <a:r>
                <a:rPr lang="en-US" sz="1050">
                  <a:solidFill>
                    <a:schemeClr val="tx1">
                      <a:lumMod val="65000"/>
                      <a:lumOff val="35000"/>
                    </a:schemeClr>
                  </a:solidFill>
                  <a:latin typeface="Calibri"/>
                  <a:ea typeface="微软雅黑"/>
                  <a:cs typeface="+mn-ea"/>
                  <a:sym typeface="Calibri"/>
                </a:rPr>
                <a:t>Quickly repurpose top-line innovation before global communities. </a:t>
              </a:r>
            </a:p>
          </p:txBody>
        </p:sp>
        <p:sp>
          <p:nvSpPr>
            <p:cNvPr id="16" name="TextBox 27"/>
            <p:cNvSpPr txBox="1"/>
            <p:nvPr/>
          </p:nvSpPr>
          <p:spPr>
            <a:xfrm>
              <a:off x="4708965" y="4416617"/>
              <a:ext cx="364444" cy="261419"/>
            </a:xfrm>
            <a:prstGeom prst="rect">
              <a:avLst/>
            </a:prstGeom>
            <a:noFill/>
          </p:spPr>
          <p:txBody>
            <a:bodyPr wrap="none" rtlCol="0">
              <a:spAutoFit/>
            </a:bodyPr>
            <a:lstStyle/>
            <a:p>
              <a:r>
                <a:rPr lang="en-US">
                  <a:solidFill>
                    <a:schemeClr val="tx1">
                      <a:lumMod val="65000"/>
                      <a:lumOff val="35000"/>
                    </a:schemeClr>
                  </a:solidFill>
                  <a:latin typeface="Calibri"/>
                  <a:ea typeface="微软雅黑"/>
                  <a:cs typeface="+mn-ea"/>
                  <a:sym typeface="Calibri"/>
                </a:rPr>
                <a:t>90</a:t>
              </a:r>
              <a:r>
                <a:rPr lang="en-US" sz="1050">
                  <a:solidFill>
                    <a:schemeClr val="tx1">
                      <a:lumMod val="65000"/>
                      <a:lumOff val="35000"/>
                    </a:schemeClr>
                  </a:solidFill>
                  <a:latin typeface="Calibri"/>
                  <a:ea typeface="微软雅黑"/>
                  <a:cs typeface="+mn-ea"/>
                  <a:sym typeface="Calibri"/>
                </a:rPr>
                <a:t>%</a:t>
              </a:r>
            </a:p>
          </p:txBody>
        </p:sp>
        <p:sp>
          <p:nvSpPr>
            <p:cNvPr id="17" name="TextBox 28"/>
            <p:cNvSpPr txBox="1"/>
            <p:nvPr/>
          </p:nvSpPr>
          <p:spPr>
            <a:xfrm>
              <a:off x="5221399" y="4416617"/>
              <a:ext cx="854605" cy="261419"/>
            </a:xfrm>
            <a:prstGeom prst="rect">
              <a:avLst/>
            </a:prstGeom>
            <a:noFill/>
          </p:spPr>
          <p:txBody>
            <a:bodyPr wrap="none" rtlCol="0">
              <a:spAutoFit/>
            </a:bodyPr>
            <a:lstStyle/>
            <a:p>
              <a:r>
                <a:rPr lang="en-US" dirty="0">
                  <a:solidFill>
                    <a:schemeClr val="tx1">
                      <a:lumMod val="65000"/>
                      <a:lumOff val="35000"/>
                    </a:schemeClr>
                  </a:solidFill>
                  <a:latin typeface="Calibri"/>
                  <a:ea typeface="微软雅黑"/>
                  <a:cs typeface="+mn-ea"/>
                  <a:sym typeface="Calibri"/>
                </a:rPr>
                <a:t>6,850</a:t>
              </a:r>
              <a:r>
                <a:rPr lang="en-US" sz="1050" dirty="0">
                  <a:solidFill>
                    <a:schemeClr val="tx1">
                      <a:lumMod val="65000"/>
                      <a:lumOff val="35000"/>
                    </a:schemeClr>
                  </a:solidFill>
                  <a:latin typeface="Calibri"/>
                  <a:ea typeface="微软雅黑"/>
                  <a:cs typeface="+mn-ea"/>
                  <a:sym typeface="Calibri"/>
                </a:rPr>
                <a:t>$ for Day</a:t>
              </a:r>
            </a:p>
          </p:txBody>
        </p:sp>
        <p:sp>
          <p:nvSpPr>
            <p:cNvPr id="18" name="TextBox 29"/>
            <p:cNvSpPr txBox="1"/>
            <p:nvPr/>
          </p:nvSpPr>
          <p:spPr>
            <a:xfrm>
              <a:off x="6235394" y="4416617"/>
              <a:ext cx="633352" cy="261419"/>
            </a:xfrm>
            <a:prstGeom prst="rect">
              <a:avLst/>
            </a:prstGeom>
            <a:noFill/>
          </p:spPr>
          <p:txBody>
            <a:bodyPr wrap="none" rtlCol="0">
              <a:spAutoFit/>
            </a:bodyPr>
            <a:lstStyle/>
            <a:p>
              <a:r>
                <a:rPr lang="en-US">
                  <a:solidFill>
                    <a:schemeClr val="tx1">
                      <a:lumMod val="65000"/>
                      <a:lumOff val="35000"/>
                    </a:schemeClr>
                  </a:solidFill>
                  <a:latin typeface="Calibri"/>
                  <a:ea typeface="微软雅黑"/>
                  <a:cs typeface="+mn-ea"/>
                  <a:sym typeface="Calibri"/>
                </a:rPr>
                <a:t>560 </a:t>
              </a:r>
              <a:r>
                <a:rPr lang="en-US" sz="1050">
                  <a:solidFill>
                    <a:schemeClr val="tx1">
                      <a:lumMod val="65000"/>
                      <a:lumOff val="35000"/>
                    </a:schemeClr>
                  </a:solidFill>
                  <a:latin typeface="Calibri"/>
                  <a:ea typeface="微软雅黑"/>
                  <a:cs typeface="+mn-ea"/>
                  <a:sym typeface="Calibri"/>
                </a:rPr>
                <a:t>Users</a:t>
              </a:r>
            </a:p>
          </p:txBody>
        </p:sp>
        <p:cxnSp>
          <p:nvCxnSpPr>
            <p:cNvPr id="19" name="Straight Connector 30"/>
            <p:cNvCxnSpPr/>
            <p:nvPr/>
          </p:nvCxnSpPr>
          <p:spPr>
            <a:xfrm>
              <a:off x="5125800" y="4451632"/>
              <a:ext cx="0" cy="16929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31"/>
            <p:cNvCxnSpPr/>
            <p:nvPr/>
          </p:nvCxnSpPr>
          <p:spPr>
            <a:xfrm>
              <a:off x="6139794" y="4451632"/>
              <a:ext cx="0" cy="169293"/>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21" name="Rectangle 32"/>
            <p:cNvSpPr/>
            <p:nvPr/>
          </p:nvSpPr>
          <p:spPr>
            <a:xfrm>
              <a:off x="4716169" y="3860263"/>
              <a:ext cx="2064712" cy="562279"/>
            </a:xfrm>
            <a:prstGeom prst="rect">
              <a:avLst/>
            </a:prstGeom>
          </p:spPr>
          <p:txBody>
            <a:bodyPr wrap="square">
              <a:spAutoFit/>
            </a:bodyPr>
            <a:lstStyle/>
            <a:p>
              <a:pPr>
                <a:lnSpc>
                  <a:spcPct val="150000"/>
                </a:lnSpc>
              </a:pPr>
              <a:r>
                <a:rPr lang="en-US" sz="1050" b="1" dirty="0">
                  <a:solidFill>
                    <a:schemeClr val="tx1">
                      <a:lumMod val="65000"/>
                      <a:lumOff val="35000"/>
                    </a:schemeClr>
                  </a:solidFill>
                  <a:latin typeface="Calibri"/>
                  <a:ea typeface="微软雅黑"/>
                  <a:cs typeface="+mn-ea"/>
                  <a:sym typeface="Calibri"/>
                </a:rPr>
                <a:t>MARKETING PROMOTIONS</a:t>
              </a:r>
            </a:p>
            <a:p>
              <a:pPr>
                <a:lnSpc>
                  <a:spcPct val="150000"/>
                </a:lnSpc>
              </a:pPr>
              <a:r>
                <a:rPr lang="en-US" sz="1050" dirty="0">
                  <a:solidFill>
                    <a:schemeClr val="tx1">
                      <a:lumMod val="65000"/>
                      <a:lumOff val="35000"/>
                    </a:schemeClr>
                  </a:solidFill>
                  <a:latin typeface="Calibri"/>
                  <a:ea typeface="微软雅黑"/>
                  <a:cs typeface="+mn-ea"/>
                  <a:sym typeface="Calibri"/>
                </a:rPr>
                <a:t>Quickly repurpose top-line innovation before global communities. </a:t>
              </a:r>
            </a:p>
          </p:txBody>
        </p:sp>
        <p:sp>
          <p:nvSpPr>
            <p:cNvPr id="22" name="Rounded Rectangle 34"/>
            <p:cNvSpPr/>
            <p:nvPr/>
          </p:nvSpPr>
          <p:spPr>
            <a:xfrm>
              <a:off x="4511130" y="5012296"/>
              <a:ext cx="119071" cy="119071"/>
            </a:xfrm>
            <a:prstGeom prst="roundRect">
              <a:avLst/>
            </a:prstGeom>
            <a:solidFill>
              <a:srgbClr val="583D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Calibri"/>
                <a:ea typeface="微软雅黑"/>
                <a:cs typeface="+mn-ea"/>
                <a:sym typeface="Calibri"/>
              </a:endParaRPr>
            </a:p>
          </p:txBody>
        </p:sp>
        <p:sp>
          <p:nvSpPr>
            <p:cNvPr id="23" name="Rounded Rectangle 35"/>
            <p:cNvSpPr/>
            <p:nvPr/>
          </p:nvSpPr>
          <p:spPr>
            <a:xfrm>
              <a:off x="4511130" y="4021438"/>
              <a:ext cx="119071" cy="11907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latin typeface="Calibri"/>
                <a:ea typeface="微软雅黑"/>
                <a:cs typeface="+mn-ea"/>
                <a:sym typeface="Calibri"/>
              </a:endParaRPr>
            </a:p>
          </p:txBody>
        </p:sp>
      </p:grpSp>
      <p:sp>
        <p:nvSpPr>
          <p:cNvPr id="25" name="TextBox 3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8889913" y="3206672"/>
            <a:ext cx="1672253" cy="1862048"/>
          </a:xfrm>
          <a:prstGeom prst="rect">
            <a:avLst/>
          </a:prstGeom>
          <a:noFill/>
        </p:spPr>
        <p:txBody>
          <a:bodyPr wrap="none" rtlCol="0">
            <a:spAutoFit/>
          </a:bodyPr>
          <a:lstStyle/>
          <a:p>
            <a:pPr algn="ctr"/>
            <a:r>
              <a:rPr lang="en-US" sz="11500" b="1" dirty="0">
                <a:solidFill>
                  <a:schemeClr val="bg1">
                    <a:alpha val="30000"/>
                  </a:schemeClr>
                </a:solidFill>
                <a:latin typeface="Calibri"/>
                <a:ea typeface="微软雅黑"/>
                <a:cs typeface="+mn-ea"/>
                <a:sym typeface="Calibri"/>
              </a:rPr>
              <a:t>02</a:t>
            </a:r>
          </a:p>
        </p:txBody>
      </p:sp>
      <p:sp>
        <p:nvSpPr>
          <p:cNvPr id="26" name="Title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058329" y="4000551"/>
            <a:ext cx="3504053" cy="1325563"/>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chemeClr val="bg1"/>
                </a:solidFill>
                <a:latin typeface="Calibri"/>
                <a:ea typeface="微软雅黑"/>
                <a:cs typeface="+mn-ea"/>
                <a:sym typeface="Calibri"/>
              </a:rPr>
              <a:t>Presentation</a:t>
            </a:r>
            <a:br>
              <a:rPr lang="en-US" sz="3200" b="1" dirty="0">
                <a:solidFill>
                  <a:schemeClr val="bg1"/>
                </a:solidFill>
                <a:latin typeface="Calibri"/>
                <a:ea typeface="微软雅黑"/>
                <a:cs typeface="+mn-ea"/>
                <a:sym typeface="Calibri"/>
              </a:rPr>
            </a:br>
            <a:r>
              <a:rPr lang="en-US" sz="3200" b="1" dirty="0">
                <a:solidFill>
                  <a:schemeClr val="bg1"/>
                </a:solidFill>
                <a:latin typeface="Calibri"/>
                <a:ea typeface="微软雅黑"/>
                <a:cs typeface="+mn-ea"/>
                <a:sym typeface="Calibri"/>
              </a:rPr>
              <a:t>Agenda</a:t>
            </a:r>
          </a:p>
        </p:txBody>
      </p:sp>
      <p:sp>
        <p:nvSpPr>
          <p:cNvPr id="27" name="TextBox 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8918998" y="5173382"/>
            <a:ext cx="2943400" cy="916662"/>
          </a:xfrm>
          <a:prstGeom prst="rect">
            <a:avLst/>
          </a:prstGeom>
          <a:noFill/>
        </p:spPr>
        <p:txBody>
          <a:bodyPr wrap="square" lIns="0" tIns="46800" rIns="0" rtlCol="0">
            <a:spAutoFit/>
          </a:bodyPr>
          <a:lstStyle/>
          <a:p>
            <a:pPr>
              <a:lnSpc>
                <a:spcPct val="130000"/>
              </a:lnSpc>
            </a:pPr>
            <a:r>
              <a:rPr lang="en-US" altLang="zh-CN" sz="1050" dirty="0">
                <a:solidFill>
                  <a:schemeClr val="bg1">
                    <a:alpha val="80000"/>
                  </a:schemeClr>
                </a:solidFill>
                <a:latin typeface="Calibri"/>
                <a:ea typeface="微软雅黑"/>
                <a:cs typeface="+mn-ea"/>
                <a:sym typeface="Calibri"/>
              </a:rPr>
              <a:t>Hey, hey, hey! It's Fat Company! Now I'm </a:t>
            </a:r>
            <a:r>
              <a:rPr lang="en-US" altLang="zh-CN" sz="1050" dirty="0" err="1">
                <a:solidFill>
                  <a:schemeClr val="bg1">
                    <a:alpha val="80000"/>
                  </a:schemeClr>
                </a:solidFill>
                <a:latin typeface="Calibri"/>
                <a:ea typeface="微软雅黑"/>
                <a:cs typeface="+mn-ea"/>
                <a:sym typeface="Calibri"/>
              </a:rPr>
              <a:t>gonna</a:t>
            </a:r>
            <a:r>
              <a:rPr lang="en-US" altLang="zh-CN" sz="1050" dirty="0">
                <a:solidFill>
                  <a:schemeClr val="bg1">
                    <a:alpha val="80000"/>
                  </a:schemeClr>
                </a:solidFill>
                <a:latin typeface="Calibri"/>
                <a:ea typeface="微软雅黑"/>
                <a:cs typeface="+mn-ea"/>
                <a:sym typeface="Calibri"/>
              </a:rPr>
              <a:t> sing a song for you, and this is </a:t>
            </a:r>
            <a:r>
              <a:rPr lang="en-US" altLang="zh-CN" sz="1050" dirty="0" err="1">
                <a:solidFill>
                  <a:schemeClr val="bg1">
                    <a:alpha val="80000"/>
                  </a:schemeClr>
                </a:solidFill>
                <a:latin typeface="Calibri"/>
                <a:ea typeface="微软雅黑"/>
                <a:cs typeface="+mn-ea"/>
                <a:sym typeface="Calibri"/>
              </a:rPr>
              <a:t>gonna</a:t>
            </a:r>
            <a:r>
              <a:rPr lang="en-US" altLang="zh-CN" sz="1050" dirty="0">
                <a:solidFill>
                  <a:schemeClr val="bg1">
                    <a:alpha val="80000"/>
                  </a:schemeClr>
                </a:solidFill>
                <a:latin typeface="Calibri"/>
                <a:ea typeface="微软雅黑"/>
                <a:cs typeface="+mn-ea"/>
                <a:sym typeface="Calibri"/>
              </a:rPr>
              <a:t> show you a thing or two. You'll have some fun now With me and the gang, learning from each other While we do our thing</a:t>
            </a:r>
          </a:p>
        </p:txBody>
      </p:sp>
      <p:sp>
        <p:nvSpPr>
          <p:cNvPr id="28" name="TextBox 3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570346" y="502773"/>
            <a:ext cx="1672253" cy="1862048"/>
          </a:xfrm>
          <a:prstGeom prst="rect">
            <a:avLst/>
          </a:prstGeom>
          <a:noFill/>
        </p:spPr>
        <p:txBody>
          <a:bodyPr wrap="none" rtlCol="0">
            <a:spAutoFit/>
          </a:bodyPr>
          <a:lstStyle/>
          <a:p>
            <a:pPr algn="ctr"/>
            <a:r>
              <a:rPr lang="en-US" sz="11500" b="1" dirty="0">
                <a:solidFill>
                  <a:schemeClr val="bg1">
                    <a:alpha val="30000"/>
                  </a:schemeClr>
                </a:solidFill>
                <a:latin typeface="Calibri"/>
                <a:ea typeface="微软雅黑"/>
                <a:cs typeface="+mn-ea"/>
                <a:sym typeface="Calibri"/>
              </a:rPr>
              <a:t>01</a:t>
            </a:r>
          </a:p>
        </p:txBody>
      </p:sp>
      <p:sp>
        <p:nvSpPr>
          <p:cNvPr id="29" name="Title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738762" y="1296652"/>
            <a:ext cx="3504053" cy="1325563"/>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E64B8D"/>
                </a:solidFill>
                <a:latin typeface="Calibri"/>
                <a:ea typeface="微软雅黑"/>
                <a:cs typeface="+mn-ea"/>
                <a:sym typeface="Calibri"/>
              </a:rPr>
              <a:t>Presentation</a:t>
            </a:r>
            <a:br>
              <a:rPr lang="en-US" sz="3200" b="1" dirty="0">
                <a:solidFill>
                  <a:srgbClr val="E64B8D"/>
                </a:solidFill>
                <a:latin typeface="Calibri"/>
                <a:ea typeface="微软雅黑"/>
                <a:cs typeface="+mn-ea"/>
                <a:sym typeface="Calibri"/>
              </a:rPr>
            </a:br>
            <a:r>
              <a:rPr lang="en-US" sz="3200" b="1" dirty="0">
                <a:solidFill>
                  <a:srgbClr val="E64B8D"/>
                </a:solidFill>
                <a:latin typeface="Calibri"/>
                <a:ea typeface="微软雅黑"/>
                <a:cs typeface="+mn-ea"/>
                <a:sym typeface="Calibri"/>
              </a:rPr>
              <a:t>Agenda</a:t>
            </a:r>
          </a:p>
        </p:txBody>
      </p:sp>
      <p:sp>
        <p:nvSpPr>
          <p:cNvPr id="30" name="TextBox 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599431" y="2469483"/>
            <a:ext cx="2943400" cy="916662"/>
          </a:xfrm>
          <a:prstGeom prst="rect">
            <a:avLst/>
          </a:prstGeom>
          <a:noFill/>
        </p:spPr>
        <p:txBody>
          <a:bodyPr wrap="square" lIns="0" tIns="46800" rIns="0" rtlCol="0">
            <a:spAutoFit/>
          </a:bodyPr>
          <a:lstStyle/>
          <a:p>
            <a:pPr>
              <a:lnSpc>
                <a:spcPct val="130000"/>
              </a:lnSpc>
            </a:pPr>
            <a:r>
              <a:rPr lang="en-US" altLang="zh-CN" sz="1050" dirty="0">
                <a:solidFill>
                  <a:srgbClr val="E64B8D">
                    <a:alpha val="80000"/>
                  </a:srgbClr>
                </a:solidFill>
                <a:latin typeface="Calibri"/>
                <a:ea typeface="微软雅黑"/>
                <a:cs typeface="+mn-ea"/>
                <a:sym typeface="Calibri"/>
              </a:rPr>
              <a:t>Hey, hey, hey! It's Fat Company! Now I'm </a:t>
            </a:r>
            <a:r>
              <a:rPr lang="en-US" altLang="zh-CN" sz="1050" dirty="0" err="1">
                <a:solidFill>
                  <a:srgbClr val="E64B8D">
                    <a:alpha val="80000"/>
                  </a:srgbClr>
                </a:solidFill>
                <a:latin typeface="Calibri"/>
                <a:ea typeface="微软雅黑"/>
                <a:cs typeface="+mn-ea"/>
                <a:sym typeface="Calibri"/>
              </a:rPr>
              <a:t>gonna</a:t>
            </a:r>
            <a:r>
              <a:rPr lang="en-US" altLang="zh-CN" sz="1050" dirty="0">
                <a:solidFill>
                  <a:srgbClr val="E64B8D">
                    <a:alpha val="80000"/>
                  </a:srgbClr>
                </a:solidFill>
                <a:latin typeface="Calibri"/>
                <a:ea typeface="微软雅黑"/>
                <a:cs typeface="+mn-ea"/>
                <a:sym typeface="Calibri"/>
              </a:rPr>
              <a:t> sing a song for you, and this is </a:t>
            </a:r>
            <a:r>
              <a:rPr lang="en-US" altLang="zh-CN" sz="1050" dirty="0" err="1">
                <a:solidFill>
                  <a:srgbClr val="E64B8D">
                    <a:alpha val="80000"/>
                  </a:srgbClr>
                </a:solidFill>
                <a:latin typeface="Calibri"/>
                <a:ea typeface="微软雅黑"/>
                <a:cs typeface="+mn-ea"/>
                <a:sym typeface="Calibri"/>
              </a:rPr>
              <a:t>gonna</a:t>
            </a:r>
            <a:r>
              <a:rPr lang="en-US" altLang="zh-CN" sz="1050" dirty="0">
                <a:solidFill>
                  <a:srgbClr val="E64B8D">
                    <a:alpha val="80000"/>
                  </a:srgbClr>
                </a:solidFill>
                <a:latin typeface="Calibri"/>
                <a:ea typeface="微软雅黑"/>
                <a:cs typeface="+mn-ea"/>
                <a:sym typeface="Calibri"/>
              </a:rPr>
              <a:t> show you a thing or two. You'll have some fun now With me and the gang, learning from each other While we do our thing</a:t>
            </a:r>
          </a:p>
        </p:txBody>
      </p:sp>
      <p:sp>
        <p:nvSpPr>
          <p:cNvPr id="31"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占位符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7864" r="7864"/>
          <a:stretch>
            <a:fillRect/>
          </a:stretch>
        </p:blipFill>
        <p:spPr/>
      </p:pic>
      <p:sp>
        <p:nvSpPr>
          <p:cNvPr id="67" name="Rectangle 6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700833" y="0"/>
            <a:ext cx="3491166" cy="6858000"/>
          </a:xfrm>
          <a:prstGeom prst="rect">
            <a:avLst/>
          </a:prstGeom>
          <a:gradFill>
            <a:gsLst>
              <a:gs pos="2000">
                <a:srgbClr val="FCDCF1"/>
              </a:gs>
              <a:gs pos="100000">
                <a:schemeClr val="accent1"/>
              </a:gs>
            </a:gsLst>
            <a:lin ang="2700000" scaled="1"/>
          </a:gradFill>
          <a:ln>
            <a:noFill/>
          </a:ln>
          <a:effectLst>
            <a:outerShdw blurRad="3937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56" name="TextBox 5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8755183" y="1038878"/>
            <a:ext cx="3060196" cy="1138773"/>
          </a:xfrm>
          <a:prstGeom prst="rect">
            <a:avLst/>
          </a:prstGeom>
          <a:noFill/>
        </p:spPr>
        <p:txBody>
          <a:bodyPr wrap="square" rtlCol="0">
            <a:spAutoFit/>
          </a:bodyPr>
          <a:lstStyle/>
          <a:p>
            <a:pPr algn="r"/>
            <a:r>
              <a:rPr lang="en-US" sz="3400" b="1" dirty="0" err="1">
                <a:solidFill>
                  <a:schemeClr val="bg1"/>
                </a:solidFill>
                <a:latin typeface="Calibri"/>
                <a:ea typeface="微软雅黑"/>
                <a:cs typeface="+mn-ea"/>
                <a:sym typeface="Calibri"/>
              </a:rPr>
              <a:t>Introduting</a:t>
            </a:r>
            <a:r>
              <a:rPr lang="en-US" sz="3400" b="1" dirty="0">
                <a:solidFill>
                  <a:schemeClr val="bg1"/>
                </a:solidFill>
                <a:latin typeface="Calibri"/>
                <a:ea typeface="微软雅黑"/>
                <a:cs typeface="+mn-ea"/>
                <a:sym typeface="Calibri"/>
              </a:rPr>
              <a:t> Our Company!</a:t>
            </a:r>
          </a:p>
        </p:txBody>
      </p:sp>
      <p:sp>
        <p:nvSpPr>
          <p:cNvPr id="76" name="Oval 7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619318" y="811156"/>
            <a:ext cx="867226" cy="867226"/>
          </a:xfrm>
          <a:prstGeom prst="ellipse">
            <a:avLst/>
          </a:prstGeom>
          <a:solidFill>
            <a:schemeClr val="accent1"/>
          </a:solidFill>
          <a:ln w="25400">
            <a:noFill/>
          </a:ln>
          <a:effectLst>
            <a:outerShdw blurRad="355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solidFill>
                <a:schemeClr val="tx1">
                  <a:lumMod val="50000"/>
                  <a:lumOff val="50000"/>
                </a:schemeClr>
              </a:solidFill>
              <a:latin typeface="Calibri"/>
              <a:ea typeface="微软雅黑"/>
              <a:cs typeface="+mn-ea"/>
              <a:sym typeface="Calibri"/>
            </a:endParaRPr>
          </a:p>
        </p:txBody>
      </p:sp>
      <p:sp>
        <p:nvSpPr>
          <p:cNvPr id="77" name="Oval 7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619318" y="2304752"/>
            <a:ext cx="867226" cy="867226"/>
          </a:xfrm>
          <a:prstGeom prst="ellipse">
            <a:avLst/>
          </a:prstGeom>
          <a:solidFill>
            <a:schemeClr val="accent2"/>
          </a:solidFill>
          <a:ln w="25400">
            <a:noFill/>
          </a:ln>
          <a:effectLst>
            <a:outerShdw blurRad="355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solidFill>
                <a:schemeClr val="tx1">
                  <a:lumMod val="50000"/>
                  <a:lumOff val="50000"/>
                </a:schemeClr>
              </a:solidFill>
              <a:latin typeface="Calibri"/>
              <a:ea typeface="微软雅黑"/>
              <a:cs typeface="+mn-ea"/>
              <a:sym typeface="Calibri"/>
            </a:endParaRPr>
          </a:p>
        </p:txBody>
      </p:sp>
      <p:sp>
        <p:nvSpPr>
          <p:cNvPr id="78" name="Oval 7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619318" y="3798348"/>
            <a:ext cx="867226" cy="867226"/>
          </a:xfrm>
          <a:prstGeom prst="ellipse">
            <a:avLst/>
          </a:prstGeom>
          <a:solidFill>
            <a:schemeClr val="accent5"/>
          </a:solidFill>
          <a:ln w="25400">
            <a:noFill/>
          </a:ln>
          <a:effectLst>
            <a:outerShdw blurRad="355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solidFill>
                <a:schemeClr val="tx1">
                  <a:lumMod val="50000"/>
                  <a:lumOff val="50000"/>
                </a:schemeClr>
              </a:solidFill>
              <a:latin typeface="Calibri"/>
              <a:ea typeface="微软雅黑"/>
              <a:cs typeface="+mn-ea"/>
              <a:sym typeface="Calibri"/>
            </a:endParaRPr>
          </a:p>
        </p:txBody>
      </p:sp>
      <p:sp>
        <p:nvSpPr>
          <p:cNvPr id="79" name="Oval 7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619318" y="5275901"/>
            <a:ext cx="867226" cy="867226"/>
          </a:xfrm>
          <a:prstGeom prst="ellipse">
            <a:avLst/>
          </a:prstGeom>
          <a:solidFill>
            <a:schemeClr val="accent4"/>
          </a:solidFill>
          <a:ln w="25400">
            <a:noFill/>
          </a:ln>
          <a:effectLst>
            <a:outerShdw blurRad="3556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solidFill>
                <a:schemeClr val="tx1">
                  <a:lumMod val="50000"/>
                  <a:lumOff val="50000"/>
                </a:schemeClr>
              </a:solidFill>
              <a:latin typeface="Calibri"/>
              <a:ea typeface="微软雅黑"/>
              <a:cs typeface="+mn-ea"/>
              <a:sym typeface="Calibri"/>
            </a:endParaRPr>
          </a:p>
        </p:txBody>
      </p:sp>
      <p:sp>
        <p:nvSpPr>
          <p:cNvPr id="80" name="Freeform 1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a:spLocks noEditPoints="1"/>
          </p:cNvSpPr>
          <p:nvPr/>
        </p:nvSpPr>
        <p:spPr bwMode="auto">
          <a:xfrm>
            <a:off x="898306" y="1109001"/>
            <a:ext cx="282041" cy="263991"/>
          </a:xfrm>
          <a:custGeom>
            <a:avLst/>
            <a:gdLst>
              <a:gd name="T0" fmla="*/ 2221 w 3375"/>
              <a:gd name="T1" fmla="*/ 1236 h 3159"/>
              <a:gd name="T2" fmla="*/ 2242 w 3375"/>
              <a:gd name="T3" fmla="*/ 1252 h 3159"/>
              <a:gd name="T4" fmla="*/ 2246 w 3375"/>
              <a:gd name="T5" fmla="*/ 1178 h 3159"/>
              <a:gd name="T6" fmla="*/ 2443 w 3375"/>
              <a:gd name="T7" fmla="*/ 1830 h 3159"/>
              <a:gd name="T8" fmla="*/ 1518 w 3375"/>
              <a:gd name="T9" fmla="*/ 982 h 3159"/>
              <a:gd name="T10" fmla="*/ 1704 w 3375"/>
              <a:gd name="T11" fmla="*/ 1062 h 3159"/>
              <a:gd name="T12" fmla="*/ 1771 w 3375"/>
              <a:gd name="T13" fmla="*/ 1272 h 3159"/>
              <a:gd name="T14" fmla="*/ 1664 w 3375"/>
              <a:gd name="T15" fmla="*/ 1457 h 3159"/>
              <a:gd name="T16" fmla="*/ 1501 w 3375"/>
              <a:gd name="T17" fmla="*/ 1570 h 3159"/>
              <a:gd name="T18" fmla="*/ 1787 w 3375"/>
              <a:gd name="T19" fmla="*/ 1655 h 3159"/>
              <a:gd name="T20" fmla="*/ 1208 w 3375"/>
              <a:gd name="T21" fmla="*/ 1662 h 3159"/>
              <a:gd name="T22" fmla="*/ 1331 w 3375"/>
              <a:gd name="T23" fmla="*/ 1466 h 3159"/>
              <a:gd name="T24" fmla="*/ 1494 w 3375"/>
              <a:gd name="T25" fmla="*/ 1347 h 3159"/>
              <a:gd name="T26" fmla="*/ 1558 w 3375"/>
              <a:gd name="T27" fmla="*/ 1236 h 3159"/>
              <a:gd name="T28" fmla="*/ 1470 w 3375"/>
              <a:gd name="T29" fmla="*/ 1173 h 3159"/>
              <a:gd name="T30" fmla="*/ 1358 w 3375"/>
              <a:gd name="T31" fmla="*/ 1243 h 3159"/>
              <a:gd name="T32" fmla="*/ 1203 w 3375"/>
              <a:gd name="T33" fmla="*/ 1144 h 3159"/>
              <a:gd name="T34" fmla="*/ 1300 w 3375"/>
              <a:gd name="T35" fmla="*/ 1038 h 3159"/>
              <a:gd name="T36" fmla="*/ 422 w 3375"/>
              <a:gd name="T37" fmla="*/ 734 h 3159"/>
              <a:gd name="T38" fmla="*/ 646 w 3375"/>
              <a:gd name="T39" fmla="*/ 863 h 3159"/>
              <a:gd name="T40" fmla="*/ 822 w 3375"/>
              <a:gd name="T41" fmla="*/ 1130 h 3159"/>
              <a:gd name="T42" fmla="*/ 827 w 3375"/>
              <a:gd name="T43" fmla="*/ 1309 h 3159"/>
              <a:gd name="T44" fmla="*/ 726 w 3375"/>
              <a:gd name="T45" fmla="*/ 1446 h 3159"/>
              <a:gd name="T46" fmla="*/ 639 w 3375"/>
              <a:gd name="T47" fmla="*/ 1590 h 3159"/>
              <a:gd name="T48" fmla="*/ 738 w 3375"/>
              <a:gd name="T49" fmla="*/ 1805 h 3159"/>
              <a:gd name="T50" fmla="*/ 955 w 3375"/>
              <a:gd name="T51" fmla="*/ 2061 h 3159"/>
              <a:gd name="T52" fmla="*/ 1210 w 3375"/>
              <a:gd name="T53" fmla="*/ 2306 h 3159"/>
              <a:gd name="T54" fmla="*/ 1454 w 3375"/>
              <a:gd name="T55" fmla="*/ 2483 h 3159"/>
              <a:gd name="T56" fmla="*/ 1636 w 3375"/>
              <a:gd name="T57" fmla="*/ 2506 h 3159"/>
              <a:gd name="T58" fmla="*/ 1770 w 3375"/>
              <a:gd name="T59" fmla="*/ 2381 h 3159"/>
              <a:gd name="T60" fmla="*/ 1919 w 3375"/>
              <a:gd name="T61" fmla="*/ 2316 h 3159"/>
              <a:gd name="T62" fmla="*/ 2131 w 3375"/>
              <a:gd name="T63" fmla="*/ 2388 h 3159"/>
              <a:gd name="T64" fmla="*/ 2384 w 3375"/>
              <a:gd name="T65" fmla="*/ 2614 h 3159"/>
              <a:gd name="T66" fmla="*/ 2412 w 3375"/>
              <a:gd name="T67" fmla="*/ 2819 h 3159"/>
              <a:gd name="T68" fmla="*/ 2291 w 3375"/>
              <a:gd name="T69" fmla="*/ 2989 h 3159"/>
              <a:gd name="T70" fmla="*/ 2131 w 3375"/>
              <a:gd name="T71" fmla="*/ 3129 h 3159"/>
              <a:gd name="T72" fmla="*/ 1830 w 3375"/>
              <a:gd name="T73" fmla="*/ 3144 h 3159"/>
              <a:gd name="T74" fmla="*/ 1384 w 3375"/>
              <a:gd name="T75" fmla="*/ 2974 h 3159"/>
              <a:gd name="T76" fmla="*/ 859 w 3375"/>
              <a:gd name="T77" fmla="*/ 2602 h 3159"/>
              <a:gd name="T78" fmla="*/ 372 w 3375"/>
              <a:gd name="T79" fmla="*/ 2070 h 3159"/>
              <a:gd name="T80" fmla="*/ 89 w 3375"/>
              <a:gd name="T81" fmla="*/ 1571 h 3159"/>
              <a:gd name="T82" fmla="*/ 0 w 3375"/>
              <a:gd name="T83" fmla="*/ 1179 h 3159"/>
              <a:gd name="T84" fmla="*/ 86 w 3375"/>
              <a:gd name="T85" fmla="*/ 956 h 3159"/>
              <a:gd name="T86" fmla="*/ 239 w 3375"/>
              <a:gd name="T87" fmla="*/ 807 h 3159"/>
              <a:gd name="T88" fmla="*/ 422 w 3375"/>
              <a:gd name="T89" fmla="*/ 734 h 3159"/>
              <a:gd name="T90" fmla="*/ 2434 w 3375"/>
              <a:gd name="T91" fmla="*/ 110 h 3159"/>
              <a:gd name="T92" fmla="*/ 2966 w 3375"/>
              <a:gd name="T93" fmla="*/ 475 h 3159"/>
              <a:gd name="T94" fmla="*/ 3298 w 3375"/>
              <a:gd name="T95" fmla="*/ 1030 h 3159"/>
              <a:gd name="T96" fmla="*/ 3364 w 3375"/>
              <a:gd name="T97" fmla="*/ 1692 h 3159"/>
              <a:gd name="T98" fmla="*/ 3155 w 3375"/>
              <a:gd name="T99" fmla="*/ 2287 h 3159"/>
              <a:gd name="T100" fmla="*/ 2733 w 3375"/>
              <a:gd name="T101" fmla="*/ 2737 h 3159"/>
              <a:gd name="T102" fmla="*/ 2574 w 3375"/>
              <a:gd name="T103" fmla="*/ 2633 h 3159"/>
              <a:gd name="T104" fmla="*/ 2907 w 3375"/>
              <a:gd name="T105" fmla="*/ 2260 h 3159"/>
              <a:gd name="T106" fmla="*/ 3132 w 3375"/>
              <a:gd name="T107" fmla="*/ 1742 h 3159"/>
              <a:gd name="T108" fmla="*/ 3057 w 3375"/>
              <a:gd name="T109" fmla="*/ 1016 h 3159"/>
              <a:gd name="T110" fmla="*/ 2716 w 3375"/>
              <a:gd name="T111" fmla="*/ 540 h 3159"/>
              <a:gd name="T112" fmla="*/ 2197 w 3375"/>
              <a:gd name="T113" fmla="*/ 264 h 3159"/>
              <a:gd name="T114" fmla="*/ 1463 w 3375"/>
              <a:gd name="T115" fmla="*/ 288 h 3159"/>
              <a:gd name="T116" fmla="*/ 964 w 3375"/>
              <a:gd name="T117" fmla="*/ 598 h 3159"/>
              <a:gd name="T118" fmla="*/ 640 w 3375"/>
              <a:gd name="T119" fmla="*/ 641 h 3159"/>
              <a:gd name="T120" fmla="*/ 1090 w 3375"/>
              <a:gd name="T121" fmla="*/ 220 h 3159"/>
              <a:gd name="T122" fmla="*/ 1683 w 3375"/>
              <a:gd name="T123" fmla="*/ 12 h 3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75" h="3159">
                <a:moveTo>
                  <a:pt x="2246" y="1178"/>
                </a:moveTo>
                <a:lnTo>
                  <a:pt x="2246" y="1180"/>
                </a:lnTo>
                <a:lnTo>
                  <a:pt x="2243" y="1186"/>
                </a:lnTo>
                <a:lnTo>
                  <a:pt x="2240" y="1197"/>
                </a:lnTo>
                <a:lnTo>
                  <a:pt x="2235" y="1208"/>
                </a:lnTo>
                <a:lnTo>
                  <a:pt x="2229" y="1222"/>
                </a:lnTo>
                <a:lnTo>
                  <a:pt x="2221" y="1236"/>
                </a:lnTo>
                <a:lnTo>
                  <a:pt x="2214" y="1251"/>
                </a:lnTo>
                <a:lnTo>
                  <a:pt x="2206" y="1264"/>
                </a:lnTo>
                <a:lnTo>
                  <a:pt x="2079" y="1456"/>
                </a:lnTo>
                <a:lnTo>
                  <a:pt x="2079" y="1458"/>
                </a:lnTo>
                <a:lnTo>
                  <a:pt x="2242" y="1458"/>
                </a:lnTo>
                <a:lnTo>
                  <a:pt x="2242" y="1271"/>
                </a:lnTo>
                <a:lnTo>
                  <a:pt x="2242" y="1252"/>
                </a:lnTo>
                <a:lnTo>
                  <a:pt x="2243" y="1233"/>
                </a:lnTo>
                <a:lnTo>
                  <a:pt x="2245" y="1216"/>
                </a:lnTo>
                <a:lnTo>
                  <a:pt x="2246" y="1201"/>
                </a:lnTo>
                <a:lnTo>
                  <a:pt x="2247" y="1188"/>
                </a:lnTo>
                <a:lnTo>
                  <a:pt x="2248" y="1181"/>
                </a:lnTo>
                <a:lnTo>
                  <a:pt x="2249" y="1178"/>
                </a:lnTo>
                <a:lnTo>
                  <a:pt x="2246" y="1178"/>
                </a:lnTo>
                <a:close/>
                <a:moveTo>
                  <a:pt x="2194" y="995"/>
                </a:moveTo>
                <a:lnTo>
                  <a:pt x="2443" y="995"/>
                </a:lnTo>
                <a:lnTo>
                  <a:pt x="2443" y="1458"/>
                </a:lnTo>
                <a:lnTo>
                  <a:pt x="2543" y="1458"/>
                </a:lnTo>
                <a:lnTo>
                  <a:pt x="2543" y="1627"/>
                </a:lnTo>
                <a:lnTo>
                  <a:pt x="2443" y="1627"/>
                </a:lnTo>
                <a:lnTo>
                  <a:pt x="2443" y="1830"/>
                </a:lnTo>
                <a:lnTo>
                  <a:pt x="2242" y="1830"/>
                </a:lnTo>
                <a:lnTo>
                  <a:pt x="2242" y="1627"/>
                </a:lnTo>
                <a:lnTo>
                  <a:pt x="1872" y="1627"/>
                </a:lnTo>
                <a:lnTo>
                  <a:pt x="1872" y="1503"/>
                </a:lnTo>
                <a:lnTo>
                  <a:pt x="2194" y="995"/>
                </a:lnTo>
                <a:close/>
                <a:moveTo>
                  <a:pt x="1489" y="981"/>
                </a:moveTo>
                <a:lnTo>
                  <a:pt x="1518" y="982"/>
                </a:lnTo>
                <a:lnTo>
                  <a:pt x="1547" y="986"/>
                </a:lnTo>
                <a:lnTo>
                  <a:pt x="1576" y="992"/>
                </a:lnTo>
                <a:lnTo>
                  <a:pt x="1605" y="1000"/>
                </a:lnTo>
                <a:lnTo>
                  <a:pt x="1632" y="1011"/>
                </a:lnTo>
                <a:lnTo>
                  <a:pt x="1658" y="1026"/>
                </a:lnTo>
                <a:lnTo>
                  <a:pt x="1682" y="1042"/>
                </a:lnTo>
                <a:lnTo>
                  <a:pt x="1704" y="1062"/>
                </a:lnTo>
                <a:lnTo>
                  <a:pt x="1724" y="1083"/>
                </a:lnTo>
                <a:lnTo>
                  <a:pt x="1741" y="1109"/>
                </a:lnTo>
                <a:lnTo>
                  <a:pt x="1755" y="1136"/>
                </a:lnTo>
                <a:lnTo>
                  <a:pt x="1765" y="1167"/>
                </a:lnTo>
                <a:lnTo>
                  <a:pt x="1771" y="1200"/>
                </a:lnTo>
                <a:lnTo>
                  <a:pt x="1773" y="1236"/>
                </a:lnTo>
                <a:lnTo>
                  <a:pt x="1771" y="1272"/>
                </a:lnTo>
                <a:lnTo>
                  <a:pt x="1765" y="1305"/>
                </a:lnTo>
                <a:lnTo>
                  <a:pt x="1755" y="1336"/>
                </a:lnTo>
                <a:lnTo>
                  <a:pt x="1742" y="1364"/>
                </a:lnTo>
                <a:lnTo>
                  <a:pt x="1725" y="1390"/>
                </a:lnTo>
                <a:lnTo>
                  <a:pt x="1707" y="1414"/>
                </a:lnTo>
                <a:lnTo>
                  <a:pt x="1686" y="1437"/>
                </a:lnTo>
                <a:lnTo>
                  <a:pt x="1664" y="1457"/>
                </a:lnTo>
                <a:lnTo>
                  <a:pt x="1640" y="1477"/>
                </a:lnTo>
                <a:lnTo>
                  <a:pt x="1617" y="1494"/>
                </a:lnTo>
                <a:lnTo>
                  <a:pt x="1592" y="1510"/>
                </a:lnTo>
                <a:lnTo>
                  <a:pt x="1569" y="1527"/>
                </a:lnTo>
                <a:lnTo>
                  <a:pt x="1545" y="1542"/>
                </a:lnTo>
                <a:lnTo>
                  <a:pt x="1523" y="1556"/>
                </a:lnTo>
                <a:lnTo>
                  <a:pt x="1501" y="1570"/>
                </a:lnTo>
                <a:lnTo>
                  <a:pt x="1483" y="1584"/>
                </a:lnTo>
                <a:lnTo>
                  <a:pt x="1466" y="1597"/>
                </a:lnTo>
                <a:lnTo>
                  <a:pt x="1452" y="1611"/>
                </a:lnTo>
                <a:lnTo>
                  <a:pt x="1441" y="1625"/>
                </a:lnTo>
                <a:lnTo>
                  <a:pt x="1435" y="1639"/>
                </a:lnTo>
                <a:lnTo>
                  <a:pt x="1432" y="1655"/>
                </a:lnTo>
                <a:lnTo>
                  <a:pt x="1787" y="1655"/>
                </a:lnTo>
                <a:lnTo>
                  <a:pt x="1787" y="1830"/>
                </a:lnTo>
                <a:lnTo>
                  <a:pt x="1209" y="1830"/>
                </a:lnTo>
                <a:lnTo>
                  <a:pt x="1204" y="1798"/>
                </a:lnTo>
                <a:lnTo>
                  <a:pt x="1201" y="1768"/>
                </a:lnTo>
                <a:lnTo>
                  <a:pt x="1199" y="1740"/>
                </a:lnTo>
                <a:lnTo>
                  <a:pt x="1202" y="1699"/>
                </a:lnTo>
                <a:lnTo>
                  <a:pt x="1208" y="1662"/>
                </a:lnTo>
                <a:lnTo>
                  <a:pt x="1217" y="1627"/>
                </a:lnTo>
                <a:lnTo>
                  <a:pt x="1230" y="1594"/>
                </a:lnTo>
                <a:lnTo>
                  <a:pt x="1247" y="1565"/>
                </a:lnTo>
                <a:lnTo>
                  <a:pt x="1265" y="1537"/>
                </a:lnTo>
                <a:lnTo>
                  <a:pt x="1286" y="1513"/>
                </a:lnTo>
                <a:lnTo>
                  <a:pt x="1307" y="1489"/>
                </a:lnTo>
                <a:lnTo>
                  <a:pt x="1331" y="1466"/>
                </a:lnTo>
                <a:lnTo>
                  <a:pt x="1355" y="1446"/>
                </a:lnTo>
                <a:lnTo>
                  <a:pt x="1380" y="1428"/>
                </a:lnTo>
                <a:lnTo>
                  <a:pt x="1404" y="1409"/>
                </a:lnTo>
                <a:lnTo>
                  <a:pt x="1428" y="1393"/>
                </a:lnTo>
                <a:lnTo>
                  <a:pt x="1451" y="1377"/>
                </a:lnTo>
                <a:lnTo>
                  <a:pt x="1474" y="1361"/>
                </a:lnTo>
                <a:lnTo>
                  <a:pt x="1494" y="1347"/>
                </a:lnTo>
                <a:lnTo>
                  <a:pt x="1513" y="1332"/>
                </a:lnTo>
                <a:lnTo>
                  <a:pt x="1528" y="1317"/>
                </a:lnTo>
                <a:lnTo>
                  <a:pt x="1541" y="1303"/>
                </a:lnTo>
                <a:lnTo>
                  <a:pt x="1551" y="1288"/>
                </a:lnTo>
                <a:lnTo>
                  <a:pt x="1558" y="1272"/>
                </a:lnTo>
                <a:lnTo>
                  <a:pt x="1560" y="1256"/>
                </a:lnTo>
                <a:lnTo>
                  <a:pt x="1558" y="1236"/>
                </a:lnTo>
                <a:lnTo>
                  <a:pt x="1551" y="1219"/>
                </a:lnTo>
                <a:lnTo>
                  <a:pt x="1542" y="1205"/>
                </a:lnTo>
                <a:lnTo>
                  <a:pt x="1531" y="1192"/>
                </a:lnTo>
                <a:lnTo>
                  <a:pt x="1518" y="1184"/>
                </a:lnTo>
                <a:lnTo>
                  <a:pt x="1502" y="1178"/>
                </a:lnTo>
                <a:lnTo>
                  <a:pt x="1486" y="1175"/>
                </a:lnTo>
                <a:lnTo>
                  <a:pt x="1470" y="1173"/>
                </a:lnTo>
                <a:lnTo>
                  <a:pt x="1447" y="1176"/>
                </a:lnTo>
                <a:lnTo>
                  <a:pt x="1427" y="1182"/>
                </a:lnTo>
                <a:lnTo>
                  <a:pt x="1408" y="1192"/>
                </a:lnTo>
                <a:lnTo>
                  <a:pt x="1392" y="1205"/>
                </a:lnTo>
                <a:lnTo>
                  <a:pt x="1379" y="1218"/>
                </a:lnTo>
                <a:lnTo>
                  <a:pt x="1366" y="1231"/>
                </a:lnTo>
                <a:lnTo>
                  <a:pt x="1358" y="1243"/>
                </a:lnTo>
                <a:lnTo>
                  <a:pt x="1351" y="1253"/>
                </a:lnTo>
                <a:lnTo>
                  <a:pt x="1348" y="1260"/>
                </a:lnTo>
                <a:lnTo>
                  <a:pt x="1346" y="1262"/>
                </a:lnTo>
                <a:lnTo>
                  <a:pt x="1195" y="1161"/>
                </a:lnTo>
                <a:lnTo>
                  <a:pt x="1196" y="1159"/>
                </a:lnTo>
                <a:lnTo>
                  <a:pt x="1199" y="1153"/>
                </a:lnTo>
                <a:lnTo>
                  <a:pt x="1203" y="1144"/>
                </a:lnTo>
                <a:lnTo>
                  <a:pt x="1210" y="1132"/>
                </a:lnTo>
                <a:lnTo>
                  <a:pt x="1219" y="1119"/>
                </a:lnTo>
                <a:lnTo>
                  <a:pt x="1230" y="1103"/>
                </a:lnTo>
                <a:lnTo>
                  <a:pt x="1244" y="1087"/>
                </a:lnTo>
                <a:lnTo>
                  <a:pt x="1260" y="1071"/>
                </a:lnTo>
                <a:lnTo>
                  <a:pt x="1278" y="1054"/>
                </a:lnTo>
                <a:lnTo>
                  <a:pt x="1300" y="1038"/>
                </a:lnTo>
                <a:lnTo>
                  <a:pt x="1324" y="1023"/>
                </a:lnTo>
                <a:lnTo>
                  <a:pt x="1351" y="1008"/>
                </a:lnTo>
                <a:lnTo>
                  <a:pt x="1381" y="997"/>
                </a:lnTo>
                <a:lnTo>
                  <a:pt x="1413" y="989"/>
                </a:lnTo>
                <a:lnTo>
                  <a:pt x="1449" y="983"/>
                </a:lnTo>
                <a:lnTo>
                  <a:pt x="1489" y="981"/>
                </a:lnTo>
                <a:close/>
                <a:moveTo>
                  <a:pt x="422" y="734"/>
                </a:moveTo>
                <a:lnTo>
                  <a:pt x="452" y="738"/>
                </a:lnTo>
                <a:lnTo>
                  <a:pt x="482" y="746"/>
                </a:lnTo>
                <a:lnTo>
                  <a:pt x="513" y="758"/>
                </a:lnTo>
                <a:lnTo>
                  <a:pt x="545" y="775"/>
                </a:lnTo>
                <a:lnTo>
                  <a:pt x="578" y="799"/>
                </a:lnTo>
                <a:lnTo>
                  <a:pt x="612" y="827"/>
                </a:lnTo>
                <a:lnTo>
                  <a:pt x="646" y="863"/>
                </a:lnTo>
                <a:lnTo>
                  <a:pt x="682" y="905"/>
                </a:lnTo>
                <a:lnTo>
                  <a:pt x="716" y="948"/>
                </a:lnTo>
                <a:lnTo>
                  <a:pt x="746" y="990"/>
                </a:lnTo>
                <a:lnTo>
                  <a:pt x="771" y="1028"/>
                </a:lnTo>
                <a:lnTo>
                  <a:pt x="792" y="1065"/>
                </a:lnTo>
                <a:lnTo>
                  <a:pt x="809" y="1098"/>
                </a:lnTo>
                <a:lnTo>
                  <a:pt x="822" y="1130"/>
                </a:lnTo>
                <a:lnTo>
                  <a:pt x="833" y="1161"/>
                </a:lnTo>
                <a:lnTo>
                  <a:pt x="839" y="1188"/>
                </a:lnTo>
                <a:lnTo>
                  <a:pt x="842" y="1215"/>
                </a:lnTo>
                <a:lnTo>
                  <a:pt x="843" y="1240"/>
                </a:lnTo>
                <a:lnTo>
                  <a:pt x="841" y="1264"/>
                </a:lnTo>
                <a:lnTo>
                  <a:pt x="836" y="1288"/>
                </a:lnTo>
                <a:lnTo>
                  <a:pt x="827" y="1309"/>
                </a:lnTo>
                <a:lnTo>
                  <a:pt x="818" y="1329"/>
                </a:lnTo>
                <a:lnTo>
                  <a:pt x="807" y="1350"/>
                </a:lnTo>
                <a:lnTo>
                  <a:pt x="794" y="1369"/>
                </a:lnTo>
                <a:lnTo>
                  <a:pt x="778" y="1389"/>
                </a:lnTo>
                <a:lnTo>
                  <a:pt x="762" y="1408"/>
                </a:lnTo>
                <a:lnTo>
                  <a:pt x="745" y="1428"/>
                </a:lnTo>
                <a:lnTo>
                  <a:pt x="726" y="1446"/>
                </a:lnTo>
                <a:lnTo>
                  <a:pt x="707" y="1465"/>
                </a:lnTo>
                <a:lnTo>
                  <a:pt x="687" y="1485"/>
                </a:lnTo>
                <a:lnTo>
                  <a:pt x="667" y="1505"/>
                </a:lnTo>
                <a:lnTo>
                  <a:pt x="653" y="1523"/>
                </a:lnTo>
                <a:lnTo>
                  <a:pt x="643" y="1543"/>
                </a:lnTo>
                <a:lnTo>
                  <a:pt x="639" y="1566"/>
                </a:lnTo>
                <a:lnTo>
                  <a:pt x="639" y="1590"/>
                </a:lnTo>
                <a:lnTo>
                  <a:pt x="643" y="1616"/>
                </a:lnTo>
                <a:lnTo>
                  <a:pt x="650" y="1644"/>
                </a:lnTo>
                <a:lnTo>
                  <a:pt x="662" y="1674"/>
                </a:lnTo>
                <a:lnTo>
                  <a:pt x="677" y="1705"/>
                </a:lnTo>
                <a:lnTo>
                  <a:pt x="694" y="1737"/>
                </a:lnTo>
                <a:lnTo>
                  <a:pt x="715" y="1770"/>
                </a:lnTo>
                <a:lnTo>
                  <a:pt x="738" y="1805"/>
                </a:lnTo>
                <a:lnTo>
                  <a:pt x="764" y="1840"/>
                </a:lnTo>
                <a:lnTo>
                  <a:pt x="793" y="1876"/>
                </a:lnTo>
                <a:lnTo>
                  <a:pt x="822" y="1912"/>
                </a:lnTo>
                <a:lnTo>
                  <a:pt x="853" y="1949"/>
                </a:lnTo>
                <a:lnTo>
                  <a:pt x="887" y="1986"/>
                </a:lnTo>
                <a:lnTo>
                  <a:pt x="920" y="2023"/>
                </a:lnTo>
                <a:lnTo>
                  <a:pt x="955" y="2061"/>
                </a:lnTo>
                <a:lnTo>
                  <a:pt x="990" y="2096"/>
                </a:lnTo>
                <a:lnTo>
                  <a:pt x="1026" y="2133"/>
                </a:lnTo>
                <a:lnTo>
                  <a:pt x="1063" y="2169"/>
                </a:lnTo>
                <a:lnTo>
                  <a:pt x="1099" y="2205"/>
                </a:lnTo>
                <a:lnTo>
                  <a:pt x="1136" y="2240"/>
                </a:lnTo>
                <a:lnTo>
                  <a:pt x="1173" y="2273"/>
                </a:lnTo>
                <a:lnTo>
                  <a:pt x="1210" y="2306"/>
                </a:lnTo>
                <a:lnTo>
                  <a:pt x="1247" y="2338"/>
                </a:lnTo>
                <a:lnTo>
                  <a:pt x="1284" y="2367"/>
                </a:lnTo>
                <a:lnTo>
                  <a:pt x="1319" y="2395"/>
                </a:lnTo>
                <a:lnTo>
                  <a:pt x="1354" y="2421"/>
                </a:lnTo>
                <a:lnTo>
                  <a:pt x="1389" y="2444"/>
                </a:lnTo>
                <a:lnTo>
                  <a:pt x="1423" y="2465"/>
                </a:lnTo>
                <a:lnTo>
                  <a:pt x="1454" y="2483"/>
                </a:lnTo>
                <a:lnTo>
                  <a:pt x="1486" y="2497"/>
                </a:lnTo>
                <a:lnTo>
                  <a:pt x="1516" y="2509"/>
                </a:lnTo>
                <a:lnTo>
                  <a:pt x="1543" y="2517"/>
                </a:lnTo>
                <a:lnTo>
                  <a:pt x="1570" y="2521"/>
                </a:lnTo>
                <a:lnTo>
                  <a:pt x="1593" y="2520"/>
                </a:lnTo>
                <a:lnTo>
                  <a:pt x="1616" y="2516"/>
                </a:lnTo>
                <a:lnTo>
                  <a:pt x="1636" y="2506"/>
                </a:lnTo>
                <a:lnTo>
                  <a:pt x="1654" y="2492"/>
                </a:lnTo>
                <a:lnTo>
                  <a:pt x="1674" y="2472"/>
                </a:lnTo>
                <a:lnTo>
                  <a:pt x="1694" y="2452"/>
                </a:lnTo>
                <a:lnTo>
                  <a:pt x="1713" y="2433"/>
                </a:lnTo>
                <a:lnTo>
                  <a:pt x="1733" y="2414"/>
                </a:lnTo>
                <a:lnTo>
                  <a:pt x="1751" y="2397"/>
                </a:lnTo>
                <a:lnTo>
                  <a:pt x="1770" y="2381"/>
                </a:lnTo>
                <a:lnTo>
                  <a:pt x="1790" y="2365"/>
                </a:lnTo>
                <a:lnTo>
                  <a:pt x="1809" y="2352"/>
                </a:lnTo>
                <a:lnTo>
                  <a:pt x="1830" y="2341"/>
                </a:lnTo>
                <a:lnTo>
                  <a:pt x="1850" y="2332"/>
                </a:lnTo>
                <a:lnTo>
                  <a:pt x="1873" y="2324"/>
                </a:lnTo>
                <a:lnTo>
                  <a:pt x="1895" y="2319"/>
                </a:lnTo>
                <a:lnTo>
                  <a:pt x="1919" y="2316"/>
                </a:lnTo>
                <a:lnTo>
                  <a:pt x="1944" y="2317"/>
                </a:lnTo>
                <a:lnTo>
                  <a:pt x="1971" y="2320"/>
                </a:lnTo>
                <a:lnTo>
                  <a:pt x="1999" y="2326"/>
                </a:lnTo>
                <a:lnTo>
                  <a:pt x="2029" y="2337"/>
                </a:lnTo>
                <a:lnTo>
                  <a:pt x="2061" y="2350"/>
                </a:lnTo>
                <a:lnTo>
                  <a:pt x="2095" y="2367"/>
                </a:lnTo>
                <a:lnTo>
                  <a:pt x="2131" y="2388"/>
                </a:lnTo>
                <a:lnTo>
                  <a:pt x="2170" y="2413"/>
                </a:lnTo>
                <a:lnTo>
                  <a:pt x="2211" y="2443"/>
                </a:lnTo>
                <a:lnTo>
                  <a:pt x="2255" y="2477"/>
                </a:lnTo>
                <a:lnTo>
                  <a:pt x="2297" y="2513"/>
                </a:lnTo>
                <a:lnTo>
                  <a:pt x="2332" y="2547"/>
                </a:lnTo>
                <a:lnTo>
                  <a:pt x="2360" y="2581"/>
                </a:lnTo>
                <a:lnTo>
                  <a:pt x="2384" y="2614"/>
                </a:lnTo>
                <a:lnTo>
                  <a:pt x="2401" y="2647"/>
                </a:lnTo>
                <a:lnTo>
                  <a:pt x="2414" y="2677"/>
                </a:lnTo>
                <a:lnTo>
                  <a:pt x="2422" y="2707"/>
                </a:lnTo>
                <a:lnTo>
                  <a:pt x="2425" y="2737"/>
                </a:lnTo>
                <a:lnTo>
                  <a:pt x="2424" y="2765"/>
                </a:lnTo>
                <a:lnTo>
                  <a:pt x="2419" y="2793"/>
                </a:lnTo>
                <a:lnTo>
                  <a:pt x="2412" y="2819"/>
                </a:lnTo>
                <a:lnTo>
                  <a:pt x="2400" y="2846"/>
                </a:lnTo>
                <a:lnTo>
                  <a:pt x="2387" y="2872"/>
                </a:lnTo>
                <a:lnTo>
                  <a:pt x="2371" y="2896"/>
                </a:lnTo>
                <a:lnTo>
                  <a:pt x="2352" y="2920"/>
                </a:lnTo>
                <a:lnTo>
                  <a:pt x="2333" y="2943"/>
                </a:lnTo>
                <a:lnTo>
                  <a:pt x="2312" y="2967"/>
                </a:lnTo>
                <a:lnTo>
                  <a:pt x="2291" y="2989"/>
                </a:lnTo>
                <a:lnTo>
                  <a:pt x="2269" y="3011"/>
                </a:lnTo>
                <a:lnTo>
                  <a:pt x="2247" y="3032"/>
                </a:lnTo>
                <a:lnTo>
                  <a:pt x="2224" y="3054"/>
                </a:lnTo>
                <a:lnTo>
                  <a:pt x="2203" y="3074"/>
                </a:lnTo>
                <a:lnTo>
                  <a:pt x="2183" y="3093"/>
                </a:lnTo>
                <a:lnTo>
                  <a:pt x="2160" y="3113"/>
                </a:lnTo>
                <a:lnTo>
                  <a:pt x="2131" y="3129"/>
                </a:lnTo>
                <a:lnTo>
                  <a:pt x="2100" y="3142"/>
                </a:lnTo>
                <a:lnTo>
                  <a:pt x="2064" y="3151"/>
                </a:lnTo>
                <a:lnTo>
                  <a:pt x="2024" y="3157"/>
                </a:lnTo>
                <a:lnTo>
                  <a:pt x="1980" y="3159"/>
                </a:lnTo>
                <a:lnTo>
                  <a:pt x="1933" y="3158"/>
                </a:lnTo>
                <a:lnTo>
                  <a:pt x="1883" y="3153"/>
                </a:lnTo>
                <a:lnTo>
                  <a:pt x="1830" y="3144"/>
                </a:lnTo>
                <a:lnTo>
                  <a:pt x="1773" y="3131"/>
                </a:lnTo>
                <a:lnTo>
                  <a:pt x="1714" y="3115"/>
                </a:lnTo>
                <a:lnTo>
                  <a:pt x="1652" y="3094"/>
                </a:lnTo>
                <a:lnTo>
                  <a:pt x="1588" y="3071"/>
                </a:lnTo>
                <a:lnTo>
                  <a:pt x="1522" y="3042"/>
                </a:lnTo>
                <a:lnTo>
                  <a:pt x="1453" y="3011"/>
                </a:lnTo>
                <a:lnTo>
                  <a:pt x="1384" y="2974"/>
                </a:lnTo>
                <a:lnTo>
                  <a:pt x="1312" y="2934"/>
                </a:lnTo>
                <a:lnTo>
                  <a:pt x="1240" y="2889"/>
                </a:lnTo>
                <a:lnTo>
                  <a:pt x="1165" y="2841"/>
                </a:lnTo>
                <a:lnTo>
                  <a:pt x="1089" y="2788"/>
                </a:lnTo>
                <a:lnTo>
                  <a:pt x="1014" y="2729"/>
                </a:lnTo>
                <a:lnTo>
                  <a:pt x="937" y="2668"/>
                </a:lnTo>
                <a:lnTo>
                  <a:pt x="859" y="2602"/>
                </a:lnTo>
                <a:lnTo>
                  <a:pt x="781" y="2531"/>
                </a:lnTo>
                <a:lnTo>
                  <a:pt x="704" y="2455"/>
                </a:lnTo>
                <a:lnTo>
                  <a:pt x="629" y="2378"/>
                </a:lnTo>
                <a:lnTo>
                  <a:pt x="557" y="2300"/>
                </a:lnTo>
                <a:lnTo>
                  <a:pt x="491" y="2222"/>
                </a:lnTo>
                <a:lnTo>
                  <a:pt x="430" y="2145"/>
                </a:lnTo>
                <a:lnTo>
                  <a:pt x="372" y="2070"/>
                </a:lnTo>
                <a:lnTo>
                  <a:pt x="319" y="1994"/>
                </a:lnTo>
                <a:lnTo>
                  <a:pt x="270" y="1921"/>
                </a:lnTo>
                <a:lnTo>
                  <a:pt x="225" y="1847"/>
                </a:lnTo>
                <a:lnTo>
                  <a:pt x="185" y="1775"/>
                </a:lnTo>
                <a:lnTo>
                  <a:pt x="148" y="1706"/>
                </a:lnTo>
                <a:lnTo>
                  <a:pt x="117" y="1637"/>
                </a:lnTo>
                <a:lnTo>
                  <a:pt x="89" y="1571"/>
                </a:lnTo>
                <a:lnTo>
                  <a:pt x="64" y="1507"/>
                </a:lnTo>
                <a:lnTo>
                  <a:pt x="44" y="1446"/>
                </a:lnTo>
                <a:lnTo>
                  <a:pt x="28" y="1387"/>
                </a:lnTo>
                <a:lnTo>
                  <a:pt x="15" y="1330"/>
                </a:lnTo>
                <a:lnTo>
                  <a:pt x="6" y="1276"/>
                </a:lnTo>
                <a:lnTo>
                  <a:pt x="1" y="1226"/>
                </a:lnTo>
                <a:lnTo>
                  <a:pt x="0" y="1179"/>
                </a:lnTo>
                <a:lnTo>
                  <a:pt x="2" y="1135"/>
                </a:lnTo>
                <a:lnTo>
                  <a:pt x="8" y="1095"/>
                </a:lnTo>
                <a:lnTo>
                  <a:pt x="17" y="1059"/>
                </a:lnTo>
                <a:lnTo>
                  <a:pt x="30" y="1028"/>
                </a:lnTo>
                <a:lnTo>
                  <a:pt x="46" y="1000"/>
                </a:lnTo>
                <a:lnTo>
                  <a:pt x="65" y="977"/>
                </a:lnTo>
                <a:lnTo>
                  <a:pt x="86" y="956"/>
                </a:lnTo>
                <a:lnTo>
                  <a:pt x="106" y="935"/>
                </a:lnTo>
                <a:lnTo>
                  <a:pt x="127" y="912"/>
                </a:lnTo>
                <a:lnTo>
                  <a:pt x="148" y="891"/>
                </a:lnTo>
                <a:lnTo>
                  <a:pt x="171" y="868"/>
                </a:lnTo>
                <a:lnTo>
                  <a:pt x="192" y="847"/>
                </a:lnTo>
                <a:lnTo>
                  <a:pt x="216" y="826"/>
                </a:lnTo>
                <a:lnTo>
                  <a:pt x="239" y="807"/>
                </a:lnTo>
                <a:lnTo>
                  <a:pt x="263" y="789"/>
                </a:lnTo>
                <a:lnTo>
                  <a:pt x="288" y="773"/>
                </a:lnTo>
                <a:lnTo>
                  <a:pt x="314" y="759"/>
                </a:lnTo>
                <a:lnTo>
                  <a:pt x="340" y="749"/>
                </a:lnTo>
                <a:lnTo>
                  <a:pt x="367" y="740"/>
                </a:lnTo>
                <a:lnTo>
                  <a:pt x="395" y="735"/>
                </a:lnTo>
                <a:lnTo>
                  <a:pt x="422" y="734"/>
                </a:lnTo>
                <a:close/>
                <a:moveTo>
                  <a:pt x="1872" y="0"/>
                </a:moveTo>
                <a:lnTo>
                  <a:pt x="1970" y="4"/>
                </a:lnTo>
                <a:lnTo>
                  <a:pt x="2067" y="13"/>
                </a:lnTo>
                <a:lnTo>
                  <a:pt x="2162" y="29"/>
                </a:lnTo>
                <a:lnTo>
                  <a:pt x="2255" y="50"/>
                </a:lnTo>
                <a:lnTo>
                  <a:pt x="2346" y="77"/>
                </a:lnTo>
                <a:lnTo>
                  <a:pt x="2434" y="110"/>
                </a:lnTo>
                <a:lnTo>
                  <a:pt x="2520" y="147"/>
                </a:lnTo>
                <a:lnTo>
                  <a:pt x="2603" y="190"/>
                </a:lnTo>
                <a:lnTo>
                  <a:pt x="2683" y="238"/>
                </a:lnTo>
                <a:lnTo>
                  <a:pt x="2758" y="291"/>
                </a:lnTo>
                <a:lnTo>
                  <a:pt x="2832" y="348"/>
                </a:lnTo>
                <a:lnTo>
                  <a:pt x="2900" y="409"/>
                </a:lnTo>
                <a:lnTo>
                  <a:pt x="2966" y="475"/>
                </a:lnTo>
                <a:lnTo>
                  <a:pt x="3027" y="544"/>
                </a:lnTo>
                <a:lnTo>
                  <a:pt x="3085" y="617"/>
                </a:lnTo>
                <a:lnTo>
                  <a:pt x="3137" y="693"/>
                </a:lnTo>
                <a:lnTo>
                  <a:pt x="3185" y="773"/>
                </a:lnTo>
                <a:lnTo>
                  <a:pt x="3228" y="855"/>
                </a:lnTo>
                <a:lnTo>
                  <a:pt x="3266" y="941"/>
                </a:lnTo>
                <a:lnTo>
                  <a:pt x="3298" y="1030"/>
                </a:lnTo>
                <a:lnTo>
                  <a:pt x="3325" y="1120"/>
                </a:lnTo>
                <a:lnTo>
                  <a:pt x="3346" y="1213"/>
                </a:lnTo>
                <a:lnTo>
                  <a:pt x="3363" y="1308"/>
                </a:lnTo>
                <a:lnTo>
                  <a:pt x="3372" y="1405"/>
                </a:lnTo>
                <a:lnTo>
                  <a:pt x="3375" y="1504"/>
                </a:lnTo>
                <a:lnTo>
                  <a:pt x="3372" y="1598"/>
                </a:lnTo>
                <a:lnTo>
                  <a:pt x="3364" y="1692"/>
                </a:lnTo>
                <a:lnTo>
                  <a:pt x="3349" y="1783"/>
                </a:lnTo>
                <a:lnTo>
                  <a:pt x="3329" y="1873"/>
                </a:lnTo>
                <a:lnTo>
                  <a:pt x="3304" y="1960"/>
                </a:lnTo>
                <a:lnTo>
                  <a:pt x="3274" y="2046"/>
                </a:lnTo>
                <a:lnTo>
                  <a:pt x="3239" y="2129"/>
                </a:lnTo>
                <a:lnTo>
                  <a:pt x="3199" y="2209"/>
                </a:lnTo>
                <a:lnTo>
                  <a:pt x="3155" y="2287"/>
                </a:lnTo>
                <a:lnTo>
                  <a:pt x="3106" y="2361"/>
                </a:lnTo>
                <a:lnTo>
                  <a:pt x="3054" y="2433"/>
                </a:lnTo>
                <a:lnTo>
                  <a:pt x="2997" y="2500"/>
                </a:lnTo>
                <a:lnTo>
                  <a:pt x="2936" y="2565"/>
                </a:lnTo>
                <a:lnTo>
                  <a:pt x="2872" y="2626"/>
                </a:lnTo>
                <a:lnTo>
                  <a:pt x="2803" y="2683"/>
                </a:lnTo>
                <a:lnTo>
                  <a:pt x="2733" y="2737"/>
                </a:lnTo>
                <a:lnTo>
                  <a:pt x="2658" y="2785"/>
                </a:lnTo>
                <a:lnTo>
                  <a:pt x="2580" y="2830"/>
                </a:lnTo>
                <a:lnTo>
                  <a:pt x="2586" y="2797"/>
                </a:lnTo>
                <a:lnTo>
                  <a:pt x="2590" y="2763"/>
                </a:lnTo>
                <a:lnTo>
                  <a:pt x="2591" y="2728"/>
                </a:lnTo>
                <a:lnTo>
                  <a:pt x="2585" y="2680"/>
                </a:lnTo>
                <a:lnTo>
                  <a:pt x="2574" y="2633"/>
                </a:lnTo>
                <a:lnTo>
                  <a:pt x="2557" y="2587"/>
                </a:lnTo>
                <a:lnTo>
                  <a:pt x="2623" y="2541"/>
                </a:lnTo>
                <a:lnTo>
                  <a:pt x="2687" y="2492"/>
                </a:lnTo>
                <a:lnTo>
                  <a:pt x="2747" y="2440"/>
                </a:lnTo>
                <a:lnTo>
                  <a:pt x="2803" y="2383"/>
                </a:lnTo>
                <a:lnTo>
                  <a:pt x="2856" y="2323"/>
                </a:lnTo>
                <a:lnTo>
                  <a:pt x="2907" y="2260"/>
                </a:lnTo>
                <a:lnTo>
                  <a:pt x="2952" y="2194"/>
                </a:lnTo>
                <a:lnTo>
                  <a:pt x="2994" y="2124"/>
                </a:lnTo>
                <a:lnTo>
                  <a:pt x="3030" y="2052"/>
                </a:lnTo>
                <a:lnTo>
                  <a:pt x="3063" y="1978"/>
                </a:lnTo>
                <a:lnTo>
                  <a:pt x="3091" y="1901"/>
                </a:lnTo>
                <a:lnTo>
                  <a:pt x="3114" y="1822"/>
                </a:lnTo>
                <a:lnTo>
                  <a:pt x="3132" y="1742"/>
                </a:lnTo>
                <a:lnTo>
                  <a:pt x="3145" y="1659"/>
                </a:lnTo>
                <a:lnTo>
                  <a:pt x="2883" y="1504"/>
                </a:lnTo>
                <a:lnTo>
                  <a:pt x="3145" y="1350"/>
                </a:lnTo>
                <a:lnTo>
                  <a:pt x="3132" y="1263"/>
                </a:lnTo>
                <a:lnTo>
                  <a:pt x="3112" y="1178"/>
                </a:lnTo>
                <a:lnTo>
                  <a:pt x="3088" y="1096"/>
                </a:lnTo>
                <a:lnTo>
                  <a:pt x="3057" y="1016"/>
                </a:lnTo>
                <a:lnTo>
                  <a:pt x="3022" y="939"/>
                </a:lnTo>
                <a:lnTo>
                  <a:pt x="2982" y="864"/>
                </a:lnTo>
                <a:lnTo>
                  <a:pt x="2937" y="793"/>
                </a:lnTo>
                <a:lnTo>
                  <a:pt x="2888" y="724"/>
                </a:lnTo>
                <a:lnTo>
                  <a:pt x="2835" y="659"/>
                </a:lnTo>
                <a:lnTo>
                  <a:pt x="2778" y="597"/>
                </a:lnTo>
                <a:lnTo>
                  <a:pt x="2716" y="540"/>
                </a:lnTo>
                <a:lnTo>
                  <a:pt x="2652" y="487"/>
                </a:lnTo>
                <a:lnTo>
                  <a:pt x="2583" y="438"/>
                </a:lnTo>
                <a:lnTo>
                  <a:pt x="2512" y="393"/>
                </a:lnTo>
                <a:lnTo>
                  <a:pt x="2437" y="353"/>
                </a:lnTo>
                <a:lnTo>
                  <a:pt x="2359" y="318"/>
                </a:lnTo>
                <a:lnTo>
                  <a:pt x="2280" y="288"/>
                </a:lnTo>
                <a:lnTo>
                  <a:pt x="2197" y="264"/>
                </a:lnTo>
                <a:lnTo>
                  <a:pt x="2112" y="244"/>
                </a:lnTo>
                <a:lnTo>
                  <a:pt x="2025" y="231"/>
                </a:lnTo>
                <a:lnTo>
                  <a:pt x="1872" y="492"/>
                </a:lnTo>
                <a:lnTo>
                  <a:pt x="1717" y="231"/>
                </a:lnTo>
                <a:lnTo>
                  <a:pt x="1630" y="244"/>
                </a:lnTo>
                <a:lnTo>
                  <a:pt x="1545" y="264"/>
                </a:lnTo>
                <a:lnTo>
                  <a:pt x="1463" y="288"/>
                </a:lnTo>
                <a:lnTo>
                  <a:pt x="1383" y="318"/>
                </a:lnTo>
                <a:lnTo>
                  <a:pt x="1305" y="354"/>
                </a:lnTo>
                <a:lnTo>
                  <a:pt x="1230" y="394"/>
                </a:lnTo>
                <a:lnTo>
                  <a:pt x="1159" y="439"/>
                </a:lnTo>
                <a:lnTo>
                  <a:pt x="1091" y="488"/>
                </a:lnTo>
                <a:lnTo>
                  <a:pt x="1026" y="541"/>
                </a:lnTo>
                <a:lnTo>
                  <a:pt x="964" y="598"/>
                </a:lnTo>
                <a:lnTo>
                  <a:pt x="907" y="660"/>
                </a:lnTo>
                <a:lnTo>
                  <a:pt x="854" y="725"/>
                </a:lnTo>
                <a:lnTo>
                  <a:pt x="805" y="794"/>
                </a:lnTo>
                <a:lnTo>
                  <a:pt x="765" y="748"/>
                </a:lnTo>
                <a:lnTo>
                  <a:pt x="724" y="707"/>
                </a:lnTo>
                <a:lnTo>
                  <a:pt x="682" y="672"/>
                </a:lnTo>
                <a:lnTo>
                  <a:pt x="640" y="641"/>
                </a:lnTo>
                <a:lnTo>
                  <a:pt x="693" y="571"/>
                </a:lnTo>
                <a:lnTo>
                  <a:pt x="751" y="503"/>
                </a:lnTo>
                <a:lnTo>
                  <a:pt x="812" y="439"/>
                </a:lnTo>
                <a:lnTo>
                  <a:pt x="876" y="378"/>
                </a:lnTo>
                <a:lnTo>
                  <a:pt x="944" y="321"/>
                </a:lnTo>
                <a:lnTo>
                  <a:pt x="1016" y="268"/>
                </a:lnTo>
                <a:lnTo>
                  <a:pt x="1090" y="220"/>
                </a:lnTo>
                <a:lnTo>
                  <a:pt x="1167" y="176"/>
                </a:lnTo>
                <a:lnTo>
                  <a:pt x="1248" y="136"/>
                </a:lnTo>
                <a:lnTo>
                  <a:pt x="1331" y="101"/>
                </a:lnTo>
                <a:lnTo>
                  <a:pt x="1415" y="71"/>
                </a:lnTo>
                <a:lnTo>
                  <a:pt x="1502" y="46"/>
                </a:lnTo>
                <a:lnTo>
                  <a:pt x="1592" y="27"/>
                </a:lnTo>
                <a:lnTo>
                  <a:pt x="1683" y="12"/>
                </a:lnTo>
                <a:lnTo>
                  <a:pt x="1776" y="3"/>
                </a:lnTo>
                <a:lnTo>
                  <a:pt x="1872" y="0"/>
                </a:lnTo>
                <a:close/>
              </a:path>
            </a:pathLst>
          </a:custGeom>
          <a:solidFill>
            <a:schemeClr val="bg1"/>
          </a:solidFill>
          <a:ln w="0">
            <a:noFill/>
            <a:prstDash val="solid"/>
            <a:round/>
          </a:ln>
        </p:spPr>
        <p:txBody>
          <a:bodyPr vert="horz" wrap="square" lIns="91440" tIns="45720" rIns="91440" bIns="45720" numCol="1" anchor="t" anchorCtr="0" compatLnSpc="1"/>
          <a:lstStyle/>
          <a:p>
            <a:endParaRPr lang="en-US">
              <a:solidFill>
                <a:schemeClr val="tx1">
                  <a:lumMod val="50000"/>
                  <a:lumOff val="50000"/>
                </a:schemeClr>
              </a:solidFill>
              <a:latin typeface="Calibri"/>
              <a:ea typeface="微软雅黑"/>
              <a:cs typeface="+mn-ea"/>
              <a:sym typeface="Calibri"/>
            </a:endParaRPr>
          </a:p>
        </p:txBody>
      </p:sp>
      <p:sp>
        <p:nvSpPr>
          <p:cNvPr id="81" name="Freeform 11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bwMode="auto">
          <a:xfrm>
            <a:off x="887932" y="2607501"/>
            <a:ext cx="302789" cy="266636"/>
          </a:xfrm>
          <a:custGeom>
            <a:avLst/>
            <a:gdLst>
              <a:gd name="T0" fmla="*/ 1272 w 4019"/>
              <a:gd name="T1" fmla="*/ 446 h 3537"/>
              <a:gd name="T2" fmla="*/ 1751 w 4019"/>
              <a:gd name="T3" fmla="*/ 406 h 3537"/>
              <a:gd name="T4" fmla="*/ 2093 w 4019"/>
              <a:gd name="T5" fmla="*/ 479 h 3537"/>
              <a:gd name="T6" fmla="*/ 3354 w 4019"/>
              <a:gd name="T7" fmla="*/ 581 h 3537"/>
              <a:gd name="T8" fmla="*/ 2479 w 4019"/>
              <a:gd name="T9" fmla="*/ 669 h 3537"/>
              <a:gd name="T10" fmla="*/ 2779 w 4019"/>
              <a:gd name="T11" fmla="*/ 926 h 3537"/>
              <a:gd name="T12" fmla="*/ 2804 w 4019"/>
              <a:gd name="T13" fmla="*/ 1139 h 3537"/>
              <a:gd name="T14" fmla="*/ 2880 w 4019"/>
              <a:gd name="T15" fmla="*/ 1500 h 3537"/>
              <a:gd name="T16" fmla="*/ 2790 w 4019"/>
              <a:gd name="T17" fmla="*/ 1682 h 3537"/>
              <a:gd name="T18" fmla="*/ 2596 w 4019"/>
              <a:gd name="T19" fmla="*/ 1670 h 3537"/>
              <a:gd name="T20" fmla="*/ 2377 w 4019"/>
              <a:gd name="T21" fmla="*/ 1368 h 3537"/>
              <a:gd name="T22" fmla="*/ 2268 w 4019"/>
              <a:gd name="T23" fmla="*/ 1148 h 3537"/>
              <a:gd name="T24" fmla="*/ 451 w 4019"/>
              <a:gd name="T25" fmla="*/ 2201 h 3537"/>
              <a:gd name="T26" fmla="*/ 398 w 4019"/>
              <a:gd name="T27" fmla="*/ 2402 h 3537"/>
              <a:gd name="T28" fmla="*/ 587 w 4019"/>
              <a:gd name="T29" fmla="*/ 2487 h 3537"/>
              <a:gd name="T30" fmla="*/ 1638 w 4019"/>
              <a:gd name="T31" fmla="*/ 1780 h 3537"/>
              <a:gd name="T32" fmla="*/ 1735 w 4019"/>
              <a:gd name="T33" fmla="*/ 1880 h 3537"/>
              <a:gd name="T34" fmla="*/ 771 w 4019"/>
              <a:gd name="T35" fmla="*/ 2603 h 3537"/>
              <a:gd name="T36" fmla="*/ 856 w 4019"/>
              <a:gd name="T37" fmla="*/ 2784 h 3537"/>
              <a:gd name="T38" fmla="*/ 1072 w 4019"/>
              <a:gd name="T39" fmla="*/ 2750 h 3537"/>
              <a:gd name="T40" fmla="*/ 1902 w 4019"/>
              <a:gd name="T41" fmla="*/ 2166 h 3537"/>
              <a:gd name="T42" fmla="*/ 1971 w 4019"/>
              <a:gd name="T43" fmla="*/ 2283 h 3537"/>
              <a:gd name="T44" fmla="*/ 1135 w 4019"/>
              <a:gd name="T45" fmla="*/ 2963 h 3537"/>
              <a:gd name="T46" fmla="*/ 1246 w 4019"/>
              <a:gd name="T47" fmla="*/ 3128 h 3537"/>
              <a:gd name="T48" fmla="*/ 2053 w 4019"/>
              <a:gd name="T49" fmla="*/ 2639 h 3537"/>
              <a:gd name="T50" fmla="*/ 2148 w 4019"/>
              <a:gd name="T51" fmla="*/ 2739 h 3537"/>
              <a:gd name="T52" fmla="*/ 1674 w 4019"/>
              <a:gd name="T53" fmla="*/ 3155 h 3537"/>
              <a:gd name="T54" fmla="*/ 1772 w 4019"/>
              <a:gd name="T55" fmla="*/ 3291 h 3537"/>
              <a:gd name="T56" fmla="*/ 1919 w 4019"/>
              <a:gd name="T57" fmla="*/ 3150 h 3537"/>
              <a:gd name="T58" fmla="*/ 2148 w 4019"/>
              <a:gd name="T59" fmla="*/ 3039 h 3537"/>
              <a:gd name="T60" fmla="*/ 2317 w 4019"/>
              <a:gd name="T61" fmla="*/ 2787 h 3537"/>
              <a:gd name="T62" fmla="*/ 2581 w 4019"/>
              <a:gd name="T63" fmla="*/ 2755 h 3537"/>
              <a:gd name="T64" fmla="*/ 2679 w 4019"/>
              <a:gd name="T65" fmla="*/ 2524 h 3537"/>
              <a:gd name="T66" fmla="*/ 2944 w 4019"/>
              <a:gd name="T67" fmla="*/ 2527 h 3537"/>
              <a:gd name="T68" fmla="*/ 2913 w 4019"/>
              <a:gd name="T69" fmla="*/ 2297 h 3537"/>
              <a:gd name="T70" fmla="*/ 3143 w 4019"/>
              <a:gd name="T71" fmla="*/ 2130 h 3537"/>
              <a:gd name="T72" fmla="*/ 3680 w 4019"/>
              <a:gd name="T73" fmla="*/ 1780 h 3537"/>
              <a:gd name="T74" fmla="*/ 3768 w 4019"/>
              <a:gd name="T75" fmla="*/ 1921 h 3537"/>
              <a:gd name="T76" fmla="*/ 3566 w 4019"/>
              <a:gd name="T77" fmla="*/ 2638 h 3537"/>
              <a:gd name="T78" fmla="*/ 3395 w 4019"/>
              <a:gd name="T79" fmla="*/ 2870 h 3537"/>
              <a:gd name="T80" fmla="*/ 3170 w 4019"/>
              <a:gd name="T81" fmla="*/ 2849 h 3537"/>
              <a:gd name="T82" fmla="*/ 3084 w 4019"/>
              <a:gd name="T83" fmla="*/ 3105 h 3537"/>
              <a:gd name="T84" fmla="*/ 2837 w 4019"/>
              <a:gd name="T85" fmla="*/ 3119 h 3537"/>
              <a:gd name="T86" fmla="*/ 2754 w 4019"/>
              <a:gd name="T87" fmla="*/ 3259 h 3537"/>
              <a:gd name="T88" fmla="*/ 2512 w 4019"/>
              <a:gd name="T89" fmla="*/ 3356 h 3537"/>
              <a:gd name="T90" fmla="*/ 2378 w 4019"/>
              <a:gd name="T91" fmla="*/ 3315 h 3537"/>
              <a:gd name="T92" fmla="*/ 2229 w 4019"/>
              <a:gd name="T93" fmla="*/ 3529 h 3537"/>
              <a:gd name="T94" fmla="*/ 1994 w 4019"/>
              <a:gd name="T95" fmla="*/ 3449 h 3537"/>
              <a:gd name="T96" fmla="*/ 1748 w 4019"/>
              <a:gd name="T97" fmla="*/ 3447 h 3537"/>
              <a:gd name="T98" fmla="*/ 1525 w 4019"/>
              <a:gd name="T99" fmla="*/ 3246 h 3537"/>
              <a:gd name="T100" fmla="*/ 1264 w 4019"/>
              <a:gd name="T101" fmla="*/ 3295 h 3537"/>
              <a:gd name="T102" fmla="*/ 1014 w 4019"/>
              <a:gd name="T103" fmla="*/ 3128 h 3537"/>
              <a:gd name="T104" fmla="*/ 869 w 4019"/>
              <a:gd name="T105" fmla="*/ 2944 h 3537"/>
              <a:gd name="T106" fmla="*/ 629 w 4019"/>
              <a:gd name="T107" fmla="*/ 2759 h 3537"/>
              <a:gd name="T108" fmla="*/ 446 w 4019"/>
              <a:gd name="T109" fmla="*/ 2635 h 3537"/>
              <a:gd name="T110" fmla="*/ 230 w 4019"/>
              <a:gd name="T111" fmla="*/ 2403 h 3537"/>
              <a:gd name="T112" fmla="*/ 323 w 4019"/>
              <a:gd name="T113" fmla="*/ 2101 h 3537"/>
              <a:gd name="T114" fmla="*/ 150 w 4019"/>
              <a:gd name="T115" fmla="*/ 1733 h 3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19" h="3537">
                <a:moveTo>
                  <a:pt x="0" y="0"/>
                </a:moveTo>
                <a:lnTo>
                  <a:pt x="899" y="412"/>
                </a:lnTo>
                <a:lnTo>
                  <a:pt x="959" y="436"/>
                </a:lnTo>
                <a:lnTo>
                  <a:pt x="1020" y="452"/>
                </a:lnTo>
                <a:lnTo>
                  <a:pt x="1083" y="462"/>
                </a:lnTo>
                <a:lnTo>
                  <a:pt x="1146" y="463"/>
                </a:lnTo>
                <a:lnTo>
                  <a:pt x="1210" y="458"/>
                </a:lnTo>
                <a:lnTo>
                  <a:pt x="1272" y="446"/>
                </a:lnTo>
                <a:lnTo>
                  <a:pt x="1318" y="434"/>
                </a:lnTo>
                <a:lnTo>
                  <a:pt x="1369" y="423"/>
                </a:lnTo>
                <a:lnTo>
                  <a:pt x="1424" y="414"/>
                </a:lnTo>
                <a:lnTo>
                  <a:pt x="1481" y="407"/>
                </a:lnTo>
                <a:lnTo>
                  <a:pt x="1543" y="403"/>
                </a:lnTo>
                <a:lnTo>
                  <a:pt x="1609" y="401"/>
                </a:lnTo>
                <a:lnTo>
                  <a:pt x="1677" y="402"/>
                </a:lnTo>
                <a:lnTo>
                  <a:pt x="1751" y="406"/>
                </a:lnTo>
                <a:lnTo>
                  <a:pt x="1826" y="414"/>
                </a:lnTo>
                <a:lnTo>
                  <a:pt x="1906" y="427"/>
                </a:lnTo>
                <a:lnTo>
                  <a:pt x="1989" y="444"/>
                </a:lnTo>
                <a:lnTo>
                  <a:pt x="2000" y="447"/>
                </a:lnTo>
                <a:lnTo>
                  <a:pt x="2017" y="453"/>
                </a:lnTo>
                <a:lnTo>
                  <a:pt x="2039" y="459"/>
                </a:lnTo>
                <a:lnTo>
                  <a:pt x="2065" y="468"/>
                </a:lnTo>
                <a:lnTo>
                  <a:pt x="2093" y="479"/>
                </a:lnTo>
                <a:lnTo>
                  <a:pt x="3084" y="490"/>
                </a:lnTo>
                <a:lnTo>
                  <a:pt x="3133" y="487"/>
                </a:lnTo>
                <a:lnTo>
                  <a:pt x="3181" y="478"/>
                </a:lnTo>
                <a:lnTo>
                  <a:pt x="3227" y="462"/>
                </a:lnTo>
                <a:lnTo>
                  <a:pt x="3271" y="440"/>
                </a:lnTo>
                <a:lnTo>
                  <a:pt x="4019" y="4"/>
                </a:lnTo>
                <a:lnTo>
                  <a:pt x="4019" y="188"/>
                </a:lnTo>
                <a:lnTo>
                  <a:pt x="3354" y="581"/>
                </a:lnTo>
                <a:lnTo>
                  <a:pt x="3311" y="604"/>
                </a:lnTo>
                <a:lnTo>
                  <a:pt x="3266" y="623"/>
                </a:lnTo>
                <a:lnTo>
                  <a:pt x="3218" y="635"/>
                </a:lnTo>
                <a:lnTo>
                  <a:pt x="3171" y="642"/>
                </a:lnTo>
                <a:lnTo>
                  <a:pt x="3122" y="645"/>
                </a:lnTo>
                <a:lnTo>
                  <a:pt x="2954" y="648"/>
                </a:lnTo>
                <a:lnTo>
                  <a:pt x="2425" y="640"/>
                </a:lnTo>
                <a:lnTo>
                  <a:pt x="2479" y="669"/>
                </a:lnTo>
                <a:lnTo>
                  <a:pt x="2530" y="698"/>
                </a:lnTo>
                <a:lnTo>
                  <a:pt x="2579" y="730"/>
                </a:lnTo>
                <a:lnTo>
                  <a:pt x="2624" y="761"/>
                </a:lnTo>
                <a:lnTo>
                  <a:pt x="2665" y="793"/>
                </a:lnTo>
                <a:lnTo>
                  <a:pt x="2703" y="826"/>
                </a:lnTo>
                <a:lnTo>
                  <a:pt x="2734" y="859"/>
                </a:lnTo>
                <a:lnTo>
                  <a:pt x="2759" y="893"/>
                </a:lnTo>
                <a:lnTo>
                  <a:pt x="2779" y="926"/>
                </a:lnTo>
                <a:lnTo>
                  <a:pt x="2779" y="930"/>
                </a:lnTo>
                <a:lnTo>
                  <a:pt x="2780" y="942"/>
                </a:lnTo>
                <a:lnTo>
                  <a:pt x="2782" y="961"/>
                </a:lnTo>
                <a:lnTo>
                  <a:pt x="2785" y="988"/>
                </a:lnTo>
                <a:lnTo>
                  <a:pt x="2788" y="1020"/>
                </a:lnTo>
                <a:lnTo>
                  <a:pt x="2793" y="1055"/>
                </a:lnTo>
                <a:lnTo>
                  <a:pt x="2798" y="1095"/>
                </a:lnTo>
                <a:lnTo>
                  <a:pt x="2804" y="1139"/>
                </a:lnTo>
                <a:lnTo>
                  <a:pt x="2812" y="1184"/>
                </a:lnTo>
                <a:lnTo>
                  <a:pt x="2819" y="1232"/>
                </a:lnTo>
                <a:lnTo>
                  <a:pt x="2827" y="1279"/>
                </a:lnTo>
                <a:lnTo>
                  <a:pt x="2837" y="1327"/>
                </a:lnTo>
                <a:lnTo>
                  <a:pt x="2847" y="1374"/>
                </a:lnTo>
                <a:lnTo>
                  <a:pt x="2857" y="1418"/>
                </a:lnTo>
                <a:lnTo>
                  <a:pt x="2868" y="1461"/>
                </a:lnTo>
                <a:lnTo>
                  <a:pt x="2880" y="1500"/>
                </a:lnTo>
                <a:lnTo>
                  <a:pt x="2886" y="1529"/>
                </a:lnTo>
                <a:lnTo>
                  <a:pt x="2887" y="1558"/>
                </a:lnTo>
                <a:lnTo>
                  <a:pt x="2881" y="1586"/>
                </a:lnTo>
                <a:lnTo>
                  <a:pt x="2871" y="1613"/>
                </a:lnTo>
                <a:lnTo>
                  <a:pt x="2855" y="1637"/>
                </a:lnTo>
                <a:lnTo>
                  <a:pt x="2835" y="1657"/>
                </a:lnTo>
                <a:lnTo>
                  <a:pt x="2809" y="1674"/>
                </a:lnTo>
                <a:lnTo>
                  <a:pt x="2790" y="1682"/>
                </a:lnTo>
                <a:lnTo>
                  <a:pt x="2769" y="1690"/>
                </a:lnTo>
                <a:lnTo>
                  <a:pt x="2746" y="1696"/>
                </a:lnTo>
                <a:lnTo>
                  <a:pt x="2723" y="1699"/>
                </a:lnTo>
                <a:lnTo>
                  <a:pt x="2698" y="1699"/>
                </a:lnTo>
                <a:lnTo>
                  <a:pt x="2674" y="1698"/>
                </a:lnTo>
                <a:lnTo>
                  <a:pt x="2648" y="1692"/>
                </a:lnTo>
                <a:lnTo>
                  <a:pt x="2622" y="1683"/>
                </a:lnTo>
                <a:lnTo>
                  <a:pt x="2596" y="1670"/>
                </a:lnTo>
                <a:lnTo>
                  <a:pt x="2568" y="1652"/>
                </a:lnTo>
                <a:lnTo>
                  <a:pt x="2541" y="1629"/>
                </a:lnTo>
                <a:lnTo>
                  <a:pt x="2513" y="1601"/>
                </a:lnTo>
                <a:lnTo>
                  <a:pt x="2486" y="1567"/>
                </a:lnTo>
                <a:lnTo>
                  <a:pt x="2458" y="1528"/>
                </a:lnTo>
                <a:lnTo>
                  <a:pt x="2430" y="1481"/>
                </a:lnTo>
                <a:lnTo>
                  <a:pt x="2403" y="1428"/>
                </a:lnTo>
                <a:lnTo>
                  <a:pt x="2377" y="1368"/>
                </a:lnTo>
                <a:lnTo>
                  <a:pt x="2350" y="1300"/>
                </a:lnTo>
                <a:lnTo>
                  <a:pt x="2324" y="1224"/>
                </a:lnTo>
                <a:lnTo>
                  <a:pt x="2323" y="1221"/>
                </a:lnTo>
                <a:lnTo>
                  <a:pt x="2318" y="1213"/>
                </a:lnTo>
                <a:lnTo>
                  <a:pt x="2310" y="1201"/>
                </a:lnTo>
                <a:lnTo>
                  <a:pt x="2299" y="1187"/>
                </a:lnTo>
                <a:lnTo>
                  <a:pt x="2285" y="1168"/>
                </a:lnTo>
                <a:lnTo>
                  <a:pt x="2268" y="1148"/>
                </a:lnTo>
                <a:lnTo>
                  <a:pt x="2250" y="1124"/>
                </a:lnTo>
                <a:lnTo>
                  <a:pt x="2228" y="1101"/>
                </a:lnTo>
                <a:lnTo>
                  <a:pt x="2205" y="1077"/>
                </a:lnTo>
                <a:lnTo>
                  <a:pt x="2181" y="1054"/>
                </a:lnTo>
                <a:lnTo>
                  <a:pt x="2154" y="1031"/>
                </a:lnTo>
                <a:lnTo>
                  <a:pt x="2126" y="1010"/>
                </a:lnTo>
                <a:lnTo>
                  <a:pt x="2095" y="990"/>
                </a:lnTo>
                <a:lnTo>
                  <a:pt x="451" y="2201"/>
                </a:lnTo>
                <a:lnTo>
                  <a:pt x="428" y="2221"/>
                </a:lnTo>
                <a:lnTo>
                  <a:pt x="411" y="2242"/>
                </a:lnTo>
                <a:lnTo>
                  <a:pt x="396" y="2267"/>
                </a:lnTo>
                <a:lnTo>
                  <a:pt x="387" y="2294"/>
                </a:lnTo>
                <a:lnTo>
                  <a:pt x="383" y="2320"/>
                </a:lnTo>
                <a:lnTo>
                  <a:pt x="384" y="2348"/>
                </a:lnTo>
                <a:lnTo>
                  <a:pt x="389" y="2375"/>
                </a:lnTo>
                <a:lnTo>
                  <a:pt x="398" y="2402"/>
                </a:lnTo>
                <a:lnTo>
                  <a:pt x="413" y="2426"/>
                </a:lnTo>
                <a:lnTo>
                  <a:pt x="432" y="2448"/>
                </a:lnTo>
                <a:lnTo>
                  <a:pt x="454" y="2467"/>
                </a:lnTo>
                <a:lnTo>
                  <a:pt x="479" y="2480"/>
                </a:lnTo>
                <a:lnTo>
                  <a:pt x="506" y="2488"/>
                </a:lnTo>
                <a:lnTo>
                  <a:pt x="532" y="2493"/>
                </a:lnTo>
                <a:lnTo>
                  <a:pt x="560" y="2492"/>
                </a:lnTo>
                <a:lnTo>
                  <a:pt x="587" y="2487"/>
                </a:lnTo>
                <a:lnTo>
                  <a:pt x="614" y="2477"/>
                </a:lnTo>
                <a:lnTo>
                  <a:pt x="637" y="2463"/>
                </a:lnTo>
                <a:lnTo>
                  <a:pt x="721" y="2402"/>
                </a:lnTo>
                <a:lnTo>
                  <a:pt x="728" y="2397"/>
                </a:lnTo>
                <a:lnTo>
                  <a:pt x="736" y="2391"/>
                </a:lnTo>
                <a:lnTo>
                  <a:pt x="743" y="2382"/>
                </a:lnTo>
                <a:lnTo>
                  <a:pt x="1615" y="1791"/>
                </a:lnTo>
                <a:lnTo>
                  <a:pt x="1638" y="1780"/>
                </a:lnTo>
                <a:lnTo>
                  <a:pt x="1660" y="1777"/>
                </a:lnTo>
                <a:lnTo>
                  <a:pt x="1682" y="1782"/>
                </a:lnTo>
                <a:lnTo>
                  <a:pt x="1704" y="1793"/>
                </a:lnTo>
                <a:lnTo>
                  <a:pt x="1719" y="1806"/>
                </a:lnTo>
                <a:lnTo>
                  <a:pt x="1730" y="1823"/>
                </a:lnTo>
                <a:lnTo>
                  <a:pt x="1736" y="1842"/>
                </a:lnTo>
                <a:lnTo>
                  <a:pt x="1737" y="1862"/>
                </a:lnTo>
                <a:lnTo>
                  <a:pt x="1735" y="1880"/>
                </a:lnTo>
                <a:lnTo>
                  <a:pt x="1729" y="1895"/>
                </a:lnTo>
                <a:lnTo>
                  <a:pt x="1718" y="1909"/>
                </a:lnTo>
                <a:lnTo>
                  <a:pt x="1704" y="1921"/>
                </a:lnTo>
                <a:lnTo>
                  <a:pt x="889" y="2476"/>
                </a:lnTo>
                <a:lnTo>
                  <a:pt x="816" y="2527"/>
                </a:lnTo>
                <a:lnTo>
                  <a:pt x="797" y="2551"/>
                </a:lnTo>
                <a:lnTo>
                  <a:pt x="782" y="2575"/>
                </a:lnTo>
                <a:lnTo>
                  <a:pt x="771" y="2603"/>
                </a:lnTo>
                <a:lnTo>
                  <a:pt x="766" y="2631"/>
                </a:lnTo>
                <a:lnTo>
                  <a:pt x="765" y="2659"/>
                </a:lnTo>
                <a:lnTo>
                  <a:pt x="770" y="2688"/>
                </a:lnTo>
                <a:lnTo>
                  <a:pt x="780" y="2716"/>
                </a:lnTo>
                <a:lnTo>
                  <a:pt x="795" y="2742"/>
                </a:lnTo>
                <a:lnTo>
                  <a:pt x="811" y="2760"/>
                </a:lnTo>
                <a:lnTo>
                  <a:pt x="832" y="2773"/>
                </a:lnTo>
                <a:lnTo>
                  <a:pt x="856" y="2784"/>
                </a:lnTo>
                <a:lnTo>
                  <a:pt x="883" y="2792"/>
                </a:lnTo>
                <a:lnTo>
                  <a:pt x="912" y="2797"/>
                </a:lnTo>
                <a:lnTo>
                  <a:pt x="943" y="2797"/>
                </a:lnTo>
                <a:lnTo>
                  <a:pt x="973" y="2794"/>
                </a:lnTo>
                <a:lnTo>
                  <a:pt x="1004" y="2787"/>
                </a:lnTo>
                <a:lnTo>
                  <a:pt x="1033" y="2776"/>
                </a:lnTo>
                <a:lnTo>
                  <a:pt x="1061" y="2761"/>
                </a:lnTo>
                <a:lnTo>
                  <a:pt x="1072" y="2750"/>
                </a:lnTo>
                <a:lnTo>
                  <a:pt x="1082" y="2741"/>
                </a:lnTo>
                <a:lnTo>
                  <a:pt x="1094" y="2731"/>
                </a:lnTo>
                <a:lnTo>
                  <a:pt x="1107" y="2723"/>
                </a:lnTo>
                <a:lnTo>
                  <a:pt x="1841" y="2194"/>
                </a:lnTo>
                <a:lnTo>
                  <a:pt x="1854" y="2180"/>
                </a:lnTo>
                <a:lnTo>
                  <a:pt x="1867" y="2172"/>
                </a:lnTo>
                <a:lnTo>
                  <a:pt x="1883" y="2167"/>
                </a:lnTo>
                <a:lnTo>
                  <a:pt x="1902" y="2166"/>
                </a:lnTo>
                <a:lnTo>
                  <a:pt x="1922" y="2169"/>
                </a:lnTo>
                <a:lnTo>
                  <a:pt x="1941" y="2178"/>
                </a:lnTo>
                <a:lnTo>
                  <a:pt x="1956" y="2191"/>
                </a:lnTo>
                <a:lnTo>
                  <a:pt x="1969" y="2207"/>
                </a:lnTo>
                <a:lnTo>
                  <a:pt x="1977" y="2227"/>
                </a:lnTo>
                <a:lnTo>
                  <a:pt x="1980" y="2247"/>
                </a:lnTo>
                <a:lnTo>
                  <a:pt x="1977" y="2266"/>
                </a:lnTo>
                <a:lnTo>
                  <a:pt x="1971" y="2283"/>
                </a:lnTo>
                <a:lnTo>
                  <a:pt x="1962" y="2297"/>
                </a:lnTo>
                <a:lnTo>
                  <a:pt x="1952" y="2309"/>
                </a:lnTo>
                <a:lnTo>
                  <a:pt x="1202" y="2844"/>
                </a:lnTo>
                <a:lnTo>
                  <a:pt x="1180" y="2862"/>
                </a:lnTo>
                <a:lnTo>
                  <a:pt x="1162" y="2884"/>
                </a:lnTo>
                <a:lnTo>
                  <a:pt x="1149" y="2910"/>
                </a:lnTo>
                <a:lnTo>
                  <a:pt x="1139" y="2935"/>
                </a:lnTo>
                <a:lnTo>
                  <a:pt x="1135" y="2963"/>
                </a:lnTo>
                <a:lnTo>
                  <a:pt x="1135" y="2990"/>
                </a:lnTo>
                <a:lnTo>
                  <a:pt x="1140" y="3018"/>
                </a:lnTo>
                <a:lnTo>
                  <a:pt x="1150" y="3044"/>
                </a:lnTo>
                <a:lnTo>
                  <a:pt x="1165" y="3068"/>
                </a:lnTo>
                <a:lnTo>
                  <a:pt x="1180" y="3088"/>
                </a:lnTo>
                <a:lnTo>
                  <a:pt x="1200" y="3105"/>
                </a:lnTo>
                <a:lnTo>
                  <a:pt x="1222" y="3118"/>
                </a:lnTo>
                <a:lnTo>
                  <a:pt x="1246" y="3128"/>
                </a:lnTo>
                <a:lnTo>
                  <a:pt x="1273" y="3134"/>
                </a:lnTo>
                <a:lnTo>
                  <a:pt x="1305" y="3136"/>
                </a:lnTo>
                <a:lnTo>
                  <a:pt x="1336" y="3131"/>
                </a:lnTo>
                <a:lnTo>
                  <a:pt x="1367" y="3121"/>
                </a:lnTo>
                <a:lnTo>
                  <a:pt x="1395" y="3105"/>
                </a:lnTo>
                <a:lnTo>
                  <a:pt x="2022" y="2650"/>
                </a:lnTo>
                <a:lnTo>
                  <a:pt x="2038" y="2643"/>
                </a:lnTo>
                <a:lnTo>
                  <a:pt x="2053" y="2639"/>
                </a:lnTo>
                <a:lnTo>
                  <a:pt x="2068" y="2638"/>
                </a:lnTo>
                <a:lnTo>
                  <a:pt x="2090" y="2641"/>
                </a:lnTo>
                <a:lnTo>
                  <a:pt x="2110" y="2649"/>
                </a:lnTo>
                <a:lnTo>
                  <a:pt x="2127" y="2663"/>
                </a:lnTo>
                <a:lnTo>
                  <a:pt x="2140" y="2680"/>
                </a:lnTo>
                <a:lnTo>
                  <a:pt x="2148" y="2699"/>
                </a:lnTo>
                <a:lnTo>
                  <a:pt x="2150" y="2722"/>
                </a:lnTo>
                <a:lnTo>
                  <a:pt x="2148" y="2739"/>
                </a:lnTo>
                <a:lnTo>
                  <a:pt x="2140" y="2755"/>
                </a:lnTo>
                <a:lnTo>
                  <a:pt x="2131" y="2769"/>
                </a:lnTo>
                <a:lnTo>
                  <a:pt x="2117" y="2781"/>
                </a:lnTo>
                <a:lnTo>
                  <a:pt x="1724" y="3077"/>
                </a:lnTo>
                <a:lnTo>
                  <a:pt x="1705" y="3093"/>
                </a:lnTo>
                <a:lnTo>
                  <a:pt x="1691" y="3111"/>
                </a:lnTo>
                <a:lnTo>
                  <a:pt x="1681" y="3133"/>
                </a:lnTo>
                <a:lnTo>
                  <a:pt x="1674" y="3155"/>
                </a:lnTo>
                <a:lnTo>
                  <a:pt x="1671" y="3178"/>
                </a:lnTo>
                <a:lnTo>
                  <a:pt x="1675" y="3201"/>
                </a:lnTo>
                <a:lnTo>
                  <a:pt x="1682" y="3223"/>
                </a:lnTo>
                <a:lnTo>
                  <a:pt x="1694" y="3241"/>
                </a:lnTo>
                <a:lnTo>
                  <a:pt x="1710" y="3259"/>
                </a:lnTo>
                <a:lnTo>
                  <a:pt x="1730" y="3273"/>
                </a:lnTo>
                <a:lnTo>
                  <a:pt x="1751" y="3284"/>
                </a:lnTo>
                <a:lnTo>
                  <a:pt x="1772" y="3291"/>
                </a:lnTo>
                <a:lnTo>
                  <a:pt x="1796" y="3292"/>
                </a:lnTo>
                <a:lnTo>
                  <a:pt x="1819" y="3290"/>
                </a:lnTo>
                <a:lnTo>
                  <a:pt x="1841" y="3283"/>
                </a:lnTo>
                <a:lnTo>
                  <a:pt x="1859" y="3270"/>
                </a:lnTo>
                <a:lnTo>
                  <a:pt x="1895" y="3247"/>
                </a:lnTo>
                <a:lnTo>
                  <a:pt x="1898" y="3214"/>
                </a:lnTo>
                <a:lnTo>
                  <a:pt x="1905" y="3181"/>
                </a:lnTo>
                <a:lnTo>
                  <a:pt x="1919" y="3150"/>
                </a:lnTo>
                <a:lnTo>
                  <a:pt x="1937" y="3121"/>
                </a:lnTo>
                <a:lnTo>
                  <a:pt x="1959" y="3094"/>
                </a:lnTo>
                <a:lnTo>
                  <a:pt x="1986" y="3071"/>
                </a:lnTo>
                <a:lnTo>
                  <a:pt x="2015" y="3054"/>
                </a:lnTo>
                <a:lnTo>
                  <a:pt x="2048" y="3041"/>
                </a:lnTo>
                <a:lnTo>
                  <a:pt x="2081" y="3035"/>
                </a:lnTo>
                <a:lnTo>
                  <a:pt x="2115" y="3034"/>
                </a:lnTo>
                <a:lnTo>
                  <a:pt x="2148" y="3039"/>
                </a:lnTo>
                <a:lnTo>
                  <a:pt x="2221" y="2993"/>
                </a:lnTo>
                <a:lnTo>
                  <a:pt x="2221" y="2960"/>
                </a:lnTo>
                <a:lnTo>
                  <a:pt x="2226" y="2927"/>
                </a:lnTo>
                <a:lnTo>
                  <a:pt x="2235" y="2895"/>
                </a:lnTo>
                <a:lnTo>
                  <a:pt x="2249" y="2864"/>
                </a:lnTo>
                <a:lnTo>
                  <a:pt x="2267" y="2836"/>
                </a:lnTo>
                <a:lnTo>
                  <a:pt x="2290" y="2809"/>
                </a:lnTo>
                <a:lnTo>
                  <a:pt x="2317" y="2787"/>
                </a:lnTo>
                <a:lnTo>
                  <a:pt x="2350" y="2769"/>
                </a:lnTo>
                <a:lnTo>
                  <a:pt x="2384" y="2755"/>
                </a:lnTo>
                <a:lnTo>
                  <a:pt x="2418" y="2748"/>
                </a:lnTo>
                <a:lnTo>
                  <a:pt x="2453" y="2747"/>
                </a:lnTo>
                <a:lnTo>
                  <a:pt x="2489" y="2752"/>
                </a:lnTo>
                <a:lnTo>
                  <a:pt x="2522" y="2760"/>
                </a:lnTo>
                <a:lnTo>
                  <a:pt x="2555" y="2775"/>
                </a:lnTo>
                <a:lnTo>
                  <a:pt x="2581" y="2755"/>
                </a:lnTo>
                <a:lnTo>
                  <a:pt x="2578" y="2719"/>
                </a:lnTo>
                <a:lnTo>
                  <a:pt x="2580" y="2682"/>
                </a:lnTo>
                <a:lnTo>
                  <a:pt x="2587" y="2646"/>
                </a:lnTo>
                <a:lnTo>
                  <a:pt x="2601" y="2613"/>
                </a:lnTo>
                <a:lnTo>
                  <a:pt x="2620" y="2581"/>
                </a:lnTo>
                <a:lnTo>
                  <a:pt x="2645" y="2553"/>
                </a:lnTo>
                <a:lnTo>
                  <a:pt x="2674" y="2529"/>
                </a:lnTo>
                <a:lnTo>
                  <a:pt x="2679" y="2524"/>
                </a:lnTo>
                <a:lnTo>
                  <a:pt x="2710" y="2505"/>
                </a:lnTo>
                <a:lnTo>
                  <a:pt x="2745" y="2493"/>
                </a:lnTo>
                <a:lnTo>
                  <a:pt x="2779" y="2486"/>
                </a:lnTo>
                <a:lnTo>
                  <a:pt x="2814" y="2485"/>
                </a:lnTo>
                <a:lnTo>
                  <a:pt x="2848" y="2488"/>
                </a:lnTo>
                <a:lnTo>
                  <a:pt x="2882" y="2497"/>
                </a:lnTo>
                <a:lnTo>
                  <a:pt x="2914" y="2510"/>
                </a:lnTo>
                <a:lnTo>
                  <a:pt x="2944" y="2527"/>
                </a:lnTo>
                <a:lnTo>
                  <a:pt x="2949" y="2527"/>
                </a:lnTo>
                <a:lnTo>
                  <a:pt x="2946" y="2518"/>
                </a:lnTo>
                <a:lnTo>
                  <a:pt x="2925" y="2482"/>
                </a:lnTo>
                <a:lnTo>
                  <a:pt x="2910" y="2447"/>
                </a:lnTo>
                <a:lnTo>
                  <a:pt x="2902" y="2409"/>
                </a:lnTo>
                <a:lnTo>
                  <a:pt x="2900" y="2372"/>
                </a:lnTo>
                <a:lnTo>
                  <a:pt x="2904" y="2334"/>
                </a:lnTo>
                <a:lnTo>
                  <a:pt x="2913" y="2297"/>
                </a:lnTo>
                <a:lnTo>
                  <a:pt x="2929" y="2262"/>
                </a:lnTo>
                <a:lnTo>
                  <a:pt x="2948" y="2229"/>
                </a:lnTo>
                <a:lnTo>
                  <a:pt x="2974" y="2199"/>
                </a:lnTo>
                <a:lnTo>
                  <a:pt x="3004" y="2173"/>
                </a:lnTo>
                <a:lnTo>
                  <a:pt x="3037" y="2154"/>
                </a:lnTo>
                <a:lnTo>
                  <a:pt x="3071" y="2140"/>
                </a:lnTo>
                <a:lnTo>
                  <a:pt x="3108" y="2133"/>
                </a:lnTo>
                <a:lnTo>
                  <a:pt x="3143" y="2130"/>
                </a:lnTo>
                <a:lnTo>
                  <a:pt x="3179" y="2133"/>
                </a:lnTo>
                <a:lnTo>
                  <a:pt x="3215" y="2140"/>
                </a:lnTo>
                <a:lnTo>
                  <a:pt x="3249" y="2154"/>
                </a:lnTo>
                <a:lnTo>
                  <a:pt x="3281" y="2172"/>
                </a:lnTo>
                <a:lnTo>
                  <a:pt x="3310" y="2194"/>
                </a:lnTo>
                <a:lnTo>
                  <a:pt x="3584" y="1877"/>
                </a:lnTo>
                <a:lnTo>
                  <a:pt x="3630" y="1826"/>
                </a:lnTo>
                <a:lnTo>
                  <a:pt x="3680" y="1780"/>
                </a:lnTo>
                <a:lnTo>
                  <a:pt x="3733" y="1737"/>
                </a:lnTo>
                <a:lnTo>
                  <a:pt x="3787" y="1697"/>
                </a:lnTo>
                <a:lnTo>
                  <a:pt x="3846" y="1661"/>
                </a:lnTo>
                <a:lnTo>
                  <a:pt x="4019" y="1563"/>
                </a:lnTo>
                <a:lnTo>
                  <a:pt x="4019" y="1760"/>
                </a:lnTo>
                <a:lnTo>
                  <a:pt x="3893" y="1832"/>
                </a:lnTo>
                <a:lnTo>
                  <a:pt x="3829" y="1873"/>
                </a:lnTo>
                <a:lnTo>
                  <a:pt x="3768" y="1921"/>
                </a:lnTo>
                <a:lnTo>
                  <a:pt x="3711" y="1972"/>
                </a:lnTo>
                <a:lnTo>
                  <a:pt x="3658" y="2028"/>
                </a:lnTo>
                <a:lnTo>
                  <a:pt x="3404" y="2325"/>
                </a:lnTo>
                <a:lnTo>
                  <a:pt x="3521" y="2492"/>
                </a:lnTo>
                <a:lnTo>
                  <a:pt x="3541" y="2527"/>
                </a:lnTo>
                <a:lnTo>
                  <a:pt x="3556" y="2563"/>
                </a:lnTo>
                <a:lnTo>
                  <a:pt x="3563" y="2600"/>
                </a:lnTo>
                <a:lnTo>
                  <a:pt x="3566" y="2638"/>
                </a:lnTo>
                <a:lnTo>
                  <a:pt x="3562" y="2676"/>
                </a:lnTo>
                <a:lnTo>
                  <a:pt x="3552" y="2713"/>
                </a:lnTo>
                <a:lnTo>
                  <a:pt x="3538" y="2748"/>
                </a:lnTo>
                <a:lnTo>
                  <a:pt x="3518" y="2781"/>
                </a:lnTo>
                <a:lnTo>
                  <a:pt x="3493" y="2811"/>
                </a:lnTo>
                <a:lnTo>
                  <a:pt x="3462" y="2837"/>
                </a:lnTo>
                <a:lnTo>
                  <a:pt x="3429" y="2856"/>
                </a:lnTo>
                <a:lnTo>
                  <a:pt x="3395" y="2870"/>
                </a:lnTo>
                <a:lnTo>
                  <a:pt x="3359" y="2877"/>
                </a:lnTo>
                <a:lnTo>
                  <a:pt x="3322" y="2879"/>
                </a:lnTo>
                <a:lnTo>
                  <a:pt x="3285" y="2877"/>
                </a:lnTo>
                <a:lnTo>
                  <a:pt x="3250" y="2870"/>
                </a:lnTo>
                <a:lnTo>
                  <a:pt x="3216" y="2856"/>
                </a:lnTo>
                <a:lnTo>
                  <a:pt x="3184" y="2838"/>
                </a:lnTo>
                <a:lnTo>
                  <a:pt x="3156" y="2816"/>
                </a:lnTo>
                <a:lnTo>
                  <a:pt x="3170" y="2849"/>
                </a:lnTo>
                <a:lnTo>
                  <a:pt x="3178" y="2884"/>
                </a:lnTo>
                <a:lnTo>
                  <a:pt x="3181" y="2920"/>
                </a:lnTo>
                <a:lnTo>
                  <a:pt x="3178" y="2955"/>
                </a:lnTo>
                <a:lnTo>
                  <a:pt x="3170" y="2990"/>
                </a:lnTo>
                <a:lnTo>
                  <a:pt x="3156" y="3022"/>
                </a:lnTo>
                <a:lnTo>
                  <a:pt x="3138" y="3054"/>
                </a:lnTo>
                <a:lnTo>
                  <a:pt x="3114" y="3080"/>
                </a:lnTo>
                <a:lnTo>
                  <a:pt x="3084" y="3105"/>
                </a:lnTo>
                <a:lnTo>
                  <a:pt x="3080" y="3110"/>
                </a:lnTo>
                <a:lnTo>
                  <a:pt x="3048" y="3128"/>
                </a:lnTo>
                <a:lnTo>
                  <a:pt x="3013" y="3141"/>
                </a:lnTo>
                <a:lnTo>
                  <a:pt x="2977" y="3147"/>
                </a:lnTo>
                <a:lnTo>
                  <a:pt x="2941" y="3149"/>
                </a:lnTo>
                <a:lnTo>
                  <a:pt x="2905" y="3145"/>
                </a:lnTo>
                <a:lnTo>
                  <a:pt x="2870" y="3135"/>
                </a:lnTo>
                <a:lnTo>
                  <a:pt x="2837" y="3119"/>
                </a:lnTo>
                <a:lnTo>
                  <a:pt x="2807" y="3099"/>
                </a:lnTo>
                <a:lnTo>
                  <a:pt x="2780" y="3073"/>
                </a:lnTo>
                <a:lnTo>
                  <a:pt x="2786" y="3105"/>
                </a:lnTo>
                <a:lnTo>
                  <a:pt x="2788" y="3138"/>
                </a:lnTo>
                <a:lnTo>
                  <a:pt x="2786" y="3169"/>
                </a:lnTo>
                <a:lnTo>
                  <a:pt x="2780" y="3201"/>
                </a:lnTo>
                <a:lnTo>
                  <a:pt x="2769" y="3231"/>
                </a:lnTo>
                <a:lnTo>
                  <a:pt x="2754" y="3259"/>
                </a:lnTo>
                <a:lnTo>
                  <a:pt x="2735" y="3286"/>
                </a:lnTo>
                <a:lnTo>
                  <a:pt x="2710" y="3309"/>
                </a:lnTo>
                <a:lnTo>
                  <a:pt x="2682" y="3330"/>
                </a:lnTo>
                <a:lnTo>
                  <a:pt x="2651" y="3346"/>
                </a:lnTo>
                <a:lnTo>
                  <a:pt x="2617" y="3357"/>
                </a:lnTo>
                <a:lnTo>
                  <a:pt x="2581" y="3362"/>
                </a:lnTo>
                <a:lnTo>
                  <a:pt x="2546" y="3362"/>
                </a:lnTo>
                <a:lnTo>
                  <a:pt x="2512" y="3356"/>
                </a:lnTo>
                <a:lnTo>
                  <a:pt x="2479" y="3346"/>
                </a:lnTo>
                <a:lnTo>
                  <a:pt x="2447" y="3330"/>
                </a:lnTo>
                <a:lnTo>
                  <a:pt x="2418" y="3309"/>
                </a:lnTo>
                <a:lnTo>
                  <a:pt x="2393" y="3285"/>
                </a:lnTo>
                <a:lnTo>
                  <a:pt x="2369" y="3257"/>
                </a:lnTo>
                <a:lnTo>
                  <a:pt x="2363" y="3247"/>
                </a:lnTo>
                <a:lnTo>
                  <a:pt x="2373" y="3280"/>
                </a:lnTo>
                <a:lnTo>
                  <a:pt x="2378" y="3315"/>
                </a:lnTo>
                <a:lnTo>
                  <a:pt x="2377" y="3351"/>
                </a:lnTo>
                <a:lnTo>
                  <a:pt x="2369" y="3385"/>
                </a:lnTo>
                <a:lnTo>
                  <a:pt x="2356" y="3419"/>
                </a:lnTo>
                <a:lnTo>
                  <a:pt x="2339" y="3449"/>
                </a:lnTo>
                <a:lnTo>
                  <a:pt x="2316" y="3476"/>
                </a:lnTo>
                <a:lnTo>
                  <a:pt x="2289" y="3501"/>
                </a:lnTo>
                <a:lnTo>
                  <a:pt x="2260" y="3516"/>
                </a:lnTo>
                <a:lnTo>
                  <a:pt x="2229" y="3529"/>
                </a:lnTo>
                <a:lnTo>
                  <a:pt x="2196" y="3536"/>
                </a:lnTo>
                <a:lnTo>
                  <a:pt x="2163" y="3537"/>
                </a:lnTo>
                <a:lnTo>
                  <a:pt x="2131" y="3535"/>
                </a:lnTo>
                <a:lnTo>
                  <a:pt x="2099" y="3526"/>
                </a:lnTo>
                <a:lnTo>
                  <a:pt x="2070" y="3514"/>
                </a:lnTo>
                <a:lnTo>
                  <a:pt x="2042" y="3497"/>
                </a:lnTo>
                <a:lnTo>
                  <a:pt x="2016" y="3475"/>
                </a:lnTo>
                <a:lnTo>
                  <a:pt x="1994" y="3449"/>
                </a:lnTo>
                <a:lnTo>
                  <a:pt x="1958" y="3397"/>
                </a:lnTo>
                <a:lnTo>
                  <a:pt x="1953" y="3397"/>
                </a:lnTo>
                <a:lnTo>
                  <a:pt x="1920" y="3416"/>
                </a:lnTo>
                <a:lnTo>
                  <a:pt x="1886" y="3432"/>
                </a:lnTo>
                <a:lnTo>
                  <a:pt x="1850" y="3442"/>
                </a:lnTo>
                <a:lnTo>
                  <a:pt x="1815" y="3448"/>
                </a:lnTo>
                <a:lnTo>
                  <a:pt x="1779" y="3448"/>
                </a:lnTo>
                <a:lnTo>
                  <a:pt x="1748" y="3447"/>
                </a:lnTo>
                <a:lnTo>
                  <a:pt x="1704" y="3435"/>
                </a:lnTo>
                <a:lnTo>
                  <a:pt x="1664" y="3418"/>
                </a:lnTo>
                <a:lnTo>
                  <a:pt x="1627" y="3396"/>
                </a:lnTo>
                <a:lnTo>
                  <a:pt x="1596" y="3368"/>
                </a:lnTo>
                <a:lnTo>
                  <a:pt x="1568" y="3336"/>
                </a:lnTo>
                <a:lnTo>
                  <a:pt x="1550" y="3307"/>
                </a:lnTo>
                <a:lnTo>
                  <a:pt x="1536" y="3278"/>
                </a:lnTo>
                <a:lnTo>
                  <a:pt x="1525" y="3246"/>
                </a:lnTo>
                <a:lnTo>
                  <a:pt x="1519" y="3212"/>
                </a:lnTo>
                <a:lnTo>
                  <a:pt x="1487" y="3236"/>
                </a:lnTo>
                <a:lnTo>
                  <a:pt x="1451" y="3259"/>
                </a:lnTo>
                <a:lnTo>
                  <a:pt x="1412" y="3276"/>
                </a:lnTo>
                <a:lnTo>
                  <a:pt x="1370" y="3289"/>
                </a:lnTo>
                <a:lnTo>
                  <a:pt x="1328" y="3295"/>
                </a:lnTo>
                <a:lnTo>
                  <a:pt x="1283" y="3296"/>
                </a:lnTo>
                <a:lnTo>
                  <a:pt x="1264" y="3295"/>
                </a:lnTo>
                <a:lnTo>
                  <a:pt x="1247" y="3293"/>
                </a:lnTo>
                <a:lnTo>
                  <a:pt x="1206" y="3284"/>
                </a:lnTo>
                <a:lnTo>
                  <a:pt x="1167" y="3269"/>
                </a:lnTo>
                <a:lnTo>
                  <a:pt x="1130" y="3251"/>
                </a:lnTo>
                <a:lnTo>
                  <a:pt x="1096" y="3226"/>
                </a:lnTo>
                <a:lnTo>
                  <a:pt x="1066" y="3198"/>
                </a:lnTo>
                <a:lnTo>
                  <a:pt x="1038" y="3167"/>
                </a:lnTo>
                <a:lnTo>
                  <a:pt x="1014" y="3128"/>
                </a:lnTo>
                <a:lnTo>
                  <a:pt x="994" y="3086"/>
                </a:lnTo>
                <a:lnTo>
                  <a:pt x="982" y="3043"/>
                </a:lnTo>
                <a:lnTo>
                  <a:pt x="977" y="2998"/>
                </a:lnTo>
                <a:lnTo>
                  <a:pt x="979" y="2952"/>
                </a:lnTo>
                <a:lnTo>
                  <a:pt x="957" y="2951"/>
                </a:lnTo>
                <a:lnTo>
                  <a:pt x="933" y="2950"/>
                </a:lnTo>
                <a:lnTo>
                  <a:pt x="909" y="2949"/>
                </a:lnTo>
                <a:lnTo>
                  <a:pt x="869" y="2944"/>
                </a:lnTo>
                <a:lnTo>
                  <a:pt x="828" y="2937"/>
                </a:lnTo>
                <a:lnTo>
                  <a:pt x="792" y="2924"/>
                </a:lnTo>
                <a:lnTo>
                  <a:pt x="756" y="2907"/>
                </a:lnTo>
                <a:lnTo>
                  <a:pt x="724" y="2887"/>
                </a:lnTo>
                <a:lnTo>
                  <a:pt x="694" y="2861"/>
                </a:lnTo>
                <a:lnTo>
                  <a:pt x="668" y="2829"/>
                </a:lnTo>
                <a:lnTo>
                  <a:pt x="646" y="2794"/>
                </a:lnTo>
                <a:lnTo>
                  <a:pt x="629" y="2759"/>
                </a:lnTo>
                <a:lnTo>
                  <a:pt x="618" y="2721"/>
                </a:lnTo>
                <a:lnTo>
                  <a:pt x="610" y="2682"/>
                </a:lnTo>
                <a:lnTo>
                  <a:pt x="608" y="2641"/>
                </a:lnTo>
                <a:lnTo>
                  <a:pt x="566" y="2646"/>
                </a:lnTo>
                <a:lnTo>
                  <a:pt x="523" y="2646"/>
                </a:lnTo>
                <a:lnTo>
                  <a:pt x="504" y="2646"/>
                </a:lnTo>
                <a:lnTo>
                  <a:pt x="486" y="2644"/>
                </a:lnTo>
                <a:lnTo>
                  <a:pt x="446" y="2635"/>
                </a:lnTo>
                <a:lnTo>
                  <a:pt x="407" y="2620"/>
                </a:lnTo>
                <a:lnTo>
                  <a:pt x="370" y="2600"/>
                </a:lnTo>
                <a:lnTo>
                  <a:pt x="336" y="2577"/>
                </a:lnTo>
                <a:lnTo>
                  <a:pt x="305" y="2549"/>
                </a:lnTo>
                <a:lnTo>
                  <a:pt x="277" y="2518"/>
                </a:lnTo>
                <a:lnTo>
                  <a:pt x="256" y="2481"/>
                </a:lnTo>
                <a:lnTo>
                  <a:pt x="241" y="2442"/>
                </a:lnTo>
                <a:lnTo>
                  <a:pt x="230" y="2403"/>
                </a:lnTo>
                <a:lnTo>
                  <a:pt x="224" y="2363"/>
                </a:lnTo>
                <a:lnTo>
                  <a:pt x="224" y="2322"/>
                </a:lnTo>
                <a:lnTo>
                  <a:pt x="229" y="2281"/>
                </a:lnTo>
                <a:lnTo>
                  <a:pt x="238" y="2241"/>
                </a:lnTo>
                <a:lnTo>
                  <a:pt x="252" y="2203"/>
                </a:lnTo>
                <a:lnTo>
                  <a:pt x="270" y="2167"/>
                </a:lnTo>
                <a:lnTo>
                  <a:pt x="295" y="2133"/>
                </a:lnTo>
                <a:lnTo>
                  <a:pt x="323" y="2101"/>
                </a:lnTo>
                <a:lnTo>
                  <a:pt x="356" y="2073"/>
                </a:lnTo>
                <a:lnTo>
                  <a:pt x="409" y="2031"/>
                </a:lnTo>
                <a:lnTo>
                  <a:pt x="378" y="1972"/>
                </a:lnTo>
                <a:lnTo>
                  <a:pt x="341" y="1916"/>
                </a:lnTo>
                <a:lnTo>
                  <a:pt x="300" y="1865"/>
                </a:lnTo>
                <a:lnTo>
                  <a:pt x="253" y="1816"/>
                </a:lnTo>
                <a:lnTo>
                  <a:pt x="203" y="1772"/>
                </a:lnTo>
                <a:lnTo>
                  <a:pt x="150" y="1733"/>
                </a:lnTo>
                <a:lnTo>
                  <a:pt x="93" y="1698"/>
                </a:lnTo>
                <a:lnTo>
                  <a:pt x="0" y="1648"/>
                </a:lnTo>
                <a:lnTo>
                  <a:pt x="0" y="0"/>
                </a:lnTo>
                <a:close/>
              </a:path>
            </a:pathLst>
          </a:custGeom>
          <a:solidFill>
            <a:schemeClr val="bg1"/>
          </a:solidFill>
          <a:ln w="0">
            <a:noFill/>
            <a:prstDash val="solid"/>
            <a:round/>
          </a:ln>
        </p:spPr>
        <p:txBody>
          <a:bodyPr vert="horz" wrap="square" lIns="91440" tIns="45720" rIns="91440" bIns="45720" numCol="1" anchor="t" anchorCtr="0" compatLnSpc="1"/>
          <a:lstStyle/>
          <a:p>
            <a:endParaRPr lang="en-US">
              <a:solidFill>
                <a:schemeClr val="tx1">
                  <a:lumMod val="50000"/>
                  <a:lumOff val="50000"/>
                </a:schemeClr>
              </a:solidFill>
              <a:latin typeface="Calibri"/>
              <a:ea typeface="微软雅黑"/>
              <a:cs typeface="+mn-ea"/>
              <a:sym typeface="Calibri"/>
            </a:endParaRPr>
          </a:p>
        </p:txBody>
      </p:sp>
      <p:grpSp>
        <p:nvGrpSpPr>
          <p:cNvPr id="82" name="Group 17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a:grpSpLocks noChangeAspect="1"/>
          </p:cNvGrpSpPr>
          <p:nvPr/>
        </p:nvGrpSpPr>
        <p:grpSpPr bwMode="auto">
          <a:xfrm>
            <a:off x="929435" y="5637102"/>
            <a:ext cx="219783" cy="260161"/>
            <a:chOff x="3009" y="456"/>
            <a:chExt cx="1339" cy="1585"/>
          </a:xfrm>
          <a:solidFill>
            <a:schemeClr val="bg1"/>
          </a:solidFill>
        </p:grpSpPr>
        <p:sp>
          <p:nvSpPr>
            <p:cNvPr id="83" name="Freeform 175"/>
            <p:cNvSpPr/>
            <p:nvPr/>
          </p:nvSpPr>
          <p:spPr bwMode="auto">
            <a:xfrm>
              <a:off x="3324" y="456"/>
              <a:ext cx="708" cy="941"/>
            </a:xfrm>
            <a:custGeom>
              <a:avLst/>
              <a:gdLst>
                <a:gd name="T0" fmla="*/ 1202 w 2123"/>
                <a:gd name="T1" fmla="*/ 7 h 2821"/>
                <a:gd name="T2" fmla="*/ 1371 w 2123"/>
                <a:gd name="T3" fmla="*/ 48 h 2821"/>
                <a:gd name="T4" fmla="*/ 1509 w 2123"/>
                <a:gd name="T5" fmla="*/ 113 h 2821"/>
                <a:gd name="T6" fmla="*/ 1633 w 2123"/>
                <a:gd name="T7" fmla="*/ 198 h 2821"/>
                <a:gd name="T8" fmla="*/ 1712 w 2123"/>
                <a:gd name="T9" fmla="*/ 278 h 2821"/>
                <a:gd name="T10" fmla="*/ 1751 w 2123"/>
                <a:gd name="T11" fmla="*/ 331 h 2821"/>
                <a:gd name="T12" fmla="*/ 1760 w 2123"/>
                <a:gd name="T13" fmla="*/ 344 h 2821"/>
                <a:gd name="T14" fmla="*/ 1783 w 2123"/>
                <a:gd name="T15" fmla="*/ 349 h 2821"/>
                <a:gd name="T16" fmla="*/ 1825 w 2123"/>
                <a:gd name="T17" fmla="*/ 363 h 2821"/>
                <a:gd name="T18" fmla="*/ 1880 w 2123"/>
                <a:gd name="T19" fmla="*/ 395 h 2821"/>
                <a:gd name="T20" fmla="*/ 1939 w 2123"/>
                <a:gd name="T21" fmla="*/ 451 h 2821"/>
                <a:gd name="T22" fmla="*/ 1993 w 2123"/>
                <a:gd name="T23" fmla="*/ 537 h 2821"/>
                <a:gd name="T24" fmla="*/ 2036 w 2123"/>
                <a:gd name="T25" fmla="*/ 658 h 2821"/>
                <a:gd name="T26" fmla="*/ 2060 w 2123"/>
                <a:gd name="T27" fmla="*/ 825 h 2821"/>
                <a:gd name="T28" fmla="*/ 2055 w 2123"/>
                <a:gd name="T29" fmla="*/ 1039 h 2821"/>
                <a:gd name="T30" fmla="*/ 2017 w 2123"/>
                <a:gd name="T31" fmla="*/ 1277 h 2821"/>
                <a:gd name="T32" fmla="*/ 2029 w 2123"/>
                <a:gd name="T33" fmla="*/ 1345 h 2821"/>
                <a:gd name="T34" fmla="*/ 2073 w 2123"/>
                <a:gd name="T35" fmla="*/ 1360 h 2821"/>
                <a:gd name="T36" fmla="*/ 2107 w 2123"/>
                <a:gd name="T37" fmla="*/ 1402 h 2821"/>
                <a:gd name="T38" fmla="*/ 2123 w 2123"/>
                <a:gd name="T39" fmla="*/ 1480 h 2821"/>
                <a:gd name="T40" fmla="*/ 2112 w 2123"/>
                <a:gd name="T41" fmla="*/ 1600 h 2821"/>
                <a:gd name="T42" fmla="*/ 2065 w 2123"/>
                <a:gd name="T43" fmla="*/ 1775 h 2821"/>
                <a:gd name="T44" fmla="*/ 2009 w 2123"/>
                <a:gd name="T45" fmla="*/ 1918 h 2821"/>
                <a:gd name="T46" fmla="*/ 1955 w 2123"/>
                <a:gd name="T47" fmla="*/ 1993 h 2821"/>
                <a:gd name="T48" fmla="*/ 1909 w 2123"/>
                <a:gd name="T49" fmla="*/ 2016 h 2821"/>
                <a:gd name="T50" fmla="*/ 1857 w 2123"/>
                <a:gd name="T51" fmla="*/ 2203 h 2821"/>
                <a:gd name="T52" fmla="*/ 1757 w 2123"/>
                <a:gd name="T53" fmla="*/ 2394 h 2821"/>
                <a:gd name="T54" fmla="*/ 1615 w 2123"/>
                <a:gd name="T55" fmla="*/ 2570 h 2821"/>
                <a:gd name="T56" fmla="*/ 1431 w 2123"/>
                <a:gd name="T57" fmla="*/ 2714 h 2821"/>
                <a:gd name="T58" fmla="*/ 1213 w 2123"/>
                <a:gd name="T59" fmla="*/ 2803 h 2821"/>
                <a:gd name="T60" fmla="*/ 984 w 2123"/>
                <a:gd name="T61" fmla="*/ 2816 h 2821"/>
                <a:gd name="T62" fmla="*/ 760 w 2123"/>
                <a:gd name="T63" fmla="*/ 2751 h 2821"/>
                <a:gd name="T64" fmla="*/ 563 w 2123"/>
                <a:gd name="T65" fmla="*/ 2624 h 2821"/>
                <a:gd name="T66" fmla="*/ 406 w 2123"/>
                <a:gd name="T67" fmla="*/ 2458 h 2821"/>
                <a:gd name="T68" fmla="*/ 293 w 2123"/>
                <a:gd name="T69" fmla="*/ 2268 h 2821"/>
                <a:gd name="T70" fmla="*/ 226 w 2123"/>
                <a:gd name="T71" fmla="*/ 2077 h 2821"/>
                <a:gd name="T72" fmla="*/ 184 w 2123"/>
                <a:gd name="T73" fmla="*/ 2005 h 2821"/>
                <a:gd name="T74" fmla="*/ 134 w 2123"/>
                <a:gd name="T75" fmla="*/ 1950 h 2821"/>
                <a:gd name="T76" fmla="*/ 77 w 2123"/>
                <a:gd name="T77" fmla="*/ 1831 h 2821"/>
                <a:gd name="T78" fmla="*/ 22 w 2123"/>
                <a:gd name="T79" fmla="*/ 1652 h 2821"/>
                <a:gd name="T80" fmla="*/ 0 w 2123"/>
                <a:gd name="T81" fmla="*/ 1515 h 2821"/>
                <a:gd name="T82" fmla="*/ 9 w 2123"/>
                <a:gd name="T83" fmla="*/ 1425 h 2821"/>
                <a:gd name="T84" fmla="*/ 37 w 2123"/>
                <a:gd name="T85" fmla="*/ 1371 h 2821"/>
                <a:gd name="T86" fmla="*/ 79 w 2123"/>
                <a:gd name="T87" fmla="*/ 1348 h 2821"/>
                <a:gd name="T88" fmla="*/ 126 w 2123"/>
                <a:gd name="T89" fmla="*/ 1345 h 2821"/>
                <a:gd name="T90" fmla="*/ 77 w 2123"/>
                <a:gd name="T91" fmla="*/ 1139 h 2821"/>
                <a:gd name="T92" fmla="*/ 67 w 2123"/>
                <a:gd name="T93" fmla="*/ 923 h 2821"/>
                <a:gd name="T94" fmla="*/ 110 w 2123"/>
                <a:gd name="T95" fmla="*/ 710 h 2821"/>
                <a:gd name="T96" fmla="*/ 208 w 2123"/>
                <a:gd name="T97" fmla="*/ 511 h 2821"/>
                <a:gd name="T98" fmla="*/ 338 w 2123"/>
                <a:gd name="T99" fmla="*/ 349 h 2821"/>
                <a:gd name="T100" fmla="*/ 507 w 2123"/>
                <a:gd name="T101" fmla="*/ 200 h 2821"/>
                <a:gd name="T102" fmla="*/ 676 w 2123"/>
                <a:gd name="T103" fmla="*/ 93 h 2821"/>
                <a:gd name="T104" fmla="*/ 858 w 2123"/>
                <a:gd name="T105" fmla="*/ 25 h 2821"/>
                <a:gd name="T106" fmla="*/ 1070 w 2123"/>
                <a:gd name="T107" fmla="*/ 0 h 2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123" h="2821">
                  <a:moveTo>
                    <a:pt x="1070" y="0"/>
                  </a:moveTo>
                  <a:lnTo>
                    <a:pt x="1138" y="2"/>
                  </a:lnTo>
                  <a:lnTo>
                    <a:pt x="1202" y="7"/>
                  </a:lnTo>
                  <a:lnTo>
                    <a:pt x="1262" y="18"/>
                  </a:lnTo>
                  <a:lnTo>
                    <a:pt x="1319" y="32"/>
                  </a:lnTo>
                  <a:lnTo>
                    <a:pt x="1371" y="48"/>
                  </a:lnTo>
                  <a:lnTo>
                    <a:pt x="1422" y="68"/>
                  </a:lnTo>
                  <a:lnTo>
                    <a:pt x="1467" y="90"/>
                  </a:lnTo>
                  <a:lnTo>
                    <a:pt x="1509" y="113"/>
                  </a:lnTo>
                  <a:lnTo>
                    <a:pt x="1555" y="141"/>
                  </a:lnTo>
                  <a:lnTo>
                    <a:pt x="1597" y="169"/>
                  </a:lnTo>
                  <a:lnTo>
                    <a:pt x="1633" y="198"/>
                  </a:lnTo>
                  <a:lnTo>
                    <a:pt x="1664" y="226"/>
                  </a:lnTo>
                  <a:lnTo>
                    <a:pt x="1690" y="253"/>
                  </a:lnTo>
                  <a:lnTo>
                    <a:pt x="1712" y="278"/>
                  </a:lnTo>
                  <a:lnTo>
                    <a:pt x="1729" y="300"/>
                  </a:lnTo>
                  <a:lnTo>
                    <a:pt x="1742" y="318"/>
                  </a:lnTo>
                  <a:lnTo>
                    <a:pt x="1751" y="331"/>
                  </a:lnTo>
                  <a:lnTo>
                    <a:pt x="1757" y="340"/>
                  </a:lnTo>
                  <a:lnTo>
                    <a:pt x="1758" y="344"/>
                  </a:lnTo>
                  <a:lnTo>
                    <a:pt x="1760" y="344"/>
                  </a:lnTo>
                  <a:lnTo>
                    <a:pt x="1765" y="344"/>
                  </a:lnTo>
                  <a:lnTo>
                    <a:pt x="1773" y="346"/>
                  </a:lnTo>
                  <a:lnTo>
                    <a:pt x="1783" y="349"/>
                  </a:lnTo>
                  <a:lnTo>
                    <a:pt x="1796" y="352"/>
                  </a:lnTo>
                  <a:lnTo>
                    <a:pt x="1809" y="356"/>
                  </a:lnTo>
                  <a:lnTo>
                    <a:pt x="1825" y="363"/>
                  </a:lnTo>
                  <a:lnTo>
                    <a:pt x="1842" y="372"/>
                  </a:lnTo>
                  <a:lnTo>
                    <a:pt x="1861" y="382"/>
                  </a:lnTo>
                  <a:lnTo>
                    <a:pt x="1880" y="395"/>
                  </a:lnTo>
                  <a:lnTo>
                    <a:pt x="1899" y="411"/>
                  </a:lnTo>
                  <a:lnTo>
                    <a:pt x="1919" y="430"/>
                  </a:lnTo>
                  <a:lnTo>
                    <a:pt x="1939" y="451"/>
                  </a:lnTo>
                  <a:lnTo>
                    <a:pt x="1958" y="476"/>
                  </a:lnTo>
                  <a:lnTo>
                    <a:pt x="1975" y="505"/>
                  </a:lnTo>
                  <a:lnTo>
                    <a:pt x="1993" y="537"/>
                  </a:lnTo>
                  <a:lnTo>
                    <a:pt x="2009" y="573"/>
                  </a:lnTo>
                  <a:lnTo>
                    <a:pt x="2023" y="613"/>
                  </a:lnTo>
                  <a:lnTo>
                    <a:pt x="2036" y="658"/>
                  </a:lnTo>
                  <a:lnTo>
                    <a:pt x="2046" y="709"/>
                  </a:lnTo>
                  <a:lnTo>
                    <a:pt x="2055" y="764"/>
                  </a:lnTo>
                  <a:lnTo>
                    <a:pt x="2060" y="825"/>
                  </a:lnTo>
                  <a:lnTo>
                    <a:pt x="2061" y="890"/>
                  </a:lnTo>
                  <a:lnTo>
                    <a:pt x="2060" y="961"/>
                  </a:lnTo>
                  <a:lnTo>
                    <a:pt x="2055" y="1039"/>
                  </a:lnTo>
                  <a:lnTo>
                    <a:pt x="2046" y="1121"/>
                  </a:lnTo>
                  <a:lnTo>
                    <a:pt x="2032" y="1212"/>
                  </a:lnTo>
                  <a:lnTo>
                    <a:pt x="2017" y="1277"/>
                  </a:lnTo>
                  <a:lnTo>
                    <a:pt x="1997" y="1345"/>
                  </a:lnTo>
                  <a:lnTo>
                    <a:pt x="2013" y="1344"/>
                  </a:lnTo>
                  <a:lnTo>
                    <a:pt x="2029" y="1345"/>
                  </a:lnTo>
                  <a:lnTo>
                    <a:pt x="2044" y="1348"/>
                  </a:lnTo>
                  <a:lnTo>
                    <a:pt x="2060" y="1353"/>
                  </a:lnTo>
                  <a:lnTo>
                    <a:pt x="2073" y="1360"/>
                  </a:lnTo>
                  <a:lnTo>
                    <a:pt x="2086" y="1371"/>
                  </a:lnTo>
                  <a:lnTo>
                    <a:pt x="2097" y="1384"/>
                  </a:lnTo>
                  <a:lnTo>
                    <a:pt x="2107" y="1402"/>
                  </a:lnTo>
                  <a:lnTo>
                    <a:pt x="2115" y="1423"/>
                  </a:lnTo>
                  <a:lnTo>
                    <a:pt x="2120" y="1449"/>
                  </a:lnTo>
                  <a:lnTo>
                    <a:pt x="2123" y="1480"/>
                  </a:lnTo>
                  <a:lnTo>
                    <a:pt x="2122" y="1515"/>
                  </a:lnTo>
                  <a:lnTo>
                    <a:pt x="2119" y="1554"/>
                  </a:lnTo>
                  <a:lnTo>
                    <a:pt x="2112" y="1600"/>
                  </a:lnTo>
                  <a:lnTo>
                    <a:pt x="2102" y="1652"/>
                  </a:lnTo>
                  <a:lnTo>
                    <a:pt x="2086" y="1708"/>
                  </a:lnTo>
                  <a:lnTo>
                    <a:pt x="2065" y="1775"/>
                  </a:lnTo>
                  <a:lnTo>
                    <a:pt x="2046" y="1831"/>
                  </a:lnTo>
                  <a:lnTo>
                    <a:pt x="2028" y="1879"/>
                  </a:lnTo>
                  <a:lnTo>
                    <a:pt x="2009" y="1918"/>
                  </a:lnTo>
                  <a:lnTo>
                    <a:pt x="1990" y="1950"/>
                  </a:lnTo>
                  <a:lnTo>
                    <a:pt x="1973" y="1975"/>
                  </a:lnTo>
                  <a:lnTo>
                    <a:pt x="1955" y="1993"/>
                  </a:lnTo>
                  <a:lnTo>
                    <a:pt x="1939" y="2005"/>
                  </a:lnTo>
                  <a:lnTo>
                    <a:pt x="1925" y="2012"/>
                  </a:lnTo>
                  <a:lnTo>
                    <a:pt x="1909" y="2016"/>
                  </a:lnTo>
                  <a:lnTo>
                    <a:pt x="1897" y="2077"/>
                  </a:lnTo>
                  <a:lnTo>
                    <a:pt x="1880" y="2139"/>
                  </a:lnTo>
                  <a:lnTo>
                    <a:pt x="1857" y="2203"/>
                  </a:lnTo>
                  <a:lnTo>
                    <a:pt x="1829" y="2268"/>
                  </a:lnTo>
                  <a:lnTo>
                    <a:pt x="1796" y="2332"/>
                  </a:lnTo>
                  <a:lnTo>
                    <a:pt x="1757" y="2394"/>
                  </a:lnTo>
                  <a:lnTo>
                    <a:pt x="1715" y="2456"/>
                  </a:lnTo>
                  <a:lnTo>
                    <a:pt x="1667" y="2514"/>
                  </a:lnTo>
                  <a:lnTo>
                    <a:pt x="1615" y="2570"/>
                  </a:lnTo>
                  <a:lnTo>
                    <a:pt x="1558" y="2622"/>
                  </a:lnTo>
                  <a:lnTo>
                    <a:pt x="1496" y="2670"/>
                  </a:lnTo>
                  <a:lnTo>
                    <a:pt x="1431" y="2714"/>
                  </a:lnTo>
                  <a:lnTo>
                    <a:pt x="1361" y="2750"/>
                  </a:lnTo>
                  <a:lnTo>
                    <a:pt x="1289" y="2780"/>
                  </a:lnTo>
                  <a:lnTo>
                    <a:pt x="1213" y="2803"/>
                  </a:lnTo>
                  <a:lnTo>
                    <a:pt x="1138" y="2816"/>
                  </a:lnTo>
                  <a:lnTo>
                    <a:pt x="1061" y="2821"/>
                  </a:lnTo>
                  <a:lnTo>
                    <a:pt x="984" y="2816"/>
                  </a:lnTo>
                  <a:lnTo>
                    <a:pt x="909" y="2803"/>
                  </a:lnTo>
                  <a:lnTo>
                    <a:pt x="834" y="2782"/>
                  </a:lnTo>
                  <a:lnTo>
                    <a:pt x="760" y="2751"/>
                  </a:lnTo>
                  <a:lnTo>
                    <a:pt x="689" y="2714"/>
                  </a:lnTo>
                  <a:lnTo>
                    <a:pt x="623" y="2672"/>
                  </a:lnTo>
                  <a:lnTo>
                    <a:pt x="563" y="2624"/>
                  </a:lnTo>
                  <a:lnTo>
                    <a:pt x="506" y="2572"/>
                  </a:lnTo>
                  <a:lnTo>
                    <a:pt x="454" y="2515"/>
                  </a:lnTo>
                  <a:lnTo>
                    <a:pt x="406" y="2458"/>
                  </a:lnTo>
                  <a:lnTo>
                    <a:pt x="364" y="2395"/>
                  </a:lnTo>
                  <a:lnTo>
                    <a:pt x="326" y="2333"/>
                  </a:lnTo>
                  <a:lnTo>
                    <a:pt x="293" y="2268"/>
                  </a:lnTo>
                  <a:lnTo>
                    <a:pt x="265" y="2204"/>
                  </a:lnTo>
                  <a:lnTo>
                    <a:pt x="244" y="2141"/>
                  </a:lnTo>
                  <a:lnTo>
                    <a:pt x="226" y="2077"/>
                  </a:lnTo>
                  <a:lnTo>
                    <a:pt x="215" y="2016"/>
                  </a:lnTo>
                  <a:lnTo>
                    <a:pt x="200" y="2012"/>
                  </a:lnTo>
                  <a:lnTo>
                    <a:pt x="184" y="2005"/>
                  </a:lnTo>
                  <a:lnTo>
                    <a:pt x="168" y="1993"/>
                  </a:lnTo>
                  <a:lnTo>
                    <a:pt x="151" y="1975"/>
                  </a:lnTo>
                  <a:lnTo>
                    <a:pt x="134" y="1950"/>
                  </a:lnTo>
                  <a:lnTo>
                    <a:pt x="115" y="1918"/>
                  </a:lnTo>
                  <a:lnTo>
                    <a:pt x="96" y="1879"/>
                  </a:lnTo>
                  <a:lnTo>
                    <a:pt x="77" y="1831"/>
                  </a:lnTo>
                  <a:lnTo>
                    <a:pt x="57" y="1776"/>
                  </a:lnTo>
                  <a:lnTo>
                    <a:pt x="37" y="1710"/>
                  </a:lnTo>
                  <a:lnTo>
                    <a:pt x="22" y="1652"/>
                  </a:lnTo>
                  <a:lnTo>
                    <a:pt x="10" y="1601"/>
                  </a:lnTo>
                  <a:lnTo>
                    <a:pt x="5" y="1555"/>
                  </a:lnTo>
                  <a:lnTo>
                    <a:pt x="0" y="1515"/>
                  </a:lnTo>
                  <a:lnTo>
                    <a:pt x="0" y="1480"/>
                  </a:lnTo>
                  <a:lnTo>
                    <a:pt x="3" y="1451"/>
                  </a:lnTo>
                  <a:lnTo>
                    <a:pt x="9" y="1425"/>
                  </a:lnTo>
                  <a:lnTo>
                    <a:pt x="16" y="1403"/>
                  </a:lnTo>
                  <a:lnTo>
                    <a:pt x="25" y="1386"/>
                  </a:lnTo>
                  <a:lnTo>
                    <a:pt x="37" y="1371"/>
                  </a:lnTo>
                  <a:lnTo>
                    <a:pt x="50" y="1361"/>
                  </a:lnTo>
                  <a:lnTo>
                    <a:pt x="64" y="1354"/>
                  </a:lnTo>
                  <a:lnTo>
                    <a:pt x="79" y="1348"/>
                  </a:lnTo>
                  <a:lnTo>
                    <a:pt x="94" y="1345"/>
                  </a:lnTo>
                  <a:lnTo>
                    <a:pt x="110" y="1345"/>
                  </a:lnTo>
                  <a:lnTo>
                    <a:pt x="126" y="1345"/>
                  </a:lnTo>
                  <a:lnTo>
                    <a:pt x="105" y="1279"/>
                  </a:lnTo>
                  <a:lnTo>
                    <a:pt x="90" y="1212"/>
                  </a:lnTo>
                  <a:lnTo>
                    <a:pt x="77" y="1139"/>
                  </a:lnTo>
                  <a:lnTo>
                    <a:pt x="68" y="1065"/>
                  </a:lnTo>
                  <a:lnTo>
                    <a:pt x="65" y="992"/>
                  </a:lnTo>
                  <a:lnTo>
                    <a:pt x="67" y="923"/>
                  </a:lnTo>
                  <a:lnTo>
                    <a:pt x="74" y="854"/>
                  </a:lnTo>
                  <a:lnTo>
                    <a:pt x="89" y="786"/>
                  </a:lnTo>
                  <a:lnTo>
                    <a:pt x="110" y="710"/>
                  </a:lnTo>
                  <a:lnTo>
                    <a:pt x="137" y="640"/>
                  </a:lnTo>
                  <a:lnTo>
                    <a:pt x="170" y="573"/>
                  </a:lnTo>
                  <a:lnTo>
                    <a:pt x="208" y="511"/>
                  </a:lnTo>
                  <a:lnTo>
                    <a:pt x="248" y="453"/>
                  </a:lnTo>
                  <a:lnTo>
                    <a:pt x="292" y="399"/>
                  </a:lnTo>
                  <a:lnTo>
                    <a:pt x="338" y="349"/>
                  </a:lnTo>
                  <a:lnTo>
                    <a:pt x="392" y="295"/>
                  </a:lnTo>
                  <a:lnTo>
                    <a:pt x="448" y="245"/>
                  </a:lnTo>
                  <a:lnTo>
                    <a:pt x="507" y="200"/>
                  </a:lnTo>
                  <a:lnTo>
                    <a:pt x="568" y="158"/>
                  </a:lnTo>
                  <a:lnTo>
                    <a:pt x="621" y="123"/>
                  </a:lnTo>
                  <a:lnTo>
                    <a:pt x="676" y="93"/>
                  </a:lnTo>
                  <a:lnTo>
                    <a:pt x="734" y="65"/>
                  </a:lnTo>
                  <a:lnTo>
                    <a:pt x="793" y="42"/>
                  </a:lnTo>
                  <a:lnTo>
                    <a:pt x="858" y="25"/>
                  </a:lnTo>
                  <a:lnTo>
                    <a:pt x="926" y="10"/>
                  </a:lnTo>
                  <a:lnTo>
                    <a:pt x="997" y="5"/>
                  </a:lnTo>
                  <a:lnTo>
                    <a:pt x="1070" y="0"/>
                  </a:lnTo>
                  <a:close/>
                </a:path>
              </a:pathLst>
            </a:custGeom>
            <a:grpFill/>
            <a:ln w="0">
              <a:noFill/>
              <a:prstDash val="solid"/>
              <a:round/>
            </a:ln>
          </p:spPr>
          <p:txBody>
            <a:bodyPr vert="horz" wrap="square" lIns="91440" tIns="45720" rIns="91440" bIns="45720" numCol="1" anchor="t" anchorCtr="0" compatLnSpc="1"/>
            <a:lstStyle/>
            <a:p>
              <a:endParaRPr lang="en-US">
                <a:solidFill>
                  <a:schemeClr val="tx1">
                    <a:lumMod val="50000"/>
                    <a:lumOff val="50000"/>
                  </a:schemeClr>
                </a:solidFill>
                <a:latin typeface="Calibri"/>
                <a:ea typeface="微软雅黑"/>
                <a:cs typeface="+mn-ea"/>
                <a:sym typeface="Calibri"/>
              </a:endParaRPr>
            </a:p>
          </p:txBody>
        </p:sp>
        <p:sp>
          <p:nvSpPr>
            <p:cNvPr id="84" name="Freeform 176"/>
            <p:cNvSpPr/>
            <p:nvPr/>
          </p:nvSpPr>
          <p:spPr bwMode="auto">
            <a:xfrm>
              <a:off x="3009" y="1357"/>
              <a:ext cx="1339" cy="684"/>
            </a:xfrm>
            <a:custGeom>
              <a:avLst/>
              <a:gdLst>
                <a:gd name="T0" fmla="*/ 1677 w 4017"/>
                <a:gd name="T1" fmla="*/ 1196 h 2051"/>
                <a:gd name="T2" fmla="*/ 1822 w 4017"/>
                <a:gd name="T3" fmla="*/ 765 h 2051"/>
                <a:gd name="T4" fmla="*/ 1743 w 4017"/>
                <a:gd name="T5" fmla="*/ 583 h 2051"/>
                <a:gd name="T6" fmla="*/ 1739 w 4017"/>
                <a:gd name="T7" fmla="*/ 459 h 2051"/>
                <a:gd name="T8" fmla="*/ 1787 w 4017"/>
                <a:gd name="T9" fmla="*/ 378 h 2051"/>
                <a:gd name="T10" fmla="*/ 1862 w 4017"/>
                <a:gd name="T11" fmla="*/ 334 h 2051"/>
                <a:gd name="T12" fmla="*/ 1939 w 4017"/>
                <a:gd name="T13" fmla="*/ 314 h 2051"/>
                <a:gd name="T14" fmla="*/ 1995 w 4017"/>
                <a:gd name="T15" fmla="*/ 310 h 2051"/>
                <a:gd name="T16" fmla="*/ 2022 w 4017"/>
                <a:gd name="T17" fmla="*/ 310 h 2051"/>
                <a:gd name="T18" fmla="*/ 2078 w 4017"/>
                <a:gd name="T19" fmla="*/ 314 h 2051"/>
                <a:gd name="T20" fmla="*/ 2155 w 4017"/>
                <a:gd name="T21" fmla="*/ 334 h 2051"/>
                <a:gd name="T22" fmla="*/ 2230 w 4017"/>
                <a:gd name="T23" fmla="*/ 378 h 2051"/>
                <a:gd name="T24" fmla="*/ 2278 w 4017"/>
                <a:gd name="T25" fmla="*/ 459 h 2051"/>
                <a:gd name="T26" fmla="*/ 2274 w 4017"/>
                <a:gd name="T27" fmla="*/ 583 h 2051"/>
                <a:gd name="T28" fmla="*/ 2195 w 4017"/>
                <a:gd name="T29" fmla="*/ 765 h 2051"/>
                <a:gd name="T30" fmla="*/ 2340 w 4017"/>
                <a:gd name="T31" fmla="*/ 1196 h 2051"/>
                <a:gd name="T32" fmla="*/ 2724 w 4017"/>
                <a:gd name="T33" fmla="*/ 1 h 2051"/>
                <a:gd name="T34" fmla="*/ 2801 w 4017"/>
                <a:gd name="T35" fmla="*/ 51 h 2051"/>
                <a:gd name="T36" fmla="*/ 2963 w 4017"/>
                <a:gd name="T37" fmla="*/ 146 h 2051"/>
                <a:gd name="T38" fmla="*/ 3195 w 4017"/>
                <a:gd name="T39" fmla="*/ 260 h 2051"/>
                <a:gd name="T40" fmla="*/ 3479 w 4017"/>
                <a:gd name="T41" fmla="*/ 370 h 2051"/>
                <a:gd name="T42" fmla="*/ 3742 w 4017"/>
                <a:gd name="T43" fmla="*/ 456 h 2051"/>
                <a:gd name="T44" fmla="*/ 3894 w 4017"/>
                <a:gd name="T45" fmla="*/ 589 h 2051"/>
                <a:gd name="T46" fmla="*/ 3978 w 4017"/>
                <a:gd name="T47" fmla="*/ 765 h 2051"/>
                <a:gd name="T48" fmla="*/ 4013 w 4017"/>
                <a:gd name="T49" fmla="*/ 953 h 2051"/>
                <a:gd name="T50" fmla="*/ 4016 w 4017"/>
                <a:gd name="T51" fmla="*/ 1121 h 2051"/>
                <a:gd name="T52" fmla="*/ 4011 w 4017"/>
                <a:gd name="T53" fmla="*/ 1198 h 2051"/>
                <a:gd name="T54" fmla="*/ 3998 w 4017"/>
                <a:gd name="T55" fmla="*/ 1339 h 2051"/>
                <a:gd name="T56" fmla="*/ 3981 w 4017"/>
                <a:gd name="T57" fmla="*/ 1507 h 2051"/>
                <a:gd name="T58" fmla="*/ 3958 w 4017"/>
                <a:gd name="T59" fmla="*/ 1584 h 2051"/>
                <a:gd name="T60" fmla="*/ 3856 w 4017"/>
                <a:gd name="T61" fmla="*/ 1640 h 2051"/>
                <a:gd name="T62" fmla="*/ 3659 w 4017"/>
                <a:gd name="T63" fmla="*/ 1733 h 2051"/>
                <a:gd name="T64" fmla="*/ 3369 w 4017"/>
                <a:gd name="T65" fmla="*/ 1841 h 2051"/>
                <a:gd name="T66" fmla="*/ 2995 w 4017"/>
                <a:gd name="T67" fmla="*/ 1944 h 2051"/>
                <a:gd name="T68" fmla="*/ 2539 w 4017"/>
                <a:gd name="T69" fmla="*/ 2022 h 2051"/>
                <a:gd name="T70" fmla="*/ 2007 w 4017"/>
                <a:gd name="T71" fmla="*/ 2051 h 2051"/>
                <a:gd name="T72" fmla="*/ 1478 w 4017"/>
                <a:gd name="T73" fmla="*/ 2021 h 2051"/>
                <a:gd name="T74" fmla="*/ 1022 w 4017"/>
                <a:gd name="T75" fmla="*/ 1944 h 2051"/>
                <a:gd name="T76" fmla="*/ 648 w 4017"/>
                <a:gd name="T77" fmla="*/ 1841 h 2051"/>
                <a:gd name="T78" fmla="*/ 358 w 4017"/>
                <a:gd name="T79" fmla="*/ 1733 h 2051"/>
                <a:gd name="T80" fmla="*/ 161 w 4017"/>
                <a:gd name="T81" fmla="*/ 1640 h 2051"/>
                <a:gd name="T82" fmla="*/ 59 w 4017"/>
                <a:gd name="T83" fmla="*/ 1584 h 2051"/>
                <a:gd name="T84" fmla="*/ 36 w 4017"/>
                <a:gd name="T85" fmla="*/ 1507 h 2051"/>
                <a:gd name="T86" fmla="*/ 19 w 4017"/>
                <a:gd name="T87" fmla="*/ 1339 h 2051"/>
                <a:gd name="T88" fmla="*/ 6 w 4017"/>
                <a:gd name="T89" fmla="*/ 1198 h 2051"/>
                <a:gd name="T90" fmla="*/ 1 w 4017"/>
                <a:gd name="T91" fmla="*/ 1121 h 2051"/>
                <a:gd name="T92" fmla="*/ 4 w 4017"/>
                <a:gd name="T93" fmla="*/ 953 h 2051"/>
                <a:gd name="T94" fmla="*/ 38 w 4017"/>
                <a:gd name="T95" fmla="*/ 765 h 2051"/>
                <a:gd name="T96" fmla="*/ 123 w 4017"/>
                <a:gd name="T97" fmla="*/ 589 h 2051"/>
                <a:gd name="T98" fmla="*/ 274 w 4017"/>
                <a:gd name="T99" fmla="*/ 456 h 2051"/>
                <a:gd name="T100" fmla="*/ 538 w 4017"/>
                <a:gd name="T101" fmla="*/ 370 h 2051"/>
                <a:gd name="T102" fmla="*/ 820 w 4017"/>
                <a:gd name="T103" fmla="*/ 260 h 2051"/>
                <a:gd name="T104" fmla="*/ 1052 w 4017"/>
                <a:gd name="T105" fmla="*/ 146 h 2051"/>
                <a:gd name="T106" fmla="*/ 1216 w 4017"/>
                <a:gd name="T107" fmla="*/ 51 h 2051"/>
                <a:gd name="T108" fmla="*/ 1291 w 4017"/>
                <a:gd name="T109" fmla="*/ 1 h 20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017" h="2051">
                  <a:moveTo>
                    <a:pt x="1294" y="0"/>
                  </a:moveTo>
                  <a:lnTo>
                    <a:pt x="1614" y="1008"/>
                  </a:lnTo>
                  <a:lnTo>
                    <a:pt x="1675" y="1199"/>
                  </a:lnTo>
                  <a:lnTo>
                    <a:pt x="1677" y="1196"/>
                  </a:lnTo>
                  <a:lnTo>
                    <a:pt x="1729" y="1357"/>
                  </a:lnTo>
                  <a:lnTo>
                    <a:pt x="1897" y="879"/>
                  </a:lnTo>
                  <a:lnTo>
                    <a:pt x="1856" y="820"/>
                  </a:lnTo>
                  <a:lnTo>
                    <a:pt x="1822" y="765"/>
                  </a:lnTo>
                  <a:lnTo>
                    <a:pt x="1794" y="713"/>
                  </a:lnTo>
                  <a:lnTo>
                    <a:pt x="1771" y="667"/>
                  </a:lnTo>
                  <a:lnTo>
                    <a:pt x="1755" y="623"/>
                  </a:lnTo>
                  <a:lnTo>
                    <a:pt x="1743" y="583"/>
                  </a:lnTo>
                  <a:lnTo>
                    <a:pt x="1736" y="547"/>
                  </a:lnTo>
                  <a:lnTo>
                    <a:pt x="1733" y="515"/>
                  </a:lnTo>
                  <a:lnTo>
                    <a:pt x="1735" y="485"/>
                  </a:lnTo>
                  <a:lnTo>
                    <a:pt x="1739" y="459"/>
                  </a:lnTo>
                  <a:lnTo>
                    <a:pt x="1748" y="434"/>
                  </a:lnTo>
                  <a:lnTo>
                    <a:pt x="1758" y="412"/>
                  </a:lnTo>
                  <a:lnTo>
                    <a:pt x="1772" y="395"/>
                  </a:lnTo>
                  <a:lnTo>
                    <a:pt x="1787" y="378"/>
                  </a:lnTo>
                  <a:lnTo>
                    <a:pt x="1804" y="365"/>
                  </a:lnTo>
                  <a:lnTo>
                    <a:pt x="1823" y="352"/>
                  </a:lnTo>
                  <a:lnTo>
                    <a:pt x="1842" y="341"/>
                  </a:lnTo>
                  <a:lnTo>
                    <a:pt x="1862" y="334"/>
                  </a:lnTo>
                  <a:lnTo>
                    <a:pt x="1882" y="327"/>
                  </a:lnTo>
                  <a:lnTo>
                    <a:pt x="1901" y="321"/>
                  </a:lnTo>
                  <a:lnTo>
                    <a:pt x="1922" y="317"/>
                  </a:lnTo>
                  <a:lnTo>
                    <a:pt x="1939" y="314"/>
                  </a:lnTo>
                  <a:lnTo>
                    <a:pt x="1956" y="312"/>
                  </a:lnTo>
                  <a:lnTo>
                    <a:pt x="1972" y="311"/>
                  </a:lnTo>
                  <a:lnTo>
                    <a:pt x="1985" y="310"/>
                  </a:lnTo>
                  <a:lnTo>
                    <a:pt x="1995" y="310"/>
                  </a:lnTo>
                  <a:lnTo>
                    <a:pt x="2004" y="310"/>
                  </a:lnTo>
                  <a:lnTo>
                    <a:pt x="2007" y="310"/>
                  </a:lnTo>
                  <a:lnTo>
                    <a:pt x="2013" y="310"/>
                  </a:lnTo>
                  <a:lnTo>
                    <a:pt x="2022" y="310"/>
                  </a:lnTo>
                  <a:lnTo>
                    <a:pt x="2032" y="310"/>
                  </a:lnTo>
                  <a:lnTo>
                    <a:pt x="2045" y="311"/>
                  </a:lnTo>
                  <a:lnTo>
                    <a:pt x="2061" y="312"/>
                  </a:lnTo>
                  <a:lnTo>
                    <a:pt x="2078" y="314"/>
                  </a:lnTo>
                  <a:lnTo>
                    <a:pt x="2095" y="317"/>
                  </a:lnTo>
                  <a:lnTo>
                    <a:pt x="2116" y="321"/>
                  </a:lnTo>
                  <a:lnTo>
                    <a:pt x="2135" y="327"/>
                  </a:lnTo>
                  <a:lnTo>
                    <a:pt x="2155" y="334"/>
                  </a:lnTo>
                  <a:lnTo>
                    <a:pt x="2175" y="341"/>
                  </a:lnTo>
                  <a:lnTo>
                    <a:pt x="2194" y="352"/>
                  </a:lnTo>
                  <a:lnTo>
                    <a:pt x="2213" y="365"/>
                  </a:lnTo>
                  <a:lnTo>
                    <a:pt x="2230" y="378"/>
                  </a:lnTo>
                  <a:lnTo>
                    <a:pt x="2245" y="395"/>
                  </a:lnTo>
                  <a:lnTo>
                    <a:pt x="2259" y="412"/>
                  </a:lnTo>
                  <a:lnTo>
                    <a:pt x="2269" y="434"/>
                  </a:lnTo>
                  <a:lnTo>
                    <a:pt x="2278" y="459"/>
                  </a:lnTo>
                  <a:lnTo>
                    <a:pt x="2282" y="485"/>
                  </a:lnTo>
                  <a:lnTo>
                    <a:pt x="2284" y="515"/>
                  </a:lnTo>
                  <a:lnTo>
                    <a:pt x="2281" y="547"/>
                  </a:lnTo>
                  <a:lnTo>
                    <a:pt x="2274" y="583"/>
                  </a:lnTo>
                  <a:lnTo>
                    <a:pt x="2262" y="623"/>
                  </a:lnTo>
                  <a:lnTo>
                    <a:pt x="2246" y="667"/>
                  </a:lnTo>
                  <a:lnTo>
                    <a:pt x="2223" y="713"/>
                  </a:lnTo>
                  <a:lnTo>
                    <a:pt x="2195" y="765"/>
                  </a:lnTo>
                  <a:lnTo>
                    <a:pt x="2161" y="820"/>
                  </a:lnTo>
                  <a:lnTo>
                    <a:pt x="2120" y="879"/>
                  </a:lnTo>
                  <a:lnTo>
                    <a:pt x="2288" y="1357"/>
                  </a:lnTo>
                  <a:lnTo>
                    <a:pt x="2340" y="1196"/>
                  </a:lnTo>
                  <a:lnTo>
                    <a:pt x="2342" y="1199"/>
                  </a:lnTo>
                  <a:lnTo>
                    <a:pt x="2401" y="1008"/>
                  </a:lnTo>
                  <a:lnTo>
                    <a:pt x="2721" y="0"/>
                  </a:lnTo>
                  <a:lnTo>
                    <a:pt x="2724" y="1"/>
                  </a:lnTo>
                  <a:lnTo>
                    <a:pt x="2735" y="9"/>
                  </a:lnTo>
                  <a:lnTo>
                    <a:pt x="2750" y="19"/>
                  </a:lnTo>
                  <a:lnTo>
                    <a:pt x="2772" y="33"/>
                  </a:lnTo>
                  <a:lnTo>
                    <a:pt x="2801" y="51"/>
                  </a:lnTo>
                  <a:lnTo>
                    <a:pt x="2835" y="72"/>
                  </a:lnTo>
                  <a:lnTo>
                    <a:pt x="2872" y="94"/>
                  </a:lnTo>
                  <a:lnTo>
                    <a:pt x="2916" y="119"/>
                  </a:lnTo>
                  <a:lnTo>
                    <a:pt x="2963" y="146"/>
                  </a:lnTo>
                  <a:lnTo>
                    <a:pt x="3016" y="174"/>
                  </a:lnTo>
                  <a:lnTo>
                    <a:pt x="3072" y="203"/>
                  </a:lnTo>
                  <a:lnTo>
                    <a:pt x="3132" y="231"/>
                  </a:lnTo>
                  <a:lnTo>
                    <a:pt x="3195" y="260"/>
                  </a:lnTo>
                  <a:lnTo>
                    <a:pt x="3262" y="289"/>
                  </a:lnTo>
                  <a:lnTo>
                    <a:pt x="3332" y="317"/>
                  </a:lnTo>
                  <a:lnTo>
                    <a:pt x="3404" y="344"/>
                  </a:lnTo>
                  <a:lnTo>
                    <a:pt x="3479" y="370"/>
                  </a:lnTo>
                  <a:lnTo>
                    <a:pt x="3556" y="393"/>
                  </a:lnTo>
                  <a:lnTo>
                    <a:pt x="3634" y="415"/>
                  </a:lnTo>
                  <a:lnTo>
                    <a:pt x="3691" y="433"/>
                  </a:lnTo>
                  <a:lnTo>
                    <a:pt x="3742" y="456"/>
                  </a:lnTo>
                  <a:lnTo>
                    <a:pt x="3787" y="483"/>
                  </a:lnTo>
                  <a:lnTo>
                    <a:pt x="3827" y="515"/>
                  </a:lnTo>
                  <a:lnTo>
                    <a:pt x="3862" y="551"/>
                  </a:lnTo>
                  <a:lnTo>
                    <a:pt x="3894" y="589"/>
                  </a:lnTo>
                  <a:lnTo>
                    <a:pt x="3920" y="631"/>
                  </a:lnTo>
                  <a:lnTo>
                    <a:pt x="3943" y="674"/>
                  </a:lnTo>
                  <a:lnTo>
                    <a:pt x="3962" y="719"/>
                  </a:lnTo>
                  <a:lnTo>
                    <a:pt x="3978" y="765"/>
                  </a:lnTo>
                  <a:lnTo>
                    <a:pt x="3991" y="813"/>
                  </a:lnTo>
                  <a:lnTo>
                    <a:pt x="4000" y="859"/>
                  </a:lnTo>
                  <a:lnTo>
                    <a:pt x="4007" y="907"/>
                  </a:lnTo>
                  <a:lnTo>
                    <a:pt x="4013" y="953"/>
                  </a:lnTo>
                  <a:lnTo>
                    <a:pt x="4016" y="998"/>
                  </a:lnTo>
                  <a:lnTo>
                    <a:pt x="4017" y="1041"/>
                  </a:lnTo>
                  <a:lnTo>
                    <a:pt x="4017" y="1083"/>
                  </a:lnTo>
                  <a:lnTo>
                    <a:pt x="4016" y="1121"/>
                  </a:lnTo>
                  <a:lnTo>
                    <a:pt x="4014" y="1157"/>
                  </a:lnTo>
                  <a:lnTo>
                    <a:pt x="4014" y="1161"/>
                  </a:lnTo>
                  <a:lnTo>
                    <a:pt x="4013" y="1176"/>
                  </a:lnTo>
                  <a:lnTo>
                    <a:pt x="4011" y="1198"/>
                  </a:lnTo>
                  <a:lnTo>
                    <a:pt x="4008" y="1227"/>
                  </a:lnTo>
                  <a:lnTo>
                    <a:pt x="4005" y="1260"/>
                  </a:lnTo>
                  <a:lnTo>
                    <a:pt x="4003" y="1299"/>
                  </a:lnTo>
                  <a:lnTo>
                    <a:pt x="3998" y="1339"/>
                  </a:lnTo>
                  <a:lnTo>
                    <a:pt x="3994" y="1381"/>
                  </a:lnTo>
                  <a:lnTo>
                    <a:pt x="3989" y="1425"/>
                  </a:lnTo>
                  <a:lnTo>
                    <a:pt x="3985" y="1467"/>
                  </a:lnTo>
                  <a:lnTo>
                    <a:pt x="3981" y="1507"/>
                  </a:lnTo>
                  <a:lnTo>
                    <a:pt x="3975" y="1543"/>
                  </a:lnTo>
                  <a:lnTo>
                    <a:pt x="3971" y="1575"/>
                  </a:lnTo>
                  <a:lnTo>
                    <a:pt x="3968" y="1578"/>
                  </a:lnTo>
                  <a:lnTo>
                    <a:pt x="3958" y="1584"/>
                  </a:lnTo>
                  <a:lnTo>
                    <a:pt x="3942" y="1592"/>
                  </a:lnTo>
                  <a:lnTo>
                    <a:pt x="3920" y="1606"/>
                  </a:lnTo>
                  <a:lnTo>
                    <a:pt x="3891" y="1621"/>
                  </a:lnTo>
                  <a:lnTo>
                    <a:pt x="3856" y="1640"/>
                  </a:lnTo>
                  <a:lnTo>
                    <a:pt x="3816" y="1660"/>
                  </a:lnTo>
                  <a:lnTo>
                    <a:pt x="3769" y="1684"/>
                  </a:lnTo>
                  <a:lnTo>
                    <a:pt x="3717" y="1707"/>
                  </a:lnTo>
                  <a:lnTo>
                    <a:pt x="3659" y="1733"/>
                  </a:lnTo>
                  <a:lnTo>
                    <a:pt x="3595" y="1759"/>
                  </a:lnTo>
                  <a:lnTo>
                    <a:pt x="3526" y="1786"/>
                  </a:lnTo>
                  <a:lnTo>
                    <a:pt x="3450" y="1814"/>
                  </a:lnTo>
                  <a:lnTo>
                    <a:pt x="3369" y="1841"/>
                  </a:lnTo>
                  <a:lnTo>
                    <a:pt x="3284" y="1869"/>
                  </a:lnTo>
                  <a:lnTo>
                    <a:pt x="3192" y="1895"/>
                  </a:lnTo>
                  <a:lnTo>
                    <a:pt x="3097" y="1919"/>
                  </a:lnTo>
                  <a:lnTo>
                    <a:pt x="2995" y="1944"/>
                  </a:lnTo>
                  <a:lnTo>
                    <a:pt x="2888" y="1967"/>
                  </a:lnTo>
                  <a:lnTo>
                    <a:pt x="2777" y="1987"/>
                  </a:lnTo>
                  <a:lnTo>
                    <a:pt x="2661" y="2006"/>
                  </a:lnTo>
                  <a:lnTo>
                    <a:pt x="2539" y="2022"/>
                  </a:lnTo>
                  <a:lnTo>
                    <a:pt x="2414" y="2034"/>
                  </a:lnTo>
                  <a:lnTo>
                    <a:pt x="2282" y="2044"/>
                  </a:lnTo>
                  <a:lnTo>
                    <a:pt x="2148" y="2050"/>
                  </a:lnTo>
                  <a:lnTo>
                    <a:pt x="2007" y="2051"/>
                  </a:lnTo>
                  <a:lnTo>
                    <a:pt x="1869" y="2050"/>
                  </a:lnTo>
                  <a:lnTo>
                    <a:pt x="1733" y="2044"/>
                  </a:lnTo>
                  <a:lnTo>
                    <a:pt x="1603" y="2034"/>
                  </a:lnTo>
                  <a:lnTo>
                    <a:pt x="1478" y="2021"/>
                  </a:lnTo>
                  <a:lnTo>
                    <a:pt x="1356" y="2005"/>
                  </a:lnTo>
                  <a:lnTo>
                    <a:pt x="1240" y="1987"/>
                  </a:lnTo>
                  <a:lnTo>
                    <a:pt x="1129" y="1966"/>
                  </a:lnTo>
                  <a:lnTo>
                    <a:pt x="1022" y="1944"/>
                  </a:lnTo>
                  <a:lnTo>
                    <a:pt x="920" y="1919"/>
                  </a:lnTo>
                  <a:lnTo>
                    <a:pt x="825" y="1895"/>
                  </a:lnTo>
                  <a:lnTo>
                    <a:pt x="733" y="1867"/>
                  </a:lnTo>
                  <a:lnTo>
                    <a:pt x="648" y="1841"/>
                  </a:lnTo>
                  <a:lnTo>
                    <a:pt x="567" y="1814"/>
                  </a:lnTo>
                  <a:lnTo>
                    <a:pt x="491" y="1786"/>
                  </a:lnTo>
                  <a:lnTo>
                    <a:pt x="422" y="1759"/>
                  </a:lnTo>
                  <a:lnTo>
                    <a:pt x="358" y="1733"/>
                  </a:lnTo>
                  <a:lnTo>
                    <a:pt x="300" y="1707"/>
                  </a:lnTo>
                  <a:lnTo>
                    <a:pt x="248" y="1682"/>
                  </a:lnTo>
                  <a:lnTo>
                    <a:pt x="201" y="1660"/>
                  </a:lnTo>
                  <a:lnTo>
                    <a:pt x="161" y="1640"/>
                  </a:lnTo>
                  <a:lnTo>
                    <a:pt x="126" y="1621"/>
                  </a:lnTo>
                  <a:lnTo>
                    <a:pt x="97" y="1606"/>
                  </a:lnTo>
                  <a:lnTo>
                    <a:pt x="75" y="1592"/>
                  </a:lnTo>
                  <a:lnTo>
                    <a:pt x="59" y="1584"/>
                  </a:lnTo>
                  <a:lnTo>
                    <a:pt x="49" y="1578"/>
                  </a:lnTo>
                  <a:lnTo>
                    <a:pt x="46" y="1575"/>
                  </a:lnTo>
                  <a:lnTo>
                    <a:pt x="42" y="1543"/>
                  </a:lnTo>
                  <a:lnTo>
                    <a:pt x="36" y="1507"/>
                  </a:lnTo>
                  <a:lnTo>
                    <a:pt x="32" y="1467"/>
                  </a:lnTo>
                  <a:lnTo>
                    <a:pt x="28" y="1425"/>
                  </a:lnTo>
                  <a:lnTo>
                    <a:pt x="23" y="1381"/>
                  </a:lnTo>
                  <a:lnTo>
                    <a:pt x="19" y="1339"/>
                  </a:lnTo>
                  <a:lnTo>
                    <a:pt x="14" y="1299"/>
                  </a:lnTo>
                  <a:lnTo>
                    <a:pt x="12" y="1260"/>
                  </a:lnTo>
                  <a:lnTo>
                    <a:pt x="9" y="1227"/>
                  </a:lnTo>
                  <a:lnTo>
                    <a:pt x="6" y="1198"/>
                  </a:lnTo>
                  <a:lnTo>
                    <a:pt x="4" y="1176"/>
                  </a:lnTo>
                  <a:lnTo>
                    <a:pt x="3" y="1161"/>
                  </a:lnTo>
                  <a:lnTo>
                    <a:pt x="3" y="1157"/>
                  </a:lnTo>
                  <a:lnTo>
                    <a:pt x="1" y="1121"/>
                  </a:lnTo>
                  <a:lnTo>
                    <a:pt x="0" y="1083"/>
                  </a:lnTo>
                  <a:lnTo>
                    <a:pt x="0" y="1041"/>
                  </a:lnTo>
                  <a:lnTo>
                    <a:pt x="1" y="998"/>
                  </a:lnTo>
                  <a:lnTo>
                    <a:pt x="4" y="953"/>
                  </a:lnTo>
                  <a:lnTo>
                    <a:pt x="9" y="907"/>
                  </a:lnTo>
                  <a:lnTo>
                    <a:pt x="16" y="859"/>
                  </a:lnTo>
                  <a:lnTo>
                    <a:pt x="26" y="813"/>
                  </a:lnTo>
                  <a:lnTo>
                    <a:pt x="38" y="765"/>
                  </a:lnTo>
                  <a:lnTo>
                    <a:pt x="54" y="719"/>
                  </a:lnTo>
                  <a:lnTo>
                    <a:pt x="72" y="674"/>
                  </a:lnTo>
                  <a:lnTo>
                    <a:pt x="96" y="631"/>
                  </a:lnTo>
                  <a:lnTo>
                    <a:pt x="123" y="589"/>
                  </a:lnTo>
                  <a:lnTo>
                    <a:pt x="154" y="551"/>
                  </a:lnTo>
                  <a:lnTo>
                    <a:pt x="188" y="515"/>
                  </a:lnTo>
                  <a:lnTo>
                    <a:pt x="229" y="483"/>
                  </a:lnTo>
                  <a:lnTo>
                    <a:pt x="274" y="456"/>
                  </a:lnTo>
                  <a:lnTo>
                    <a:pt x="325" y="433"/>
                  </a:lnTo>
                  <a:lnTo>
                    <a:pt x="381" y="415"/>
                  </a:lnTo>
                  <a:lnTo>
                    <a:pt x="461" y="393"/>
                  </a:lnTo>
                  <a:lnTo>
                    <a:pt x="538" y="370"/>
                  </a:lnTo>
                  <a:lnTo>
                    <a:pt x="612" y="344"/>
                  </a:lnTo>
                  <a:lnTo>
                    <a:pt x="684" y="317"/>
                  </a:lnTo>
                  <a:lnTo>
                    <a:pt x="754" y="289"/>
                  </a:lnTo>
                  <a:lnTo>
                    <a:pt x="820" y="260"/>
                  </a:lnTo>
                  <a:lnTo>
                    <a:pt x="884" y="231"/>
                  </a:lnTo>
                  <a:lnTo>
                    <a:pt x="945" y="203"/>
                  </a:lnTo>
                  <a:lnTo>
                    <a:pt x="1000" y="174"/>
                  </a:lnTo>
                  <a:lnTo>
                    <a:pt x="1052" y="146"/>
                  </a:lnTo>
                  <a:lnTo>
                    <a:pt x="1100" y="119"/>
                  </a:lnTo>
                  <a:lnTo>
                    <a:pt x="1143" y="94"/>
                  </a:lnTo>
                  <a:lnTo>
                    <a:pt x="1182" y="72"/>
                  </a:lnTo>
                  <a:lnTo>
                    <a:pt x="1216" y="51"/>
                  </a:lnTo>
                  <a:lnTo>
                    <a:pt x="1243" y="33"/>
                  </a:lnTo>
                  <a:lnTo>
                    <a:pt x="1265" y="19"/>
                  </a:lnTo>
                  <a:lnTo>
                    <a:pt x="1281" y="9"/>
                  </a:lnTo>
                  <a:lnTo>
                    <a:pt x="1291" y="1"/>
                  </a:lnTo>
                  <a:lnTo>
                    <a:pt x="1294" y="0"/>
                  </a:lnTo>
                  <a:close/>
                </a:path>
              </a:pathLst>
            </a:custGeom>
            <a:grpFill/>
            <a:ln w="0">
              <a:noFill/>
              <a:prstDash val="solid"/>
              <a:round/>
            </a:ln>
          </p:spPr>
          <p:txBody>
            <a:bodyPr vert="horz" wrap="square" lIns="91440" tIns="45720" rIns="91440" bIns="45720" numCol="1" anchor="t" anchorCtr="0" compatLnSpc="1"/>
            <a:lstStyle/>
            <a:p>
              <a:endParaRPr lang="en-US">
                <a:solidFill>
                  <a:schemeClr val="tx1">
                    <a:lumMod val="50000"/>
                    <a:lumOff val="50000"/>
                  </a:schemeClr>
                </a:solidFill>
                <a:latin typeface="Calibri"/>
                <a:ea typeface="微软雅黑"/>
                <a:cs typeface="+mn-ea"/>
                <a:sym typeface="Calibri"/>
              </a:endParaRPr>
            </a:p>
          </p:txBody>
        </p:sp>
      </p:grpSp>
      <p:grpSp>
        <p:nvGrpSpPr>
          <p:cNvPr id="85" name="Group 8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84594" y="4108646"/>
            <a:ext cx="309465" cy="309988"/>
            <a:chOff x="301625" y="3662363"/>
            <a:chExt cx="939800" cy="941387"/>
          </a:xfrm>
          <a:solidFill>
            <a:schemeClr val="bg1"/>
          </a:solidFill>
        </p:grpSpPr>
        <p:sp>
          <p:nvSpPr>
            <p:cNvPr id="86" name="Freeform 1422"/>
            <p:cNvSpPr/>
            <p:nvPr/>
          </p:nvSpPr>
          <p:spPr bwMode="auto">
            <a:xfrm>
              <a:off x="811213" y="3811588"/>
              <a:ext cx="26988" cy="63500"/>
            </a:xfrm>
            <a:custGeom>
              <a:avLst/>
              <a:gdLst>
                <a:gd name="T0" fmla="*/ 103 w 103"/>
                <a:gd name="T1" fmla="*/ 0 h 242"/>
                <a:gd name="T2" fmla="*/ 103 w 103"/>
                <a:gd name="T3" fmla="*/ 242 h 242"/>
                <a:gd name="T4" fmla="*/ 75 w 103"/>
                <a:gd name="T5" fmla="*/ 234 h 242"/>
                <a:gd name="T6" fmla="*/ 52 w 103"/>
                <a:gd name="T7" fmla="*/ 223 h 242"/>
                <a:gd name="T8" fmla="*/ 35 w 103"/>
                <a:gd name="T9" fmla="*/ 210 h 242"/>
                <a:gd name="T10" fmla="*/ 22 w 103"/>
                <a:gd name="T11" fmla="*/ 197 h 242"/>
                <a:gd name="T12" fmla="*/ 12 w 103"/>
                <a:gd name="T13" fmla="*/ 183 h 242"/>
                <a:gd name="T14" fmla="*/ 7 w 103"/>
                <a:gd name="T15" fmla="*/ 169 h 242"/>
                <a:gd name="T16" fmla="*/ 3 w 103"/>
                <a:gd name="T17" fmla="*/ 155 h 242"/>
                <a:gd name="T18" fmla="*/ 0 w 103"/>
                <a:gd name="T19" fmla="*/ 142 h 242"/>
                <a:gd name="T20" fmla="*/ 0 w 103"/>
                <a:gd name="T21" fmla="*/ 131 h 242"/>
                <a:gd name="T22" fmla="*/ 0 w 103"/>
                <a:gd name="T23" fmla="*/ 122 h 242"/>
                <a:gd name="T24" fmla="*/ 0 w 103"/>
                <a:gd name="T25" fmla="*/ 112 h 242"/>
                <a:gd name="T26" fmla="*/ 0 w 103"/>
                <a:gd name="T27" fmla="*/ 100 h 242"/>
                <a:gd name="T28" fmla="*/ 3 w 103"/>
                <a:gd name="T29" fmla="*/ 87 h 242"/>
                <a:gd name="T30" fmla="*/ 7 w 103"/>
                <a:gd name="T31" fmla="*/ 74 h 242"/>
                <a:gd name="T32" fmla="*/ 12 w 103"/>
                <a:gd name="T33" fmla="*/ 60 h 242"/>
                <a:gd name="T34" fmla="*/ 22 w 103"/>
                <a:gd name="T35" fmla="*/ 46 h 242"/>
                <a:gd name="T36" fmla="*/ 35 w 103"/>
                <a:gd name="T37" fmla="*/ 32 h 242"/>
                <a:gd name="T38" fmla="*/ 52 w 103"/>
                <a:gd name="T39" fmla="*/ 20 h 242"/>
                <a:gd name="T40" fmla="*/ 75 w 103"/>
                <a:gd name="T41" fmla="*/ 9 h 242"/>
                <a:gd name="T42" fmla="*/ 103 w 103"/>
                <a:gd name="T43"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 h="242">
                  <a:moveTo>
                    <a:pt x="103" y="0"/>
                  </a:moveTo>
                  <a:lnTo>
                    <a:pt x="103" y="242"/>
                  </a:lnTo>
                  <a:lnTo>
                    <a:pt x="75" y="234"/>
                  </a:lnTo>
                  <a:lnTo>
                    <a:pt x="52" y="223"/>
                  </a:lnTo>
                  <a:lnTo>
                    <a:pt x="35" y="210"/>
                  </a:lnTo>
                  <a:lnTo>
                    <a:pt x="22" y="197"/>
                  </a:lnTo>
                  <a:lnTo>
                    <a:pt x="12" y="183"/>
                  </a:lnTo>
                  <a:lnTo>
                    <a:pt x="7" y="169"/>
                  </a:lnTo>
                  <a:lnTo>
                    <a:pt x="3" y="155"/>
                  </a:lnTo>
                  <a:lnTo>
                    <a:pt x="0" y="142"/>
                  </a:lnTo>
                  <a:lnTo>
                    <a:pt x="0" y="131"/>
                  </a:lnTo>
                  <a:lnTo>
                    <a:pt x="0" y="122"/>
                  </a:lnTo>
                  <a:lnTo>
                    <a:pt x="0" y="112"/>
                  </a:lnTo>
                  <a:lnTo>
                    <a:pt x="0" y="100"/>
                  </a:lnTo>
                  <a:lnTo>
                    <a:pt x="3" y="87"/>
                  </a:lnTo>
                  <a:lnTo>
                    <a:pt x="7" y="74"/>
                  </a:lnTo>
                  <a:lnTo>
                    <a:pt x="12" y="60"/>
                  </a:lnTo>
                  <a:lnTo>
                    <a:pt x="22" y="46"/>
                  </a:lnTo>
                  <a:lnTo>
                    <a:pt x="35" y="32"/>
                  </a:lnTo>
                  <a:lnTo>
                    <a:pt x="52" y="20"/>
                  </a:lnTo>
                  <a:lnTo>
                    <a:pt x="75" y="9"/>
                  </a:lnTo>
                  <a:lnTo>
                    <a:pt x="103" y="0"/>
                  </a:lnTo>
                  <a:close/>
                </a:path>
              </a:pathLst>
            </a:custGeom>
            <a:grpFill/>
            <a:ln w="0">
              <a:noFill/>
              <a:prstDash val="solid"/>
              <a:round/>
            </a:ln>
          </p:spPr>
          <p:txBody>
            <a:bodyPr vert="horz" wrap="square" lIns="91440" tIns="45720" rIns="91440" bIns="45720" numCol="1" anchor="t" anchorCtr="0" compatLnSpc="1"/>
            <a:lstStyle/>
            <a:p>
              <a:endParaRPr lang="en-US">
                <a:solidFill>
                  <a:schemeClr val="tx1">
                    <a:lumMod val="50000"/>
                    <a:lumOff val="50000"/>
                  </a:schemeClr>
                </a:solidFill>
                <a:latin typeface="Calibri"/>
                <a:ea typeface="微软雅黑"/>
                <a:cs typeface="+mn-ea"/>
                <a:sym typeface="Calibri"/>
              </a:endParaRPr>
            </a:p>
          </p:txBody>
        </p:sp>
        <p:sp>
          <p:nvSpPr>
            <p:cNvPr id="87" name="Freeform 1423"/>
            <p:cNvSpPr/>
            <p:nvPr/>
          </p:nvSpPr>
          <p:spPr bwMode="auto">
            <a:xfrm>
              <a:off x="893763" y="3937000"/>
              <a:ext cx="26988" cy="63500"/>
            </a:xfrm>
            <a:custGeom>
              <a:avLst/>
              <a:gdLst>
                <a:gd name="T0" fmla="*/ 0 w 103"/>
                <a:gd name="T1" fmla="*/ 0 h 243"/>
                <a:gd name="T2" fmla="*/ 27 w 103"/>
                <a:gd name="T3" fmla="*/ 10 h 243"/>
                <a:gd name="T4" fmla="*/ 50 w 103"/>
                <a:gd name="T5" fmla="*/ 21 h 243"/>
                <a:gd name="T6" fmla="*/ 67 w 103"/>
                <a:gd name="T7" fmla="*/ 33 h 243"/>
                <a:gd name="T8" fmla="*/ 80 w 103"/>
                <a:gd name="T9" fmla="*/ 47 h 243"/>
                <a:gd name="T10" fmla="*/ 90 w 103"/>
                <a:gd name="T11" fmla="*/ 61 h 243"/>
                <a:gd name="T12" fmla="*/ 96 w 103"/>
                <a:gd name="T13" fmla="*/ 75 h 243"/>
                <a:gd name="T14" fmla="*/ 99 w 103"/>
                <a:gd name="T15" fmla="*/ 88 h 243"/>
                <a:gd name="T16" fmla="*/ 102 w 103"/>
                <a:gd name="T17" fmla="*/ 101 h 243"/>
                <a:gd name="T18" fmla="*/ 103 w 103"/>
                <a:gd name="T19" fmla="*/ 112 h 243"/>
                <a:gd name="T20" fmla="*/ 103 w 103"/>
                <a:gd name="T21" fmla="*/ 122 h 243"/>
                <a:gd name="T22" fmla="*/ 103 w 103"/>
                <a:gd name="T23" fmla="*/ 132 h 243"/>
                <a:gd name="T24" fmla="*/ 102 w 103"/>
                <a:gd name="T25" fmla="*/ 143 h 243"/>
                <a:gd name="T26" fmla="*/ 99 w 103"/>
                <a:gd name="T27" fmla="*/ 156 h 243"/>
                <a:gd name="T28" fmla="*/ 96 w 103"/>
                <a:gd name="T29" fmla="*/ 170 h 243"/>
                <a:gd name="T30" fmla="*/ 90 w 103"/>
                <a:gd name="T31" fmla="*/ 184 h 243"/>
                <a:gd name="T32" fmla="*/ 80 w 103"/>
                <a:gd name="T33" fmla="*/ 198 h 243"/>
                <a:gd name="T34" fmla="*/ 67 w 103"/>
                <a:gd name="T35" fmla="*/ 211 h 243"/>
                <a:gd name="T36" fmla="*/ 50 w 103"/>
                <a:gd name="T37" fmla="*/ 222 h 243"/>
                <a:gd name="T38" fmla="*/ 27 w 103"/>
                <a:gd name="T39" fmla="*/ 234 h 243"/>
                <a:gd name="T40" fmla="*/ 0 w 103"/>
                <a:gd name="T41" fmla="*/ 243 h 243"/>
                <a:gd name="T42" fmla="*/ 0 w 103"/>
                <a:gd name="T43" fmla="*/ 0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 h="243">
                  <a:moveTo>
                    <a:pt x="0" y="0"/>
                  </a:moveTo>
                  <a:lnTo>
                    <a:pt x="27" y="10"/>
                  </a:lnTo>
                  <a:lnTo>
                    <a:pt x="50" y="21"/>
                  </a:lnTo>
                  <a:lnTo>
                    <a:pt x="67" y="33"/>
                  </a:lnTo>
                  <a:lnTo>
                    <a:pt x="80" y="47"/>
                  </a:lnTo>
                  <a:lnTo>
                    <a:pt x="90" y="61"/>
                  </a:lnTo>
                  <a:lnTo>
                    <a:pt x="96" y="75"/>
                  </a:lnTo>
                  <a:lnTo>
                    <a:pt x="99" y="88"/>
                  </a:lnTo>
                  <a:lnTo>
                    <a:pt x="102" y="101"/>
                  </a:lnTo>
                  <a:lnTo>
                    <a:pt x="103" y="112"/>
                  </a:lnTo>
                  <a:lnTo>
                    <a:pt x="103" y="122"/>
                  </a:lnTo>
                  <a:lnTo>
                    <a:pt x="103" y="132"/>
                  </a:lnTo>
                  <a:lnTo>
                    <a:pt x="102" y="143"/>
                  </a:lnTo>
                  <a:lnTo>
                    <a:pt x="99" y="156"/>
                  </a:lnTo>
                  <a:lnTo>
                    <a:pt x="96" y="170"/>
                  </a:lnTo>
                  <a:lnTo>
                    <a:pt x="90" y="184"/>
                  </a:lnTo>
                  <a:lnTo>
                    <a:pt x="80" y="198"/>
                  </a:lnTo>
                  <a:lnTo>
                    <a:pt x="67" y="211"/>
                  </a:lnTo>
                  <a:lnTo>
                    <a:pt x="50" y="222"/>
                  </a:lnTo>
                  <a:lnTo>
                    <a:pt x="27" y="234"/>
                  </a:lnTo>
                  <a:lnTo>
                    <a:pt x="0" y="243"/>
                  </a:lnTo>
                  <a:lnTo>
                    <a:pt x="0" y="0"/>
                  </a:lnTo>
                  <a:close/>
                </a:path>
              </a:pathLst>
            </a:custGeom>
            <a:grpFill/>
            <a:ln w="0">
              <a:noFill/>
              <a:prstDash val="solid"/>
              <a:round/>
            </a:ln>
          </p:spPr>
          <p:txBody>
            <a:bodyPr vert="horz" wrap="square" lIns="91440" tIns="45720" rIns="91440" bIns="45720" numCol="1" anchor="t" anchorCtr="0" compatLnSpc="1"/>
            <a:lstStyle/>
            <a:p>
              <a:endParaRPr lang="en-US">
                <a:solidFill>
                  <a:schemeClr val="tx1">
                    <a:lumMod val="50000"/>
                    <a:lumOff val="50000"/>
                  </a:schemeClr>
                </a:solidFill>
                <a:latin typeface="Calibri"/>
                <a:ea typeface="微软雅黑"/>
                <a:cs typeface="+mn-ea"/>
                <a:sym typeface="Calibri"/>
              </a:endParaRPr>
            </a:p>
          </p:txBody>
        </p:sp>
        <p:sp>
          <p:nvSpPr>
            <p:cNvPr id="88" name="Freeform 1424"/>
            <p:cNvSpPr>
              <a:spLocks noEditPoints="1"/>
            </p:cNvSpPr>
            <p:nvPr/>
          </p:nvSpPr>
          <p:spPr bwMode="auto">
            <a:xfrm>
              <a:off x="622300" y="3662363"/>
              <a:ext cx="487363" cy="487362"/>
            </a:xfrm>
            <a:custGeom>
              <a:avLst/>
              <a:gdLst>
                <a:gd name="T0" fmla="*/ 766 w 1842"/>
                <a:gd name="T1" fmla="*/ 357 h 1843"/>
                <a:gd name="T2" fmla="*/ 640 w 1842"/>
                <a:gd name="T3" fmla="*/ 411 h 1843"/>
                <a:gd name="T4" fmla="*/ 557 w 1842"/>
                <a:gd name="T5" fmla="*/ 493 h 1843"/>
                <a:gd name="T6" fmla="*/ 511 w 1842"/>
                <a:gd name="T7" fmla="*/ 599 h 1843"/>
                <a:gd name="T8" fmla="*/ 504 w 1842"/>
                <a:gd name="T9" fmla="*/ 726 h 1843"/>
                <a:gd name="T10" fmla="*/ 537 w 1842"/>
                <a:gd name="T11" fmla="*/ 841 h 1843"/>
                <a:gd name="T12" fmla="*/ 609 w 1842"/>
                <a:gd name="T13" fmla="*/ 930 h 1843"/>
                <a:gd name="T14" fmla="*/ 721 w 1842"/>
                <a:gd name="T15" fmla="*/ 995 h 1843"/>
                <a:gd name="T16" fmla="*/ 816 w 1842"/>
                <a:gd name="T17" fmla="*/ 1281 h 1843"/>
                <a:gd name="T18" fmla="*/ 748 w 1842"/>
                <a:gd name="T19" fmla="*/ 1249 h 1843"/>
                <a:gd name="T20" fmla="*/ 720 w 1842"/>
                <a:gd name="T21" fmla="*/ 1208 h 1843"/>
                <a:gd name="T22" fmla="*/ 713 w 1842"/>
                <a:gd name="T23" fmla="*/ 1170 h 1843"/>
                <a:gd name="T24" fmla="*/ 504 w 1842"/>
                <a:gd name="T25" fmla="*/ 1202 h 1843"/>
                <a:gd name="T26" fmla="*/ 537 w 1842"/>
                <a:gd name="T27" fmla="*/ 1318 h 1843"/>
                <a:gd name="T28" fmla="*/ 609 w 1842"/>
                <a:gd name="T29" fmla="*/ 1407 h 1843"/>
                <a:gd name="T30" fmla="*/ 721 w 1842"/>
                <a:gd name="T31" fmla="*/ 1472 h 1843"/>
                <a:gd name="T32" fmla="*/ 816 w 1842"/>
                <a:gd name="T33" fmla="*/ 1600 h 1843"/>
                <a:gd name="T34" fmla="*/ 1076 w 1842"/>
                <a:gd name="T35" fmla="*/ 1486 h 1843"/>
                <a:gd name="T36" fmla="*/ 1202 w 1842"/>
                <a:gd name="T37" fmla="*/ 1432 h 1843"/>
                <a:gd name="T38" fmla="*/ 1286 w 1842"/>
                <a:gd name="T39" fmla="*/ 1350 h 1843"/>
                <a:gd name="T40" fmla="*/ 1332 w 1842"/>
                <a:gd name="T41" fmla="*/ 1243 h 1843"/>
                <a:gd name="T42" fmla="*/ 1339 w 1842"/>
                <a:gd name="T43" fmla="*/ 1117 h 1843"/>
                <a:gd name="T44" fmla="*/ 1305 w 1842"/>
                <a:gd name="T45" fmla="*/ 1003 h 1843"/>
                <a:gd name="T46" fmla="*/ 1234 w 1842"/>
                <a:gd name="T47" fmla="*/ 912 h 1843"/>
                <a:gd name="T48" fmla="*/ 1122 w 1842"/>
                <a:gd name="T49" fmla="*/ 847 h 1843"/>
                <a:gd name="T50" fmla="*/ 1027 w 1842"/>
                <a:gd name="T51" fmla="*/ 562 h 1843"/>
                <a:gd name="T52" fmla="*/ 1094 w 1842"/>
                <a:gd name="T53" fmla="*/ 594 h 1843"/>
                <a:gd name="T54" fmla="*/ 1123 w 1842"/>
                <a:gd name="T55" fmla="*/ 636 h 1843"/>
                <a:gd name="T56" fmla="*/ 1130 w 1842"/>
                <a:gd name="T57" fmla="*/ 674 h 1843"/>
                <a:gd name="T58" fmla="*/ 1339 w 1842"/>
                <a:gd name="T59" fmla="*/ 640 h 1843"/>
                <a:gd name="T60" fmla="*/ 1305 w 1842"/>
                <a:gd name="T61" fmla="*/ 526 h 1843"/>
                <a:gd name="T62" fmla="*/ 1234 w 1842"/>
                <a:gd name="T63" fmla="*/ 436 h 1843"/>
                <a:gd name="T64" fmla="*/ 1122 w 1842"/>
                <a:gd name="T65" fmla="*/ 371 h 1843"/>
                <a:gd name="T66" fmla="*/ 1027 w 1842"/>
                <a:gd name="T67" fmla="*/ 243 h 1843"/>
                <a:gd name="T68" fmla="*/ 1000 w 1842"/>
                <a:gd name="T69" fmla="*/ 3 h 1843"/>
                <a:gd name="T70" fmla="*/ 1227 w 1842"/>
                <a:gd name="T71" fmla="*/ 52 h 1843"/>
                <a:gd name="T72" fmla="*/ 1428 w 1842"/>
                <a:gd name="T73" fmla="*/ 152 h 1843"/>
                <a:gd name="T74" fmla="*/ 1599 w 1842"/>
                <a:gd name="T75" fmla="*/ 298 h 1843"/>
                <a:gd name="T76" fmla="*/ 1729 w 1842"/>
                <a:gd name="T77" fmla="*/ 479 h 1843"/>
                <a:gd name="T78" fmla="*/ 1813 w 1842"/>
                <a:gd name="T79" fmla="*/ 689 h 1843"/>
                <a:gd name="T80" fmla="*/ 1842 w 1842"/>
                <a:gd name="T81" fmla="*/ 922 h 1843"/>
                <a:gd name="T82" fmla="*/ 1813 w 1842"/>
                <a:gd name="T83" fmla="*/ 1154 h 1843"/>
                <a:gd name="T84" fmla="*/ 1729 w 1842"/>
                <a:gd name="T85" fmla="*/ 1365 h 1843"/>
                <a:gd name="T86" fmla="*/ 1599 w 1842"/>
                <a:gd name="T87" fmla="*/ 1546 h 1843"/>
                <a:gd name="T88" fmla="*/ 1428 w 1842"/>
                <a:gd name="T89" fmla="*/ 1691 h 1843"/>
                <a:gd name="T90" fmla="*/ 1227 w 1842"/>
                <a:gd name="T91" fmla="*/ 1791 h 1843"/>
                <a:gd name="T92" fmla="*/ 1000 w 1842"/>
                <a:gd name="T93" fmla="*/ 1839 h 1843"/>
                <a:gd name="T94" fmla="*/ 764 w 1842"/>
                <a:gd name="T95" fmla="*/ 1830 h 1843"/>
                <a:gd name="T96" fmla="*/ 545 w 1842"/>
                <a:gd name="T97" fmla="*/ 1763 h 1843"/>
                <a:gd name="T98" fmla="*/ 353 w 1842"/>
                <a:gd name="T99" fmla="*/ 1647 h 1843"/>
                <a:gd name="T100" fmla="*/ 196 w 1842"/>
                <a:gd name="T101" fmla="*/ 1489 h 1843"/>
                <a:gd name="T102" fmla="*/ 80 w 1842"/>
                <a:gd name="T103" fmla="*/ 1297 h 1843"/>
                <a:gd name="T104" fmla="*/ 13 w 1842"/>
                <a:gd name="T105" fmla="*/ 1078 h 1843"/>
                <a:gd name="T106" fmla="*/ 3 w 1842"/>
                <a:gd name="T107" fmla="*/ 842 h 1843"/>
                <a:gd name="T108" fmla="*/ 51 w 1842"/>
                <a:gd name="T109" fmla="*/ 616 h 1843"/>
                <a:gd name="T110" fmla="*/ 152 w 1842"/>
                <a:gd name="T111" fmla="*/ 414 h 1843"/>
                <a:gd name="T112" fmla="*/ 297 w 1842"/>
                <a:gd name="T113" fmla="*/ 245 h 1843"/>
                <a:gd name="T114" fmla="*/ 478 w 1842"/>
                <a:gd name="T115" fmla="*/ 113 h 1843"/>
                <a:gd name="T116" fmla="*/ 689 w 1842"/>
                <a:gd name="T117" fmla="*/ 30 h 1843"/>
                <a:gd name="T118" fmla="*/ 922 w 1842"/>
                <a:gd name="T119" fmla="*/ 0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42" h="1843">
                  <a:moveTo>
                    <a:pt x="816" y="243"/>
                  </a:moveTo>
                  <a:lnTo>
                    <a:pt x="816" y="347"/>
                  </a:lnTo>
                  <a:lnTo>
                    <a:pt x="766" y="357"/>
                  </a:lnTo>
                  <a:lnTo>
                    <a:pt x="721" y="371"/>
                  </a:lnTo>
                  <a:lnTo>
                    <a:pt x="679" y="389"/>
                  </a:lnTo>
                  <a:lnTo>
                    <a:pt x="640" y="411"/>
                  </a:lnTo>
                  <a:lnTo>
                    <a:pt x="609" y="436"/>
                  </a:lnTo>
                  <a:lnTo>
                    <a:pt x="581" y="463"/>
                  </a:lnTo>
                  <a:lnTo>
                    <a:pt x="557" y="493"/>
                  </a:lnTo>
                  <a:lnTo>
                    <a:pt x="537" y="526"/>
                  </a:lnTo>
                  <a:lnTo>
                    <a:pt x="522" y="562"/>
                  </a:lnTo>
                  <a:lnTo>
                    <a:pt x="511" y="599"/>
                  </a:lnTo>
                  <a:lnTo>
                    <a:pt x="504" y="640"/>
                  </a:lnTo>
                  <a:lnTo>
                    <a:pt x="501" y="684"/>
                  </a:lnTo>
                  <a:lnTo>
                    <a:pt x="504" y="726"/>
                  </a:lnTo>
                  <a:lnTo>
                    <a:pt x="511" y="767"/>
                  </a:lnTo>
                  <a:lnTo>
                    <a:pt x="522" y="805"/>
                  </a:lnTo>
                  <a:lnTo>
                    <a:pt x="537" y="841"/>
                  </a:lnTo>
                  <a:lnTo>
                    <a:pt x="557" y="873"/>
                  </a:lnTo>
                  <a:lnTo>
                    <a:pt x="581" y="904"/>
                  </a:lnTo>
                  <a:lnTo>
                    <a:pt x="609" y="930"/>
                  </a:lnTo>
                  <a:lnTo>
                    <a:pt x="640" y="955"/>
                  </a:lnTo>
                  <a:lnTo>
                    <a:pt x="679" y="978"/>
                  </a:lnTo>
                  <a:lnTo>
                    <a:pt x="721" y="995"/>
                  </a:lnTo>
                  <a:lnTo>
                    <a:pt x="766" y="1009"/>
                  </a:lnTo>
                  <a:lnTo>
                    <a:pt x="816" y="1020"/>
                  </a:lnTo>
                  <a:lnTo>
                    <a:pt x="816" y="1281"/>
                  </a:lnTo>
                  <a:lnTo>
                    <a:pt x="788" y="1272"/>
                  </a:lnTo>
                  <a:lnTo>
                    <a:pt x="765" y="1261"/>
                  </a:lnTo>
                  <a:lnTo>
                    <a:pt x="748" y="1249"/>
                  </a:lnTo>
                  <a:lnTo>
                    <a:pt x="735" y="1236"/>
                  </a:lnTo>
                  <a:lnTo>
                    <a:pt x="725" y="1222"/>
                  </a:lnTo>
                  <a:lnTo>
                    <a:pt x="720" y="1208"/>
                  </a:lnTo>
                  <a:lnTo>
                    <a:pt x="716" y="1194"/>
                  </a:lnTo>
                  <a:lnTo>
                    <a:pt x="713" y="1181"/>
                  </a:lnTo>
                  <a:lnTo>
                    <a:pt x="713" y="1170"/>
                  </a:lnTo>
                  <a:lnTo>
                    <a:pt x="713" y="1160"/>
                  </a:lnTo>
                  <a:lnTo>
                    <a:pt x="501" y="1160"/>
                  </a:lnTo>
                  <a:lnTo>
                    <a:pt x="504" y="1202"/>
                  </a:lnTo>
                  <a:lnTo>
                    <a:pt x="511" y="1243"/>
                  </a:lnTo>
                  <a:lnTo>
                    <a:pt x="522" y="1282"/>
                  </a:lnTo>
                  <a:lnTo>
                    <a:pt x="537" y="1318"/>
                  </a:lnTo>
                  <a:lnTo>
                    <a:pt x="557" y="1350"/>
                  </a:lnTo>
                  <a:lnTo>
                    <a:pt x="581" y="1380"/>
                  </a:lnTo>
                  <a:lnTo>
                    <a:pt x="609" y="1407"/>
                  </a:lnTo>
                  <a:lnTo>
                    <a:pt x="640" y="1432"/>
                  </a:lnTo>
                  <a:lnTo>
                    <a:pt x="679" y="1454"/>
                  </a:lnTo>
                  <a:lnTo>
                    <a:pt x="721" y="1472"/>
                  </a:lnTo>
                  <a:lnTo>
                    <a:pt x="766" y="1486"/>
                  </a:lnTo>
                  <a:lnTo>
                    <a:pt x="816" y="1497"/>
                  </a:lnTo>
                  <a:lnTo>
                    <a:pt x="816" y="1600"/>
                  </a:lnTo>
                  <a:lnTo>
                    <a:pt x="1027" y="1600"/>
                  </a:lnTo>
                  <a:lnTo>
                    <a:pt x="1027" y="1497"/>
                  </a:lnTo>
                  <a:lnTo>
                    <a:pt x="1076" y="1486"/>
                  </a:lnTo>
                  <a:lnTo>
                    <a:pt x="1122" y="1472"/>
                  </a:lnTo>
                  <a:lnTo>
                    <a:pt x="1164" y="1454"/>
                  </a:lnTo>
                  <a:lnTo>
                    <a:pt x="1202" y="1432"/>
                  </a:lnTo>
                  <a:lnTo>
                    <a:pt x="1234" y="1407"/>
                  </a:lnTo>
                  <a:lnTo>
                    <a:pt x="1262" y="1380"/>
                  </a:lnTo>
                  <a:lnTo>
                    <a:pt x="1286" y="1350"/>
                  </a:lnTo>
                  <a:lnTo>
                    <a:pt x="1305" y="1318"/>
                  </a:lnTo>
                  <a:lnTo>
                    <a:pt x="1320" y="1282"/>
                  </a:lnTo>
                  <a:lnTo>
                    <a:pt x="1332" y="1243"/>
                  </a:lnTo>
                  <a:lnTo>
                    <a:pt x="1339" y="1202"/>
                  </a:lnTo>
                  <a:lnTo>
                    <a:pt x="1341" y="1160"/>
                  </a:lnTo>
                  <a:lnTo>
                    <a:pt x="1339" y="1117"/>
                  </a:lnTo>
                  <a:lnTo>
                    <a:pt x="1332" y="1076"/>
                  </a:lnTo>
                  <a:lnTo>
                    <a:pt x="1320" y="1038"/>
                  </a:lnTo>
                  <a:lnTo>
                    <a:pt x="1305" y="1003"/>
                  </a:lnTo>
                  <a:lnTo>
                    <a:pt x="1286" y="969"/>
                  </a:lnTo>
                  <a:lnTo>
                    <a:pt x="1262" y="939"/>
                  </a:lnTo>
                  <a:lnTo>
                    <a:pt x="1234" y="912"/>
                  </a:lnTo>
                  <a:lnTo>
                    <a:pt x="1202" y="887"/>
                  </a:lnTo>
                  <a:lnTo>
                    <a:pt x="1164" y="866"/>
                  </a:lnTo>
                  <a:lnTo>
                    <a:pt x="1122" y="847"/>
                  </a:lnTo>
                  <a:lnTo>
                    <a:pt x="1076" y="833"/>
                  </a:lnTo>
                  <a:lnTo>
                    <a:pt x="1027" y="824"/>
                  </a:lnTo>
                  <a:lnTo>
                    <a:pt x="1027" y="562"/>
                  </a:lnTo>
                  <a:lnTo>
                    <a:pt x="1054" y="571"/>
                  </a:lnTo>
                  <a:lnTo>
                    <a:pt x="1077" y="582"/>
                  </a:lnTo>
                  <a:lnTo>
                    <a:pt x="1094" y="594"/>
                  </a:lnTo>
                  <a:lnTo>
                    <a:pt x="1107" y="608"/>
                  </a:lnTo>
                  <a:lnTo>
                    <a:pt x="1117" y="622"/>
                  </a:lnTo>
                  <a:lnTo>
                    <a:pt x="1123" y="636"/>
                  </a:lnTo>
                  <a:lnTo>
                    <a:pt x="1126" y="649"/>
                  </a:lnTo>
                  <a:lnTo>
                    <a:pt x="1129" y="662"/>
                  </a:lnTo>
                  <a:lnTo>
                    <a:pt x="1130" y="674"/>
                  </a:lnTo>
                  <a:lnTo>
                    <a:pt x="1130" y="684"/>
                  </a:lnTo>
                  <a:lnTo>
                    <a:pt x="1341" y="684"/>
                  </a:lnTo>
                  <a:lnTo>
                    <a:pt x="1339" y="640"/>
                  </a:lnTo>
                  <a:lnTo>
                    <a:pt x="1332" y="599"/>
                  </a:lnTo>
                  <a:lnTo>
                    <a:pt x="1320" y="562"/>
                  </a:lnTo>
                  <a:lnTo>
                    <a:pt x="1305" y="526"/>
                  </a:lnTo>
                  <a:lnTo>
                    <a:pt x="1286" y="493"/>
                  </a:lnTo>
                  <a:lnTo>
                    <a:pt x="1262" y="463"/>
                  </a:lnTo>
                  <a:lnTo>
                    <a:pt x="1234" y="436"/>
                  </a:lnTo>
                  <a:lnTo>
                    <a:pt x="1202" y="411"/>
                  </a:lnTo>
                  <a:lnTo>
                    <a:pt x="1164" y="389"/>
                  </a:lnTo>
                  <a:lnTo>
                    <a:pt x="1122" y="371"/>
                  </a:lnTo>
                  <a:lnTo>
                    <a:pt x="1076" y="357"/>
                  </a:lnTo>
                  <a:lnTo>
                    <a:pt x="1027" y="347"/>
                  </a:lnTo>
                  <a:lnTo>
                    <a:pt x="1027" y="243"/>
                  </a:lnTo>
                  <a:lnTo>
                    <a:pt x="816" y="243"/>
                  </a:lnTo>
                  <a:close/>
                  <a:moveTo>
                    <a:pt x="922" y="0"/>
                  </a:moveTo>
                  <a:lnTo>
                    <a:pt x="1000" y="3"/>
                  </a:lnTo>
                  <a:lnTo>
                    <a:pt x="1078" y="13"/>
                  </a:lnTo>
                  <a:lnTo>
                    <a:pt x="1153" y="30"/>
                  </a:lnTo>
                  <a:lnTo>
                    <a:pt x="1227" y="52"/>
                  </a:lnTo>
                  <a:lnTo>
                    <a:pt x="1297" y="80"/>
                  </a:lnTo>
                  <a:lnTo>
                    <a:pt x="1365" y="113"/>
                  </a:lnTo>
                  <a:lnTo>
                    <a:pt x="1428" y="152"/>
                  </a:lnTo>
                  <a:lnTo>
                    <a:pt x="1489" y="196"/>
                  </a:lnTo>
                  <a:lnTo>
                    <a:pt x="1546" y="245"/>
                  </a:lnTo>
                  <a:lnTo>
                    <a:pt x="1599" y="298"/>
                  </a:lnTo>
                  <a:lnTo>
                    <a:pt x="1646" y="354"/>
                  </a:lnTo>
                  <a:lnTo>
                    <a:pt x="1690" y="414"/>
                  </a:lnTo>
                  <a:lnTo>
                    <a:pt x="1729" y="479"/>
                  </a:lnTo>
                  <a:lnTo>
                    <a:pt x="1763" y="546"/>
                  </a:lnTo>
                  <a:lnTo>
                    <a:pt x="1791" y="616"/>
                  </a:lnTo>
                  <a:lnTo>
                    <a:pt x="1813" y="689"/>
                  </a:lnTo>
                  <a:lnTo>
                    <a:pt x="1829" y="764"/>
                  </a:lnTo>
                  <a:lnTo>
                    <a:pt x="1839" y="842"/>
                  </a:lnTo>
                  <a:lnTo>
                    <a:pt x="1842" y="922"/>
                  </a:lnTo>
                  <a:lnTo>
                    <a:pt x="1839" y="1001"/>
                  </a:lnTo>
                  <a:lnTo>
                    <a:pt x="1829" y="1078"/>
                  </a:lnTo>
                  <a:lnTo>
                    <a:pt x="1813" y="1154"/>
                  </a:lnTo>
                  <a:lnTo>
                    <a:pt x="1791" y="1227"/>
                  </a:lnTo>
                  <a:lnTo>
                    <a:pt x="1763" y="1297"/>
                  </a:lnTo>
                  <a:lnTo>
                    <a:pt x="1729" y="1365"/>
                  </a:lnTo>
                  <a:lnTo>
                    <a:pt x="1690" y="1429"/>
                  </a:lnTo>
                  <a:lnTo>
                    <a:pt x="1646" y="1489"/>
                  </a:lnTo>
                  <a:lnTo>
                    <a:pt x="1599" y="1546"/>
                  </a:lnTo>
                  <a:lnTo>
                    <a:pt x="1546" y="1599"/>
                  </a:lnTo>
                  <a:lnTo>
                    <a:pt x="1489" y="1647"/>
                  </a:lnTo>
                  <a:lnTo>
                    <a:pt x="1428" y="1691"/>
                  </a:lnTo>
                  <a:lnTo>
                    <a:pt x="1365" y="1729"/>
                  </a:lnTo>
                  <a:lnTo>
                    <a:pt x="1297" y="1763"/>
                  </a:lnTo>
                  <a:lnTo>
                    <a:pt x="1227" y="1791"/>
                  </a:lnTo>
                  <a:lnTo>
                    <a:pt x="1153" y="1814"/>
                  </a:lnTo>
                  <a:lnTo>
                    <a:pt x="1078" y="1830"/>
                  </a:lnTo>
                  <a:lnTo>
                    <a:pt x="1000" y="1839"/>
                  </a:lnTo>
                  <a:lnTo>
                    <a:pt x="922" y="1843"/>
                  </a:lnTo>
                  <a:lnTo>
                    <a:pt x="842" y="1839"/>
                  </a:lnTo>
                  <a:lnTo>
                    <a:pt x="764" y="1830"/>
                  </a:lnTo>
                  <a:lnTo>
                    <a:pt x="689" y="1814"/>
                  </a:lnTo>
                  <a:lnTo>
                    <a:pt x="615" y="1791"/>
                  </a:lnTo>
                  <a:lnTo>
                    <a:pt x="545" y="1763"/>
                  </a:lnTo>
                  <a:lnTo>
                    <a:pt x="478" y="1729"/>
                  </a:lnTo>
                  <a:lnTo>
                    <a:pt x="414" y="1691"/>
                  </a:lnTo>
                  <a:lnTo>
                    <a:pt x="353" y="1647"/>
                  </a:lnTo>
                  <a:lnTo>
                    <a:pt x="297" y="1599"/>
                  </a:lnTo>
                  <a:lnTo>
                    <a:pt x="244" y="1546"/>
                  </a:lnTo>
                  <a:lnTo>
                    <a:pt x="196" y="1489"/>
                  </a:lnTo>
                  <a:lnTo>
                    <a:pt x="152" y="1429"/>
                  </a:lnTo>
                  <a:lnTo>
                    <a:pt x="113" y="1365"/>
                  </a:lnTo>
                  <a:lnTo>
                    <a:pt x="80" y="1297"/>
                  </a:lnTo>
                  <a:lnTo>
                    <a:pt x="51" y="1227"/>
                  </a:lnTo>
                  <a:lnTo>
                    <a:pt x="29" y="1154"/>
                  </a:lnTo>
                  <a:lnTo>
                    <a:pt x="13" y="1078"/>
                  </a:lnTo>
                  <a:lnTo>
                    <a:pt x="3" y="1001"/>
                  </a:lnTo>
                  <a:lnTo>
                    <a:pt x="0" y="922"/>
                  </a:lnTo>
                  <a:lnTo>
                    <a:pt x="3" y="842"/>
                  </a:lnTo>
                  <a:lnTo>
                    <a:pt x="13" y="764"/>
                  </a:lnTo>
                  <a:lnTo>
                    <a:pt x="29" y="689"/>
                  </a:lnTo>
                  <a:lnTo>
                    <a:pt x="51" y="616"/>
                  </a:lnTo>
                  <a:lnTo>
                    <a:pt x="80" y="546"/>
                  </a:lnTo>
                  <a:lnTo>
                    <a:pt x="113" y="479"/>
                  </a:lnTo>
                  <a:lnTo>
                    <a:pt x="152" y="414"/>
                  </a:lnTo>
                  <a:lnTo>
                    <a:pt x="196" y="354"/>
                  </a:lnTo>
                  <a:lnTo>
                    <a:pt x="244" y="298"/>
                  </a:lnTo>
                  <a:lnTo>
                    <a:pt x="297" y="245"/>
                  </a:lnTo>
                  <a:lnTo>
                    <a:pt x="353" y="196"/>
                  </a:lnTo>
                  <a:lnTo>
                    <a:pt x="414" y="152"/>
                  </a:lnTo>
                  <a:lnTo>
                    <a:pt x="478" y="113"/>
                  </a:lnTo>
                  <a:lnTo>
                    <a:pt x="545" y="80"/>
                  </a:lnTo>
                  <a:lnTo>
                    <a:pt x="615" y="52"/>
                  </a:lnTo>
                  <a:lnTo>
                    <a:pt x="689" y="30"/>
                  </a:lnTo>
                  <a:lnTo>
                    <a:pt x="764" y="13"/>
                  </a:lnTo>
                  <a:lnTo>
                    <a:pt x="842" y="3"/>
                  </a:lnTo>
                  <a:lnTo>
                    <a:pt x="922" y="0"/>
                  </a:lnTo>
                  <a:close/>
                </a:path>
              </a:pathLst>
            </a:custGeom>
            <a:grpFill/>
            <a:ln w="0">
              <a:noFill/>
              <a:prstDash val="solid"/>
              <a:round/>
            </a:ln>
          </p:spPr>
          <p:txBody>
            <a:bodyPr vert="horz" wrap="square" lIns="91440" tIns="45720" rIns="91440" bIns="45720" numCol="1" anchor="t" anchorCtr="0" compatLnSpc="1"/>
            <a:lstStyle/>
            <a:p>
              <a:endParaRPr lang="en-US">
                <a:solidFill>
                  <a:schemeClr val="tx1">
                    <a:lumMod val="50000"/>
                    <a:lumOff val="50000"/>
                  </a:schemeClr>
                </a:solidFill>
                <a:latin typeface="Calibri"/>
                <a:ea typeface="微软雅黑"/>
                <a:cs typeface="+mn-ea"/>
                <a:sym typeface="Calibri"/>
              </a:endParaRPr>
            </a:p>
          </p:txBody>
        </p:sp>
        <p:sp>
          <p:nvSpPr>
            <p:cNvPr id="89" name="Rectangle 1425"/>
            <p:cNvSpPr>
              <a:spLocks noChangeArrowheads="1"/>
            </p:cNvSpPr>
            <p:nvPr/>
          </p:nvSpPr>
          <p:spPr bwMode="auto">
            <a:xfrm>
              <a:off x="301625" y="4224338"/>
              <a:ext cx="138113" cy="379412"/>
            </a:xfrm>
            <a:prstGeom prst="rect">
              <a:avLst/>
            </a:prstGeom>
            <a:grpFill/>
            <a:ln w="0">
              <a:noFill/>
              <a:prstDash val="solid"/>
              <a:miter lim="800000"/>
            </a:ln>
          </p:spPr>
          <p:txBody>
            <a:bodyPr vert="horz" wrap="square" lIns="91440" tIns="45720" rIns="91440" bIns="45720" numCol="1" anchor="t" anchorCtr="0" compatLnSpc="1"/>
            <a:lstStyle/>
            <a:p>
              <a:endParaRPr lang="en-US">
                <a:solidFill>
                  <a:schemeClr val="tx1">
                    <a:lumMod val="50000"/>
                    <a:lumOff val="50000"/>
                  </a:schemeClr>
                </a:solidFill>
                <a:latin typeface="Calibri"/>
                <a:ea typeface="微软雅黑"/>
                <a:cs typeface="+mn-ea"/>
                <a:sym typeface="Calibri"/>
              </a:endParaRPr>
            </a:p>
          </p:txBody>
        </p:sp>
        <p:sp>
          <p:nvSpPr>
            <p:cNvPr id="90" name="Freeform 1426"/>
            <p:cNvSpPr/>
            <p:nvPr/>
          </p:nvSpPr>
          <p:spPr bwMode="auto">
            <a:xfrm>
              <a:off x="495300" y="4183063"/>
              <a:ext cx="746125" cy="401637"/>
            </a:xfrm>
            <a:custGeom>
              <a:avLst/>
              <a:gdLst>
                <a:gd name="T0" fmla="*/ 890 w 2822"/>
                <a:gd name="T1" fmla="*/ 0 h 1515"/>
                <a:gd name="T2" fmla="*/ 1862 w 2822"/>
                <a:gd name="T3" fmla="*/ 243 h 1515"/>
                <a:gd name="T4" fmla="*/ 1862 w 2822"/>
                <a:gd name="T5" fmla="*/ 515 h 1515"/>
                <a:gd name="T6" fmla="*/ 1861 w 2822"/>
                <a:gd name="T7" fmla="*/ 515 h 1515"/>
                <a:gd name="T8" fmla="*/ 1165 w 2822"/>
                <a:gd name="T9" fmla="*/ 346 h 1515"/>
                <a:gd name="T10" fmla="*/ 1115 w 2822"/>
                <a:gd name="T11" fmla="*/ 551 h 1515"/>
                <a:gd name="T12" fmla="*/ 1864 w 2822"/>
                <a:gd name="T13" fmla="*/ 734 h 1515"/>
                <a:gd name="T14" fmla="*/ 2744 w 2822"/>
                <a:gd name="T15" fmla="*/ 492 h 1515"/>
                <a:gd name="T16" fmla="*/ 2822 w 2822"/>
                <a:gd name="T17" fmla="*/ 791 h 1515"/>
                <a:gd name="T18" fmla="*/ 1510 w 2822"/>
                <a:gd name="T19" fmla="*/ 1515 h 1515"/>
                <a:gd name="T20" fmla="*/ 514 w 2822"/>
                <a:gd name="T21" fmla="*/ 1235 h 1515"/>
                <a:gd name="T22" fmla="*/ 0 w 2822"/>
                <a:gd name="T23" fmla="*/ 1293 h 1515"/>
                <a:gd name="T24" fmla="*/ 0 w 2822"/>
                <a:gd name="T25" fmla="*/ 138 h 1515"/>
                <a:gd name="T26" fmla="*/ 890 w 2822"/>
                <a:gd name="T27" fmla="*/ 0 h 15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22" h="1515">
                  <a:moveTo>
                    <a:pt x="890" y="0"/>
                  </a:moveTo>
                  <a:lnTo>
                    <a:pt x="1862" y="243"/>
                  </a:lnTo>
                  <a:lnTo>
                    <a:pt x="1862" y="515"/>
                  </a:lnTo>
                  <a:lnTo>
                    <a:pt x="1861" y="515"/>
                  </a:lnTo>
                  <a:lnTo>
                    <a:pt x="1165" y="346"/>
                  </a:lnTo>
                  <a:lnTo>
                    <a:pt x="1115" y="551"/>
                  </a:lnTo>
                  <a:lnTo>
                    <a:pt x="1864" y="734"/>
                  </a:lnTo>
                  <a:lnTo>
                    <a:pt x="2744" y="492"/>
                  </a:lnTo>
                  <a:lnTo>
                    <a:pt x="2822" y="791"/>
                  </a:lnTo>
                  <a:lnTo>
                    <a:pt x="1510" y="1515"/>
                  </a:lnTo>
                  <a:lnTo>
                    <a:pt x="514" y="1235"/>
                  </a:lnTo>
                  <a:lnTo>
                    <a:pt x="0" y="1293"/>
                  </a:lnTo>
                  <a:lnTo>
                    <a:pt x="0" y="138"/>
                  </a:lnTo>
                  <a:lnTo>
                    <a:pt x="890" y="0"/>
                  </a:lnTo>
                  <a:close/>
                </a:path>
              </a:pathLst>
            </a:custGeom>
            <a:grpFill/>
            <a:ln w="0">
              <a:noFill/>
              <a:prstDash val="solid"/>
              <a:round/>
            </a:ln>
          </p:spPr>
          <p:txBody>
            <a:bodyPr vert="horz" wrap="square" lIns="91440" tIns="45720" rIns="91440" bIns="45720" numCol="1" anchor="t" anchorCtr="0" compatLnSpc="1"/>
            <a:lstStyle/>
            <a:p>
              <a:endParaRPr lang="en-US">
                <a:solidFill>
                  <a:schemeClr val="tx1">
                    <a:lumMod val="50000"/>
                    <a:lumOff val="50000"/>
                  </a:schemeClr>
                </a:solidFill>
                <a:latin typeface="Calibri"/>
                <a:ea typeface="微软雅黑"/>
                <a:cs typeface="+mn-ea"/>
                <a:sym typeface="Calibri"/>
              </a:endParaRPr>
            </a:p>
          </p:txBody>
        </p:sp>
      </p:grpSp>
      <p:sp>
        <p:nvSpPr>
          <p:cNvPr id="91" name="TextBox 9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flipH="1">
            <a:off x="1741364" y="831399"/>
            <a:ext cx="1475597" cy="338554"/>
          </a:xfrm>
          <a:prstGeom prst="rect">
            <a:avLst/>
          </a:prstGeom>
          <a:noFill/>
        </p:spPr>
        <p:txBody>
          <a:bodyPr wrap="none" rtlCol="0">
            <a:spAutoFit/>
          </a:bodyPr>
          <a:lstStyle/>
          <a:p>
            <a:r>
              <a:rPr lang="en-US" sz="1600" dirty="0">
                <a:solidFill>
                  <a:schemeClr val="tx1">
                    <a:lumMod val="50000"/>
                    <a:lumOff val="50000"/>
                  </a:schemeClr>
                </a:solidFill>
                <a:latin typeface="Calibri"/>
                <a:ea typeface="微软雅黑"/>
                <a:cs typeface="+mn-ea"/>
                <a:sym typeface="Calibri"/>
              </a:rPr>
              <a:t>Insert title here</a:t>
            </a:r>
          </a:p>
        </p:txBody>
      </p:sp>
      <p:sp>
        <p:nvSpPr>
          <p:cNvPr id="92" name="TextBox 9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flipH="1">
            <a:off x="1741364" y="1179784"/>
            <a:ext cx="2502096" cy="498598"/>
          </a:xfrm>
          <a:prstGeom prst="rect">
            <a:avLst/>
          </a:prstGeom>
          <a:noFill/>
        </p:spPr>
        <p:txBody>
          <a:bodyPr wrap="square" rtlCol="0">
            <a:spAutoFit/>
          </a:bodyPr>
          <a:lstStyle/>
          <a:p>
            <a:pPr>
              <a:lnSpc>
                <a:spcPct val="110000"/>
              </a:lnSpc>
            </a:pPr>
            <a:r>
              <a:rPr lang="en-US" sz="1200" dirty="0">
                <a:solidFill>
                  <a:schemeClr val="tx1">
                    <a:lumMod val="50000"/>
                    <a:lumOff val="50000"/>
                  </a:schemeClr>
                </a:solidFill>
                <a:latin typeface="Calibri"/>
                <a:ea typeface="微软雅黑"/>
                <a:cs typeface="+mn-ea"/>
                <a:sym typeface="Calibri"/>
              </a:rPr>
              <a:t>Sed ut perspiciatis unde omnis iste natus error voluptatem rem </a:t>
            </a:r>
            <a:r>
              <a:rPr lang="en-US" sz="1200" dirty="0" err="1">
                <a:solidFill>
                  <a:schemeClr val="tx1">
                    <a:lumMod val="50000"/>
                    <a:lumOff val="50000"/>
                  </a:schemeClr>
                </a:solidFill>
                <a:latin typeface="Calibri"/>
                <a:ea typeface="微软雅黑"/>
                <a:cs typeface="+mn-ea"/>
                <a:sym typeface="Calibri"/>
              </a:rPr>
              <a:t>aperiam</a:t>
            </a:r>
            <a:endParaRPr lang="en-US" sz="1200" dirty="0">
              <a:solidFill>
                <a:schemeClr val="tx1">
                  <a:lumMod val="50000"/>
                  <a:lumOff val="50000"/>
                </a:schemeClr>
              </a:solidFill>
              <a:latin typeface="Calibri"/>
              <a:ea typeface="微软雅黑"/>
              <a:cs typeface="+mn-ea"/>
              <a:sym typeface="Calibri"/>
            </a:endParaRPr>
          </a:p>
        </p:txBody>
      </p:sp>
      <p:sp>
        <p:nvSpPr>
          <p:cNvPr id="93" name="TextBox 9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flipH="1">
            <a:off x="1741364" y="2304752"/>
            <a:ext cx="1475597" cy="338554"/>
          </a:xfrm>
          <a:prstGeom prst="rect">
            <a:avLst/>
          </a:prstGeom>
          <a:noFill/>
        </p:spPr>
        <p:txBody>
          <a:bodyPr wrap="none" rtlCol="0">
            <a:spAutoFit/>
          </a:bodyPr>
          <a:lstStyle/>
          <a:p>
            <a:r>
              <a:rPr lang="en-US" sz="1600" dirty="0">
                <a:solidFill>
                  <a:schemeClr val="tx1">
                    <a:lumMod val="50000"/>
                    <a:lumOff val="50000"/>
                  </a:schemeClr>
                </a:solidFill>
                <a:latin typeface="Calibri"/>
                <a:ea typeface="微软雅黑"/>
                <a:cs typeface="+mn-ea"/>
                <a:sym typeface="Calibri"/>
              </a:rPr>
              <a:t>Insert title here</a:t>
            </a:r>
          </a:p>
        </p:txBody>
      </p:sp>
      <p:sp>
        <p:nvSpPr>
          <p:cNvPr id="94" name="TextBox 9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flipH="1">
            <a:off x="1741364" y="2653137"/>
            <a:ext cx="2502096" cy="498598"/>
          </a:xfrm>
          <a:prstGeom prst="rect">
            <a:avLst/>
          </a:prstGeom>
          <a:noFill/>
        </p:spPr>
        <p:txBody>
          <a:bodyPr wrap="square" rtlCol="0">
            <a:spAutoFit/>
          </a:bodyPr>
          <a:lstStyle/>
          <a:p>
            <a:pPr>
              <a:lnSpc>
                <a:spcPct val="110000"/>
              </a:lnSpc>
            </a:pPr>
            <a:r>
              <a:rPr lang="en-US" sz="1200" dirty="0">
                <a:solidFill>
                  <a:schemeClr val="tx1">
                    <a:lumMod val="50000"/>
                    <a:lumOff val="50000"/>
                  </a:schemeClr>
                </a:solidFill>
                <a:latin typeface="Calibri"/>
                <a:ea typeface="微软雅黑"/>
                <a:cs typeface="+mn-ea"/>
                <a:sym typeface="Calibri"/>
              </a:rPr>
              <a:t>Sed ut perspiciatis unde omnis iste natus error voluptatem rem </a:t>
            </a:r>
            <a:r>
              <a:rPr lang="en-US" sz="1200" dirty="0" err="1">
                <a:solidFill>
                  <a:schemeClr val="tx1">
                    <a:lumMod val="50000"/>
                    <a:lumOff val="50000"/>
                  </a:schemeClr>
                </a:solidFill>
                <a:latin typeface="Calibri"/>
                <a:ea typeface="微软雅黑"/>
                <a:cs typeface="+mn-ea"/>
                <a:sym typeface="Calibri"/>
              </a:rPr>
              <a:t>aperiam</a:t>
            </a:r>
            <a:endParaRPr lang="en-US" sz="1200" dirty="0">
              <a:solidFill>
                <a:schemeClr val="tx1">
                  <a:lumMod val="50000"/>
                  <a:lumOff val="50000"/>
                </a:schemeClr>
              </a:solidFill>
              <a:latin typeface="Calibri"/>
              <a:ea typeface="微软雅黑"/>
              <a:cs typeface="+mn-ea"/>
              <a:sym typeface="Calibri"/>
            </a:endParaRPr>
          </a:p>
        </p:txBody>
      </p:sp>
      <p:sp>
        <p:nvSpPr>
          <p:cNvPr id="95" name="TextBox 9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flipH="1">
            <a:off x="1741364" y="3801765"/>
            <a:ext cx="1475597" cy="338554"/>
          </a:xfrm>
          <a:prstGeom prst="rect">
            <a:avLst/>
          </a:prstGeom>
          <a:noFill/>
        </p:spPr>
        <p:txBody>
          <a:bodyPr wrap="none" rtlCol="0">
            <a:spAutoFit/>
          </a:bodyPr>
          <a:lstStyle/>
          <a:p>
            <a:r>
              <a:rPr lang="en-US" sz="1600" dirty="0">
                <a:solidFill>
                  <a:schemeClr val="tx1">
                    <a:lumMod val="50000"/>
                    <a:lumOff val="50000"/>
                  </a:schemeClr>
                </a:solidFill>
                <a:latin typeface="Calibri"/>
                <a:ea typeface="微软雅黑"/>
                <a:cs typeface="+mn-ea"/>
                <a:sym typeface="Calibri"/>
              </a:rPr>
              <a:t>Insert title here</a:t>
            </a:r>
          </a:p>
        </p:txBody>
      </p:sp>
      <p:sp>
        <p:nvSpPr>
          <p:cNvPr id="96" name="TextBox 9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flipH="1">
            <a:off x="1741364" y="4150150"/>
            <a:ext cx="2502096" cy="488467"/>
          </a:xfrm>
          <a:prstGeom prst="rect">
            <a:avLst/>
          </a:prstGeom>
          <a:noFill/>
        </p:spPr>
        <p:txBody>
          <a:bodyPr wrap="square" rtlCol="0">
            <a:spAutoFit/>
          </a:bodyPr>
          <a:lstStyle/>
          <a:p>
            <a:pPr>
              <a:lnSpc>
                <a:spcPct val="110000"/>
              </a:lnSpc>
            </a:pPr>
            <a:r>
              <a:rPr lang="en-US" sz="1200" dirty="0">
                <a:solidFill>
                  <a:schemeClr val="tx1">
                    <a:lumMod val="50000"/>
                    <a:lumOff val="50000"/>
                  </a:schemeClr>
                </a:solidFill>
                <a:latin typeface="Calibri"/>
                <a:ea typeface="微软雅黑"/>
                <a:cs typeface="+mn-ea"/>
                <a:sym typeface="Calibri"/>
              </a:rPr>
              <a:t>Sed ut perspiciatis unde omnis iste natus error voluptatem rem </a:t>
            </a:r>
            <a:r>
              <a:rPr lang="en-US" sz="1200" dirty="0" err="1">
                <a:solidFill>
                  <a:schemeClr val="tx1">
                    <a:lumMod val="50000"/>
                    <a:lumOff val="50000"/>
                  </a:schemeClr>
                </a:solidFill>
                <a:latin typeface="Calibri"/>
                <a:ea typeface="微软雅黑"/>
                <a:cs typeface="+mn-ea"/>
                <a:sym typeface="Calibri"/>
              </a:rPr>
              <a:t>aperiam</a:t>
            </a:r>
            <a:endParaRPr lang="en-US" sz="1200" dirty="0">
              <a:solidFill>
                <a:schemeClr val="tx1">
                  <a:lumMod val="50000"/>
                  <a:lumOff val="50000"/>
                </a:schemeClr>
              </a:solidFill>
              <a:latin typeface="Calibri"/>
              <a:ea typeface="微软雅黑"/>
              <a:cs typeface="+mn-ea"/>
              <a:sym typeface="Calibri"/>
            </a:endParaRPr>
          </a:p>
        </p:txBody>
      </p:sp>
      <p:sp>
        <p:nvSpPr>
          <p:cNvPr id="97" name="TextBox 9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flipH="1">
            <a:off x="1741364" y="5279598"/>
            <a:ext cx="1475597" cy="338554"/>
          </a:xfrm>
          <a:prstGeom prst="rect">
            <a:avLst/>
          </a:prstGeom>
          <a:noFill/>
        </p:spPr>
        <p:txBody>
          <a:bodyPr wrap="none" rtlCol="0">
            <a:spAutoFit/>
          </a:bodyPr>
          <a:lstStyle/>
          <a:p>
            <a:r>
              <a:rPr lang="en-US" sz="1600" dirty="0">
                <a:solidFill>
                  <a:schemeClr val="tx1">
                    <a:lumMod val="50000"/>
                    <a:lumOff val="50000"/>
                  </a:schemeClr>
                </a:solidFill>
                <a:latin typeface="Calibri"/>
                <a:ea typeface="微软雅黑"/>
                <a:cs typeface="+mn-ea"/>
                <a:sym typeface="Calibri"/>
              </a:rPr>
              <a:t>Insert title here</a:t>
            </a:r>
          </a:p>
        </p:txBody>
      </p:sp>
      <p:sp>
        <p:nvSpPr>
          <p:cNvPr id="98" name="TextBox 9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flipH="1">
            <a:off x="1741364" y="5627983"/>
            <a:ext cx="2502096" cy="488467"/>
          </a:xfrm>
          <a:prstGeom prst="rect">
            <a:avLst/>
          </a:prstGeom>
          <a:noFill/>
        </p:spPr>
        <p:txBody>
          <a:bodyPr wrap="square" rtlCol="0">
            <a:spAutoFit/>
          </a:bodyPr>
          <a:lstStyle/>
          <a:p>
            <a:pPr>
              <a:lnSpc>
                <a:spcPct val="110000"/>
              </a:lnSpc>
            </a:pPr>
            <a:r>
              <a:rPr lang="en-US" sz="1200" dirty="0">
                <a:solidFill>
                  <a:schemeClr val="tx1">
                    <a:lumMod val="50000"/>
                    <a:lumOff val="50000"/>
                  </a:schemeClr>
                </a:solidFill>
                <a:latin typeface="Calibri"/>
                <a:ea typeface="微软雅黑"/>
                <a:cs typeface="+mn-ea"/>
                <a:sym typeface="Calibri"/>
              </a:rPr>
              <a:t>Sed ut perspiciatis unde omnis iste natus error voluptatem rem </a:t>
            </a:r>
            <a:r>
              <a:rPr lang="en-US" sz="1200" dirty="0" err="1">
                <a:solidFill>
                  <a:schemeClr val="tx1">
                    <a:lumMod val="50000"/>
                    <a:lumOff val="50000"/>
                  </a:schemeClr>
                </a:solidFill>
                <a:latin typeface="Calibri"/>
                <a:ea typeface="微软雅黑"/>
                <a:cs typeface="+mn-ea"/>
                <a:sym typeface="Calibri"/>
              </a:rPr>
              <a:t>aperiam</a:t>
            </a:r>
            <a:endParaRPr lang="en-US" sz="1200" dirty="0">
              <a:solidFill>
                <a:schemeClr val="tx1">
                  <a:lumMod val="50000"/>
                  <a:lumOff val="50000"/>
                </a:schemeClr>
              </a:solidFill>
              <a:latin typeface="Calibri"/>
              <a:ea typeface="微软雅黑"/>
              <a:cs typeface="+mn-ea"/>
              <a:sym typeface="Calibri"/>
            </a:endParaRPr>
          </a:p>
        </p:txBody>
      </p:sp>
      <p:grpSp>
        <p:nvGrpSpPr>
          <p:cNvPr id="2" name="Group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rot="5400000">
            <a:off x="9761698" y="4148340"/>
            <a:ext cx="2834870" cy="1569660"/>
            <a:chOff x="881206" y="1171318"/>
            <a:chExt cx="2834870" cy="1569660"/>
          </a:xfrm>
        </p:grpSpPr>
        <p:sp>
          <p:nvSpPr>
            <p:cNvPr id="40" name="TextBox 39"/>
            <p:cNvSpPr txBox="1"/>
            <p:nvPr/>
          </p:nvSpPr>
          <p:spPr>
            <a:xfrm>
              <a:off x="881206" y="1171318"/>
              <a:ext cx="1508843" cy="1569660"/>
            </a:xfrm>
            <a:prstGeom prst="rect">
              <a:avLst/>
            </a:prstGeom>
            <a:noFill/>
          </p:spPr>
          <p:txBody>
            <a:bodyPr wrap="square" rtlCol="0">
              <a:spAutoFit/>
            </a:bodyPr>
            <a:lstStyle/>
            <a:p>
              <a:pPr algn="ctr"/>
              <a:r>
                <a:rPr lang="en-US" sz="9600" b="1" dirty="0">
                  <a:gradFill>
                    <a:gsLst>
                      <a:gs pos="2000">
                        <a:srgbClr val="FCDCF1"/>
                      </a:gs>
                      <a:gs pos="100000">
                        <a:srgbClr val="A24CE3"/>
                      </a:gs>
                    </a:gsLst>
                    <a:lin ang="2700000" scaled="1"/>
                  </a:gradFill>
                  <a:effectLst>
                    <a:outerShdw blurRad="101600" sx="102000" sy="102000" algn="ctr" rotWithShape="0">
                      <a:prstClr val="black">
                        <a:alpha val="62000"/>
                      </a:prstClr>
                    </a:outerShdw>
                  </a:effectLst>
                  <a:latin typeface="Calibri"/>
                  <a:ea typeface="微软雅黑"/>
                  <a:cs typeface="+mn-ea"/>
                  <a:sym typeface="Calibri"/>
                </a:rPr>
                <a:t>2</a:t>
              </a:r>
            </a:p>
          </p:txBody>
        </p:sp>
        <p:sp>
          <p:nvSpPr>
            <p:cNvPr id="41" name="TextBox 40"/>
            <p:cNvSpPr txBox="1"/>
            <p:nvPr/>
          </p:nvSpPr>
          <p:spPr>
            <a:xfrm>
              <a:off x="1311954" y="1171318"/>
              <a:ext cx="1508843" cy="1569660"/>
            </a:xfrm>
            <a:prstGeom prst="rect">
              <a:avLst/>
            </a:prstGeom>
            <a:noFill/>
          </p:spPr>
          <p:txBody>
            <a:bodyPr wrap="square" rtlCol="0">
              <a:spAutoFit/>
            </a:bodyPr>
            <a:lstStyle/>
            <a:p>
              <a:pPr algn="ctr"/>
              <a:r>
                <a:rPr lang="en-US" sz="9600" b="1" dirty="0">
                  <a:gradFill>
                    <a:gsLst>
                      <a:gs pos="2000">
                        <a:srgbClr val="FCDCF1"/>
                      </a:gs>
                      <a:gs pos="100000">
                        <a:srgbClr val="A24CE3"/>
                      </a:gs>
                    </a:gsLst>
                    <a:lin ang="2700000" scaled="1"/>
                  </a:gradFill>
                  <a:effectLst>
                    <a:outerShdw blurRad="101600" sx="102000" sy="102000" algn="ctr" rotWithShape="0">
                      <a:prstClr val="black">
                        <a:alpha val="62000"/>
                      </a:prstClr>
                    </a:outerShdw>
                  </a:effectLst>
                  <a:latin typeface="Calibri"/>
                  <a:ea typeface="微软雅黑"/>
                  <a:cs typeface="+mn-ea"/>
                  <a:sym typeface="Calibri"/>
                </a:rPr>
                <a:t>0</a:t>
              </a:r>
            </a:p>
          </p:txBody>
        </p:sp>
        <p:sp>
          <p:nvSpPr>
            <p:cNvPr id="42" name="TextBox 41"/>
            <p:cNvSpPr txBox="1"/>
            <p:nvPr/>
          </p:nvSpPr>
          <p:spPr>
            <a:xfrm>
              <a:off x="1761673" y="1171318"/>
              <a:ext cx="1508843" cy="1569660"/>
            </a:xfrm>
            <a:prstGeom prst="rect">
              <a:avLst/>
            </a:prstGeom>
            <a:noFill/>
          </p:spPr>
          <p:txBody>
            <a:bodyPr wrap="square" rtlCol="0">
              <a:spAutoFit/>
            </a:bodyPr>
            <a:lstStyle/>
            <a:p>
              <a:pPr algn="ctr"/>
              <a:r>
                <a:rPr lang="en-US" sz="9600" b="1" dirty="0">
                  <a:gradFill>
                    <a:gsLst>
                      <a:gs pos="2000">
                        <a:srgbClr val="FCDCF1"/>
                      </a:gs>
                      <a:gs pos="100000">
                        <a:srgbClr val="A24CE3"/>
                      </a:gs>
                    </a:gsLst>
                    <a:lin ang="2700000" scaled="1"/>
                  </a:gradFill>
                  <a:effectLst>
                    <a:outerShdw blurRad="101600" sx="102000" sy="102000" algn="ctr" rotWithShape="0">
                      <a:prstClr val="black">
                        <a:alpha val="62000"/>
                      </a:prstClr>
                    </a:outerShdw>
                  </a:effectLst>
                  <a:latin typeface="Calibri"/>
                  <a:ea typeface="微软雅黑"/>
                  <a:cs typeface="+mn-ea"/>
                  <a:sym typeface="Calibri"/>
                </a:rPr>
                <a:t>2</a:t>
              </a:r>
            </a:p>
          </p:txBody>
        </p:sp>
        <p:sp>
          <p:nvSpPr>
            <p:cNvPr id="43" name="TextBox 42"/>
            <p:cNvSpPr txBox="1"/>
            <p:nvPr/>
          </p:nvSpPr>
          <p:spPr>
            <a:xfrm>
              <a:off x="2207233" y="1171318"/>
              <a:ext cx="1508843" cy="1569660"/>
            </a:xfrm>
            <a:prstGeom prst="rect">
              <a:avLst/>
            </a:prstGeom>
            <a:noFill/>
          </p:spPr>
          <p:txBody>
            <a:bodyPr wrap="square" rtlCol="0">
              <a:spAutoFit/>
            </a:bodyPr>
            <a:lstStyle/>
            <a:p>
              <a:pPr algn="ctr"/>
              <a:r>
                <a:rPr lang="en-US" sz="9600" b="1" dirty="0">
                  <a:gradFill>
                    <a:gsLst>
                      <a:gs pos="2000">
                        <a:srgbClr val="FCDCF1"/>
                      </a:gs>
                      <a:gs pos="100000">
                        <a:srgbClr val="A24CE3"/>
                      </a:gs>
                    </a:gsLst>
                    <a:lin ang="2700000" scaled="1"/>
                  </a:gradFill>
                  <a:effectLst>
                    <a:outerShdw blurRad="101600" sx="102000" sy="102000" algn="ctr" rotWithShape="0">
                      <a:prstClr val="black">
                        <a:alpha val="62000"/>
                      </a:prstClr>
                    </a:outerShdw>
                  </a:effectLst>
                  <a:latin typeface="Calibri"/>
                  <a:ea typeface="微软雅黑"/>
                  <a:cs typeface="+mn-ea"/>
                  <a:sym typeface="Calibri"/>
                </a:rPr>
                <a:t>0</a:t>
              </a:r>
            </a:p>
          </p:txBody>
        </p:sp>
      </p:grpSp>
      <p:pic>
        <p:nvPicPr>
          <p:cNvPr id="5" name="图片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306712" y="4033184"/>
            <a:ext cx="1187511" cy="1162110"/>
          </a:xfrm>
          <a:prstGeom prst="rect">
            <a:avLst/>
          </a:prstGeom>
        </p:spPr>
      </p:pic>
      <p:pic>
        <p:nvPicPr>
          <p:cNvPr id="6" name="图片 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11014989" y="-168072"/>
            <a:ext cx="1365320" cy="1375022"/>
          </a:xfrm>
          <a:prstGeom prst="rect">
            <a:avLst/>
          </a:prstGeom>
        </p:spPr>
      </p:pic>
      <p:pic>
        <p:nvPicPr>
          <p:cNvPr id="8" name="图片 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8089405" y="5618152"/>
            <a:ext cx="1458163" cy="1009702"/>
          </a:xfrm>
          <a:prstGeom prst="rect">
            <a:avLst/>
          </a:prstGeom>
        </p:spPr>
      </p:pic>
      <p:sp>
        <p:nvSpPr>
          <p:cNvPr id="45" name="TextBox 6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042399" y="2643306"/>
            <a:ext cx="2772979" cy="830997"/>
          </a:xfrm>
          <a:prstGeom prst="rect">
            <a:avLst/>
          </a:prstGeom>
          <a:noFill/>
        </p:spPr>
        <p:txBody>
          <a:bodyPr wrap="square" rtlCol="0">
            <a:spAutoFit/>
          </a:bodyPr>
          <a:lstStyle/>
          <a:p>
            <a:pPr algn="r"/>
            <a:r>
              <a:rPr lang="zh-CN" altLang="en-US" sz="1200" dirty="0">
                <a:solidFill>
                  <a:schemeClr val="bg1"/>
                </a:solidFill>
                <a:latin typeface="Calibri"/>
                <a:ea typeface="微软雅黑"/>
                <a:sym typeface="Calibri"/>
              </a:rPr>
              <a:t>Hey, hey, hey! It's Fat </a:t>
            </a:r>
            <a:r>
              <a:rPr lang="en-US" altLang="zh-CN" sz="1200" dirty="0">
                <a:solidFill>
                  <a:schemeClr val="bg1"/>
                </a:solidFill>
                <a:latin typeface="Calibri"/>
                <a:ea typeface="微软雅黑"/>
                <a:sym typeface="Calibri"/>
              </a:rPr>
              <a:t>Company</a:t>
            </a:r>
            <a:r>
              <a:rPr lang="zh-CN" altLang="en-US" sz="1200" dirty="0">
                <a:solidFill>
                  <a:schemeClr val="bg1"/>
                </a:solidFill>
                <a:latin typeface="Calibri"/>
                <a:ea typeface="微软雅黑"/>
                <a:sym typeface="Calibri"/>
              </a:rPr>
              <a:t>! Now I'm gonna sing a song for you, and this is gonna show you a thing or two. You'll have some fun now</a:t>
            </a:r>
            <a:endParaRPr lang="en-US" altLang="zh-CN" sz="1200" dirty="0">
              <a:solidFill>
                <a:schemeClr val="bg1"/>
              </a:solidFill>
              <a:latin typeface="Calibri"/>
              <a:ea typeface="微软雅黑"/>
              <a:sym typeface="Calibri"/>
            </a:endParaRPr>
          </a:p>
        </p:txBody>
      </p:sp>
      <p:sp>
        <p:nvSpPr>
          <p:cNvPr id="9"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椭圆 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5862027" y="-603953"/>
            <a:ext cx="8398413" cy="8398413"/>
          </a:xfrm>
          <a:prstGeom prst="ellipse">
            <a:avLst/>
          </a:prstGeom>
          <a:solidFill>
            <a:schemeClr val="accent2">
              <a:lumMod val="20000"/>
              <a:lumOff val="80000"/>
              <a:alpha val="2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10" name="矩形: 圆角 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64942" y="154745"/>
            <a:ext cx="11662116" cy="534572"/>
          </a:xfrm>
          <a:prstGeom prst="roundRect">
            <a:avLst/>
          </a:prstGeom>
          <a:solidFill>
            <a:srgbClr val="F2E9DA">
              <a:alpha val="27059"/>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Calibri"/>
              <a:ea typeface="微软雅黑"/>
              <a:sym typeface="Calibri"/>
            </a:endParaRPr>
          </a:p>
        </p:txBody>
      </p:sp>
      <p:grpSp>
        <p:nvGrpSpPr>
          <p:cNvPr id="11" name="组合 1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384598" y="333328"/>
            <a:ext cx="5876040" cy="261610"/>
            <a:chOff x="6027473" y="260675"/>
            <a:chExt cx="5876040" cy="261610"/>
          </a:xfrm>
        </p:grpSpPr>
        <p:sp>
          <p:nvSpPr>
            <p:cNvPr id="12" name="TextBox 22"/>
            <p:cNvSpPr txBox="1"/>
            <p:nvPr/>
          </p:nvSpPr>
          <p:spPr>
            <a:xfrm>
              <a:off x="6027473" y="260675"/>
              <a:ext cx="578028"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ALL</a:t>
              </a:r>
            </a:p>
          </p:txBody>
        </p:sp>
        <p:sp>
          <p:nvSpPr>
            <p:cNvPr id="13" name="TextBox 29"/>
            <p:cNvSpPr txBox="1"/>
            <p:nvPr/>
          </p:nvSpPr>
          <p:spPr>
            <a:xfrm>
              <a:off x="6670009" y="260675"/>
              <a:ext cx="135789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WEB DESIGN</a:t>
              </a:r>
            </a:p>
          </p:txBody>
        </p:sp>
        <p:sp>
          <p:nvSpPr>
            <p:cNvPr id="14" name="TextBox 35"/>
            <p:cNvSpPr txBox="1"/>
            <p:nvPr/>
          </p:nvSpPr>
          <p:spPr>
            <a:xfrm>
              <a:off x="8093049" y="260675"/>
              <a:ext cx="114135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GRAPHICS</a:t>
              </a:r>
            </a:p>
          </p:txBody>
        </p:sp>
        <p:sp>
          <p:nvSpPr>
            <p:cNvPr id="15" name="TextBox 37"/>
            <p:cNvSpPr txBox="1"/>
            <p:nvPr/>
          </p:nvSpPr>
          <p:spPr>
            <a:xfrm>
              <a:off x="9298318" y="260675"/>
              <a:ext cx="95843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BRANDS</a:t>
              </a:r>
            </a:p>
          </p:txBody>
        </p:sp>
        <p:sp>
          <p:nvSpPr>
            <p:cNvPr id="16" name="TextBox 39"/>
            <p:cNvSpPr txBox="1"/>
            <p:nvPr/>
          </p:nvSpPr>
          <p:spPr>
            <a:xfrm>
              <a:off x="10299559" y="260675"/>
              <a:ext cx="160395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USER INTERFACE</a:t>
              </a:r>
            </a:p>
          </p:txBody>
        </p:sp>
      </p:grpSp>
      <p:sp>
        <p:nvSpPr>
          <p:cNvPr id="17" name="文本框 1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72867" y="2607506"/>
            <a:ext cx="6801728" cy="1323439"/>
          </a:xfrm>
          <a:prstGeom prst="rect">
            <a:avLst/>
          </a:prstGeom>
          <a:noFill/>
        </p:spPr>
        <p:txBody>
          <a:bodyPr wrap="square">
            <a:spAutoFit/>
          </a:bodyPr>
          <a:lstStyle/>
          <a:p>
            <a:r>
              <a:rPr lang="en-US" altLang="zh-CN" sz="8000" b="1" dirty="0">
                <a:solidFill>
                  <a:schemeClr val="tx1">
                    <a:lumMod val="75000"/>
                    <a:lumOff val="25000"/>
                  </a:schemeClr>
                </a:solidFill>
                <a:effectLst>
                  <a:outerShdw blurRad="88900" dist="127000" dir="2700000" algn="tl">
                    <a:srgbClr val="000000">
                      <a:alpha val="35000"/>
                    </a:srgbClr>
                  </a:outerShdw>
                </a:effectLst>
                <a:latin typeface="Calibri"/>
                <a:ea typeface="微软雅黑"/>
                <a:sym typeface="Calibri"/>
              </a:rPr>
              <a:t>PART FIVE</a:t>
            </a:r>
            <a:endParaRPr lang="zh-CN" altLang="en-US" sz="8000" b="1" dirty="0">
              <a:solidFill>
                <a:schemeClr val="tx1">
                  <a:lumMod val="75000"/>
                  <a:lumOff val="25000"/>
                </a:schemeClr>
              </a:solidFill>
              <a:latin typeface="Calibri"/>
              <a:ea typeface="微软雅黑"/>
              <a:sym typeface="Calibri"/>
            </a:endParaRPr>
          </a:p>
        </p:txBody>
      </p:sp>
      <p:sp>
        <p:nvSpPr>
          <p:cNvPr id="18" name="TextBox 1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395903" y="3824671"/>
            <a:ext cx="4997466" cy="276422"/>
          </a:xfrm>
          <a:prstGeom prst="rect">
            <a:avLst/>
          </a:prstGeom>
          <a:ln w="12700">
            <a:miter lim="400000"/>
          </a:ln>
          <a:effectLst/>
        </p:spPr>
        <p:txBody>
          <a:bodyPr wrap="square" lIns="25400" tIns="25400" rIns="25400" bIns="25400">
            <a:spAutoFit/>
          </a:bodyPr>
          <a:lstStyle>
            <a:defPPr>
              <a:defRPr lang="zh-CN"/>
            </a:defPPr>
            <a:lvl1pPr algn="ctr">
              <a:lnSpc>
                <a:spcPct val="110000"/>
              </a:lnSpc>
              <a:defRPr sz="9600">
                <a:solidFill>
                  <a:schemeClr val="bg1"/>
                </a:solidFill>
                <a:effectLst>
                  <a:outerShdw blurRad="88900" dist="127000" dir="2700000" algn="tl">
                    <a:srgbClr val="000000">
                      <a:alpha val="35000"/>
                    </a:srgbClr>
                  </a:outerShdw>
                </a:effectLst>
                <a:latin typeface="Poppins SemiBold" panose="02000000000000000000"/>
                <a:ea typeface="Poppins SemiBold" panose="02000000000000000000"/>
                <a:cs typeface="Poppins SemiBold" panose="020000000000000000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a:r>
              <a:rPr lang="en-US" sz="1400" dirty="0">
                <a:solidFill>
                  <a:schemeClr val="tx1">
                    <a:lumMod val="75000"/>
                    <a:lumOff val="25000"/>
                  </a:schemeClr>
                </a:solidFill>
                <a:latin typeface="Calibri"/>
                <a:ea typeface="微软雅黑"/>
                <a:sym typeface="Calibri"/>
              </a:rPr>
              <a:t>Business Presentation  template.</a:t>
            </a:r>
          </a:p>
        </p:txBody>
      </p:sp>
      <p:sp>
        <p:nvSpPr>
          <p:cNvPr id="19" name="缺角矩形 1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20" name="缺角矩形 1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691024" y="4387605"/>
            <a:ext cx="576775" cy="576776"/>
          </a:xfrm>
          <a:prstGeom prst="plaque">
            <a:avLst>
              <a:gd name="adj" fmla="val 50000"/>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21" name="缺角矩形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772464" y="2372275"/>
            <a:ext cx="400093" cy="400094"/>
          </a:xfrm>
          <a:prstGeom prst="plaque">
            <a:avLst>
              <a:gd name="adj" fmla="val 50000"/>
            </a:avLst>
          </a:prstGeom>
          <a:solidFill>
            <a:srgbClr val="F7F797"/>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23" name="Freeform 6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a:spLocks noEditPoints="1"/>
          </p:cNvSpPr>
          <p:nvPr/>
        </p:nvSpPr>
        <p:spPr bwMode="auto">
          <a:xfrm>
            <a:off x="382441" y="6460951"/>
            <a:ext cx="137450" cy="135137"/>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tx1">
              <a:lumMod val="75000"/>
              <a:lumOff val="25000"/>
            </a:schemeClr>
          </a:solidFill>
          <a:ln>
            <a:noFill/>
          </a:ln>
        </p:spPr>
        <p:txBody>
          <a:bodyPr/>
          <a:lstStyle/>
          <a:p>
            <a:pPr algn="l"/>
            <a:endParaRPr lang="en-US" sz="1000" dirty="0">
              <a:solidFill>
                <a:schemeClr val="bg1"/>
              </a:solidFill>
              <a:latin typeface="Calibri"/>
              <a:ea typeface="微软雅黑"/>
              <a:sym typeface="Calibri"/>
            </a:endParaRPr>
          </a:p>
        </p:txBody>
      </p:sp>
      <p:sp>
        <p:nvSpPr>
          <p:cNvPr id="24" name="TextBox 4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57429" y="6401561"/>
            <a:ext cx="2529860" cy="246221"/>
          </a:xfrm>
          <a:prstGeom prst="rect">
            <a:avLst/>
          </a:prstGeom>
          <a:noFill/>
        </p:spPr>
        <p:txBody>
          <a:bodyPr wrap="none" rtlCol="0">
            <a:spAutoFit/>
          </a:bodyPr>
          <a:lstStyle/>
          <a:p>
            <a:pPr algn="l"/>
            <a:r>
              <a:rPr lang="en-US" sz="1000" spc="300" dirty="0">
                <a:solidFill>
                  <a:schemeClr val="tx1">
                    <a:lumMod val="75000"/>
                    <a:lumOff val="25000"/>
                  </a:schemeClr>
                </a:solidFill>
                <a:latin typeface="Calibri"/>
                <a:ea typeface="微软雅黑"/>
                <a:cs typeface="Segoe UI" panose="020B0502040204020203" pitchFamily="34" charset="0"/>
                <a:sym typeface="Calibri"/>
              </a:rPr>
              <a:t>https://www.freeppt7.com</a:t>
            </a:r>
            <a:endParaRPr lang="id-ID" sz="1000" spc="300" dirty="0">
              <a:solidFill>
                <a:schemeClr val="tx1">
                  <a:lumMod val="75000"/>
                  <a:lumOff val="25000"/>
                </a:schemeClr>
              </a:solidFill>
              <a:latin typeface="Calibri"/>
              <a:ea typeface="微软雅黑"/>
              <a:cs typeface="Segoe UI" panose="020B0502040204020203" pitchFamily="34" charset="0"/>
              <a:sym typeface="Calibri"/>
            </a:endParaRPr>
          </a:p>
        </p:txBody>
      </p:sp>
      <p:sp>
        <p:nvSpPr>
          <p:cNvPr id="25" name="缺角矩形 2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27" name="缺角矩形 2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881529" y="5546662"/>
            <a:ext cx="400093" cy="400094"/>
          </a:xfrm>
          <a:prstGeom prst="plaque">
            <a:avLst>
              <a:gd name="adj" fmla="val 50000"/>
            </a:avLst>
          </a:prstGeom>
          <a:solidFill>
            <a:schemeClr val="accent2"/>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28" name="Rectangle: Rounded Corners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395903" y="4506419"/>
            <a:ext cx="1456010" cy="457962"/>
          </a:xfrm>
          <a:prstGeom prst="roundRect">
            <a:avLst>
              <a:gd name="adj" fmla="val 1424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alibri"/>
                <a:ea typeface="微软雅黑"/>
                <a:sym typeface="Calibri"/>
              </a:rPr>
              <a:t>Choose service</a:t>
            </a:r>
          </a:p>
        </p:txBody>
      </p:sp>
      <p:sp>
        <p:nvSpPr>
          <p:cNvPr id="29" name="Rectangle: Rounded Corners 4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281622" y="4506419"/>
            <a:ext cx="1531135" cy="457962"/>
          </a:xfrm>
          <a:prstGeom prst="roundRect">
            <a:avLst>
              <a:gd name="adj" fmla="val 14241"/>
            </a:avLst>
          </a:prstGeom>
          <a:solidFill>
            <a:schemeClr val="accent1">
              <a:alpha val="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1">
                    <a:lumMod val="75000"/>
                  </a:schemeClr>
                </a:solidFill>
                <a:latin typeface="Calibri"/>
                <a:ea typeface="微软雅黑"/>
                <a:sym typeface="Calibri"/>
              </a:rPr>
              <a:t>More info</a:t>
            </a:r>
          </a:p>
        </p:txBody>
      </p:sp>
      <p:sp>
        <p:nvSpPr>
          <p:cNvPr id="26" name="椭圆 2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7392122" y="-721717"/>
            <a:ext cx="8398413" cy="8398413"/>
          </a:xfrm>
          <a:prstGeom prst="ellipse">
            <a:avLst/>
          </a:prstGeom>
          <a:solidFill>
            <a:schemeClr val="accent2">
              <a:lumMod val="20000"/>
              <a:lumOff val="80000"/>
              <a:alpha val="28000"/>
            </a:schemeClr>
          </a:solidFill>
          <a:ln>
            <a:noFill/>
          </a:ln>
          <a:effectLst>
            <a:outerShdw blurRad="50800" dist="50800" dir="5400000" algn="ctr" rotWithShape="0">
              <a:schemeClr val="accent1"/>
            </a:outerShdw>
          </a:effectLst>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pic>
        <p:nvPicPr>
          <p:cNvPr id="30" name="图片 2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a:stretch>
            <a:fillRect/>
          </a:stretch>
        </p:blipFill>
        <p:spPr>
          <a:xfrm>
            <a:off x="6153279" y="410010"/>
            <a:ext cx="6013938" cy="6013938"/>
          </a:xfrm>
          <a:prstGeom prst="rect">
            <a:avLst/>
          </a:prstGeom>
        </p:spPr>
      </p:pic>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占位符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t="14509" b="14509"/>
          <a:stretch>
            <a:fillRect/>
          </a:stretch>
        </p:blipFill>
        <p:spPr/>
      </p:pic>
      <p:sp>
        <p:nvSpPr>
          <p:cNvPr id="46" name="Rectangle 4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38200" y="1352550"/>
            <a:ext cx="8439150" cy="401955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54" name="TextBox 5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2141284" y="2344946"/>
            <a:ext cx="4456365" cy="707886"/>
          </a:xfrm>
          <a:prstGeom prst="rect">
            <a:avLst/>
          </a:prstGeom>
          <a:noFill/>
        </p:spPr>
        <p:txBody>
          <a:bodyPr wrap="square" rtlCol="0">
            <a:spAutoFit/>
          </a:bodyPr>
          <a:lstStyle/>
          <a:p>
            <a:r>
              <a:rPr lang="en-US" sz="4000" b="1" dirty="0">
                <a:solidFill>
                  <a:schemeClr val="tx1">
                    <a:lumMod val="85000"/>
                    <a:lumOff val="15000"/>
                  </a:schemeClr>
                </a:solidFill>
                <a:latin typeface="Calibri"/>
                <a:ea typeface="微软雅黑"/>
                <a:cs typeface="+mn-ea"/>
                <a:sym typeface="Calibri"/>
              </a:rPr>
              <a:t>Online </a:t>
            </a:r>
            <a:r>
              <a:rPr lang="en-US" sz="4000" b="1" dirty="0">
                <a:gradFill>
                  <a:gsLst>
                    <a:gs pos="0">
                      <a:schemeClr val="accent1"/>
                    </a:gs>
                    <a:gs pos="100000">
                      <a:schemeClr val="accent2"/>
                    </a:gs>
                  </a:gsLst>
                  <a:lin ang="10200000" scaled="0"/>
                </a:gradFill>
                <a:latin typeface="Calibri"/>
                <a:ea typeface="微软雅黑"/>
                <a:cs typeface="+mn-ea"/>
                <a:sym typeface="Calibri"/>
              </a:rPr>
              <a:t>Training</a:t>
            </a:r>
          </a:p>
        </p:txBody>
      </p:sp>
      <p:sp>
        <p:nvSpPr>
          <p:cNvPr id="55" name="Rectangle 5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2141284" y="3115935"/>
            <a:ext cx="5154866" cy="894732"/>
          </a:xfrm>
          <a:prstGeom prst="rect">
            <a:avLst/>
          </a:prstGeom>
        </p:spPr>
        <p:txBody>
          <a:bodyPr wrap="square">
            <a:spAutoFit/>
          </a:bodyPr>
          <a:lstStyle/>
          <a:p>
            <a:pPr>
              <a:lnSpc>
                <a:spcPct val="150000"/>
              </a:lnSpc>
            </a:pPr>
            <a:r>
              <a:rPr lang="zh-CN" altLang="en-US" sz="1200" dirty="0">
                <a:latin typeface="Calibri"/>
                <a:ea typeface="微软雅黑"/>
                <a:cs typeface="+mn-ea"/>
                <a:sym typeface="Calibri"/>
              </a:rPr>
              <a:t>Hey, hey, hey! It's Fat </a:t>
            </a:r>
            <a:r>
              <a:rPr lang="en-US" altLang="zh-CN" sz="1200" dirty="0">
                <a:latin typeface="Calibri"/>
                <a:ea typeface="微软雅黑"/>
                <a:cs typeface="+mn-ea"/>
                <a:sym typeface="Calibri"/>
              </a:rPr>
              <a:t>Company</a:t>
            </a:r>
            <a:r>
              <a:rPr lang="zh-CN" altLang="en-US" sz="1200" dirty="0">
                <a:latin typeface="Calibri"/>
                <a:ea typeface="微软雅黑"/>
                <a:cs typeface="+mn-ea"/>
                <a:sym typeface="Calibri"/>
              </a:rPr>
              <a:t>! Now I'm gonna sing a song for you, and this is gonna show you a thing or two. You'll have some fun now With me and the gang, learning from each other While we do our thing</a:t>
            </a:r>
            <a:endParaRPr lang="en-US" altLang="zh-CN" sz="1200" dirty="0">
              <a:solidFill>
                <a:schemeClr val="tx1">
                  <a:lumMod val="65000"/>
                  <a:lumOff val="35000"/>
                </a:schemeClr>
              </a:solidFill>
              <a:latin typeface="Calibri"/>
              <a:ea typeface="微软雅黑"/>
              <a:cs typeface="+mn-ea"/>
              <a:sym typeface="Calibri"/>
            </a:endParaRPr>
          </a:p>
        </p:txBody>
      </p:sp>
      <p:grpSp>
        <p:nvGrpSpPr>
          <p:cNvPr id="56" name="Group 5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2229273" y="4473600"/>
            <a:ext cx="1324112" cy="331302"/>
            <a:chOff x="4481444" y="4189765"/>
            <a:chExt cx="1324112" cy="331302"/>
          </a:xfrm>
        </p:grpSpPr>
        <p:sp>
          <p:nvSpPr>
            <p:cNvPr id="57" name="Rectangle: Rounded Corners 56"/>
            <p:cNvSpPr/>
            <p:nvPr/>
          </p:nvSpPr>
          <p:spPr>
            <a:xfrm>
              <a:off x="4481444" y="4189765"/>
              <a:ext cx="1324112" cy="331302"/>
            </a:xfrm>
            <a:prstGeom prst="roundRect">
              <a:avLst>
                <a:gd name="adj" fmla="val 50000"/>
              </a:avLst>
            </a:prstGeom>
            <a:gradFill>
              <a:gsLst>
                <a:gs pos="0">
                  <a:schemeClr val="accent5">
                    <a:lumMod val="60000"/>
                    <a:lumOff val="40000"/>
                  </a:schemeClr>
                </a:gs>
                <a:gs pos="100000">
                  <a:schemeClr val="accent3">
                    <a:lumMod val="60000"/>
                    <a:lumOff val="40000"/>
                  </a:schemeClr>
                </a:gs>
              </a:gsLst>
              <a:lin ang="8100000" scaled="1"/>
            </a:gradFill>
            <a:ln w="31750">
              <a:solidFill>
                <a:schemeClr val="accent3">
                  <a:alpha val="93000"/>
                </a:schemeClr>
              </a:solidFill>
            </a:ln>
            <a:effectLst>
              <a:outerShdw blurRad="228600" dist="152400" dir="5400000" sx="79000" sy="79000" algn="t"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spc="300" dirty="0">
                <a:solidFill>
                  <a:schemeClr val="bg1"/>
                </a:solidFill>
                <a:latin typeface="Calibri"/>
                <a:ea typeface="微软雅黑"/>
                <a:cs typeface="+mn-ea"/>
                <a:sym typeface="Calibri"/>
              </a:endParaRPr>
            </a:p>
          </p:txBody>
        </p:sp>
        <p:sp>
          <p:nvSpPr>
            <p:cNvPr id="58" name="TextBox 57"/>
            <p:cNvSpPr txBox="1"/>
            <p:nvPr/>
          </p:nvSpPr>
          <p:spPr>
            <a:xfrm>
              <a:off x="4546298" y="4212451"/>
              <a:ext cx="1194404" cy="307777"/>
            </a:xfrm>
            <a:prstGeom prst="rect">
              <a:avLst/>
            </a:prstGeom>
            <a:noFill/>
          </p:spPr>
          <p:txBody>
            <a:bodyPr wrap="square" rtlCol="0">
              <a:spAutoFit/>
            </a:bodyPr>
            <a:lstStyle/>
            <a:p>
              <a:pPr algn="ctr"/>
              <a:r>
                <a:rPr lang="en-US" sz="1400" dirty="0">
                  <a:solidFill>
                    <a:schemeClr val="bg1"/>
                  </a:solidFill>
                  <a:latin typeface="Calibri"/>
                  <a:ea typeface="微软雅黑"/>
                  <a:cs typeface="+mn-ea"/>
                  <a:sym typeface="Calibri"/>
                </a:rPr>
                <a:t>Read More</a:t>
              </a:r>
              <a:endParaRPr lang="id-ID" sz="1400" dirty="0">
                <a:solidFill>
                  <a:schemeClr val="bg1"/>
                </a:solidFill>
                <a:latin typeface="Calibri"/>
                <a:ea typeface="微软雅黑"/>
                <a:cs typeface="+mn-ea"/>
                <a:sym typeface="Calibri"/>
              </a:endParaRPr>
            </a:p>
          </p:txBody>
        </p:sp>
      </p:grpSp>
      <p:grpSp>
        <p:nvGrpSpPr>
          <p:cNvPr id="2" name="Group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123950" y="1562100"/>
            <a:ext cx="8496301" cy="4360969"/>
            <a:chOff x="1123950" y="1562100"/>
            <a:chExt cx="8496301" cy="4360969"/>
          </a:xfrm>
        </p:grpSpPr>
        <p:sp>
          <p:nvSpPr>
            <p:cNvPr id="43" name="Rectangle 42"/>
            <p:cNvSpPr/>
            <p:nvPr/>
          </p:nvSpPr>
          <p:spPr>
            <a:xfrm>
              <a:off x="1123950" y="1562100"/>
              <a:ext cx="8496300" cy="4114800"/>
            </a:xfrm>
            <a:prstGeom prst="rect">
              <a:avLst/>
            </a:prstGeom>
            <a:no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4" name="Rectangle 43"/>
            <p:cNvSpPr/>
            <p:nvPr/>
          </p:nvSpPr>
          <p:spPr>
            <a:xfrm rot="5400000">
              <a:off x="8066593" y="4369412"/>
              <a:ext cx="248003" cy="2859312"/>
            </a:xfrm>
            <a:prstGeom prst="rect">
              <a:avLst/>
            </a:prstGeom>
            <a:pattFill prst="wdDnDiag">
              <a:fgClr>
                <a:schemeClr val="accent3"/>
              </a:fgClr>
              <a:bgClr>
                <a:schemeClr val="bg1"/>
              </a:bgClr>
            </a:pattFill>
            <a:ln w="349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grpSp>
        <p:nvGrpSpPr>
          <p:cNvPr id="27" name="Group 2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067368" y="1881196"/>
            <a:ext cx="3421583" cy="657208"/>
            <a:chOff x="1524000" y="3105190"/>
            <a:chExt cx="3635415" cy="657208"/>
          </a:xfrm>
        </p:grpSpPr>
        <p:sp>
          <p:nvSpPr>
            <p:cNvPr id="28" name="Rectangle: Rounded Corners 27"/>
            <p:cNvSpPr/>
            <p:nvPr/>
          </p:nvSpPr>
          <p:spPr>
            <a:xfrm>
              <a:off x="1524000" y="3105190"/>
              <a:ext cx="3410856" cy="657208"/>
            </a:xfrm>
            <a:prstGeom prst="roundRect">
              <a:avLst>
                <a:gd name="adj" fmla="val 14597"/>
              </a:avLst>
            </a:prstGeom>
            <a:solidFill>
              <a:schemeClr val="bg1"/>
            </a:solidFill>
            <a:ln>
              <a:noFill/>
            </a:ln>
            <a:effectLst>
              <a:outerShdw blurRad="355600" dist="228600" dir="5400000" sx="97000" sy="97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alibri"/>
                <a:ea typeface="微软雅黑"/>
                <a:cs typeface="+mn-ea"/>
                <a:sym typeface="Calibri"/>
              </a:endParaRPr>
            </a:p>
          </p:txBody>
        </p:sp>
        <p:sp>
          <p:nvSpPr>
            <p:cNvPr id="29" name="TextBox 28"/>
            <p:cNvSpPr txBox="1"/>
            <p:nvPr/>
          </p:nvSpPr>
          <p:spPr>
            <a:xfrm>
              <a:off x="2443152" y="3256053"/>
              <a:ext cx="2716263" cy="333617"/>
            </a:xfrm>
            <a:prstGeom prst="rect">
              <a:avLst/>
            </a:prstGeom>
            <a:noFill/>
          </p:spPr>
          <p:txBody>
            <a:bodyPr wrap="square" rtlCol="0">
              <a:spAutoFit/>
            </a:bodyPr>
            <a:lstStyle/>
            <a:p>
              <a:pPr>
                <a:lnSpc>
                  <a:spcPct val="120000"/>
                </a:lnSpc>
              </a:pPr>
              <a:r>
                <a:rPr lang="en-US" sz="1400" b="1" dirty="0">
                  <a:solidFill>
                    <a:srgbClr val="232A4E"/>
                  </a:solidFill>
                  <a:latin typeface="Calibri"/>
                  <a:ea typeface="微软雅黑"/>
                  <a:cs typeface="+mn-ea"/>
                  <a:sym typeface="Calibri"/>
                </a:rPr>
                <a:t>Choose the Language</a:t>
              </a:r>
            </a:p>
          </p:txBody>
        </p:sp>
        <p:sp>
          <p:nvSpPr>
            <p:cNvPr id="30" name="TextBox 29"/>
            <p:cNvSpPr txBox="1"/>
            <p:nvPr/>
          </p:nvSpPr>
          <p:spPr>
            <a:xfrm>
              <a:off x="1748558" y="3190298"/>
              <a:ext cx="652322" cy="437043"/>
            </a:xfrm>
            <a:prstGeom prst="rect">
              <a:avLst/>
            </a:prstGeom>
            <a:noFill/>
          </p:spPr>
          <p:txBody>
            <a:bodyPr wrap="square" rtlCol="0">
              <a:spAutoFit/>
            </a:bodyPr>
            <a:lstStyle/>
            <a:p>
              <a:pPr>
                <a:lnSpc>
                  <a:spcPct val="120000"/>
                </a:lnSpc>
              </a:pPr>
              <a:r>
                <a:rPr lang="en-US" sz="2000" b="1" dirty="0">
                  <a:solidFill>
                    <a:schemeClr val="accent1"/>
                  </a:solidFill>
                  <a:latin typeface="Calibri"/>
                  <a:ea typeface="微软雅黑"/>
                  <a:cs typeface="+mn-ea"/>
                  <a:sym typeface="Calibri"/>
                </a:rPr>
                <a:t>01.</a:t>
              </a:r>
            </a:p>
          </p:txBody>
        </p:sp>
      </p:grpSp>
      <p:grpSp>
        <p:nvGrpSpPr>
          <p:cNvPr id="31" name="Group 3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067368" y="2782739"/>
            <a:ext cx="3210232" cy="657208"/>
            <a:chOff x="1524000" y="3105190"/>
            <a:chExt cx="3410856" cy="657208"/>
          </a:xfrm>
        </p:grpSpPr>
        <p:sp>
          <p:nvSpPr>
            <p:cNvPr id="32" name="Rectangle: Rounded Corners 31"/>
            <p:cNvSpPr/>
            <p:nvPr/>
          </p:nvSpPr>
          <p:spPr>
            <a:xfrm>
              <a:off x="1524000" y="3105190"/>
              <a:ext cx="3410856" cy="657208"/>
            </a:xfrm>
            <a:prstGeom prst="roundRect">
              <a:avLst>
                <a:gd name="adj" fmla="val 14597"/>
              </a:avLst>
            </a:prstGeom>
            <a:solidFill>
              <a:schemeClr val="bg1"/>
            </a:solidFill>
            <a:ln>
              <a:noFill/>
            </a:ln>
            <a:effectLst>
              <a:outerShdw blurRad="355600" dist="228600" dir="5400000" sx="97000" sy="97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alibri"/>
                <a:ea typeface="微软雅黑"/>
                <a:cs typeface="+mn-ea"/>
                <a:sym typeface="Calibri"/>
              </a:endParaRPr>
            </a:p>
          </p:txBody>
        </p:sp>
        <p:sp>
          <p:nvSpPr>
            <p:cNvPr id="33" name="TextBox 32"/>
            <p:cNvSpPr txBox="1"/>
            <p:nvPr/>
          </p:nvSpPr>
          <p:spPr>
            <a:xfrm>
              <a:off x="2443152" y="3256053"/>
              <a:ext cx="2460554" cy="333617"/>
            </a:xfrm>
            <a:prstGeom prst="rect">
              <a:avLst/>
            </a:prstGeom>
            <a:noFill/>
          </p:spPr>
          <p:txBody>
            <a:bodyPr wrap="square" rtlCol="0">
              <a:spAutoFit/>
            </a:bodyPr>
            <a:lstStyle/>
            <a:p>
              <a:pPr>
                <a:lnSpc>
                  <a:spcPct val="120000"/>
                </a:lnSpc>
              </a:pPr>
              <a:r>
                <a:rPr lang="en-US" sz="1400" b="1" dirty="0">
                  <a:solidFill>
                    <a:srgbClr val="232A4E"/>
                  </a:solidFill>
                  <a:latin typeface="Calibri"/>
                  <a:ea typeface="微软雅黑"/>
                  <a:cs typeface="+mn-ea"/>
                  <a:sym typeface="Calibri"/>
                </a:rPr>
                <a:t>Start Small</a:t>
              </a:r>
            </a:p>
          </p:txBody>
        </p:sp>
        <p:sp>
          <p:nvSpPr>
            <p:cNvPr id="34" name="TextBox 33"/>
            <p:cNvSpPr txBox="1"/>
            <p:nvPr/>
          </p:nvSpPr>
          <p:spPr>
            <a:xfrm>
              <a:off x="1748558" y="3190298"/>
              <a:ext cx="652322" cy="437043"/>
            </a:xfrm>
            <a:prstGeom prst="rect">
              <a:avLst/>
            </a:prstGeom>
            <a:noFill/>
          </p:spPr>
          <p:txBody>
            <a:bodyPr wrap="square" rtlCol="0">
              <a:spAutoFit/>
            </a:bodyPr>
            <a:lstStyle/>
            <a:p>
              <a:pPr>
                <a:lnSpc>
                  <a:spcPct val="120000"/>
                </a:lnSpc>
              </a:pPr>
              <a:r>
                <a:rPr lang="en-US" sz="2000" b="1" dirty="0">
                  <a:solidFill>
                    <a:schemeClr val="accent2"/>
                  </a:solidFill>
                  <a:latin typeface="Calibri"/>
                  <a:ea typeface="微软雅黑"/>
                  <a:cs typeface="+mn-ea"/>
                  <a:sym typeface="Calibri"/>
                </a:rPr>
                <a:t>02.</a:t>
              </a:r>
            </a:p>
          </p:txBody>
        </p:sp>
      </p:grpSp>
      <p:grpSp>
        <p:nvGrpSpPr>
          <p:cNvPr id="35" name="Group 3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067368" y="3684282"/>
            <a:ext cx="3210232" cy="657208"/>
            <a:chOff x="1524000" y="3105190"/>
            <a:chExt cx="3410856" cy="657208"/>
          </a:xfrm>
        </p:grpSpPr>
        <p:sp>
          <p:nvSpPr>
            <p:cNvPr id="36" name="Rectangle: Rounded Corners 35"/>
            <p:cNvSpPr/>
            <p:nvPr/>
          </p:nvSpPr>
          <p:spPr>
            <a:xfrm>
              <a:off x="1524000" y="3105190"/>
              <a:ext cx="3410856" cy="657208"/>
            </a:xfrm>
            <a:prstGeom prst="roundRect">
              <a:avLst>
                <a:gd name="adj" fmla="val 14597"/>
              </a:avLst>
            </a:prstGeom>
            <a:gradFill>
              <a:gsLst>
                <a:gs pos="0">
                  <a:schemeClr val="accent3"/>
                </a:gs>
                <a:gs pos="100000">
                  <a:schemeClr val="accent4"/>
                </a:gs>
              </a:gsLst>
              <a:lin ang="8100000" scaled="1"/>
            </a:gradFill>
            <a:ln>
              <a:noFill/>
            </a:ln>
            <a:effectLst>
              <a:outerShdw blurRad="355600" dist="228600" dir="5400000" sx="97000" sy="97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alibri"/>
                <a:ea typeface="微软雅黑"/>
                <a:cs typeface="+mn-ea"/>
                <a:sym typeface="Calibri"/>
              </a:endParaRPr>
            </a:p>
          </p:txBody>
        </p:sp>
        <p:sp>
          <p:nvSpPr>
            <p:cNvPr id="37" name="TextBox 36"/>
            <p:cNvSpPr txBox="1"/>
            <p:nvPr/>
          </p:nvSpPr>
          <p:spPr>
            <a:xfrm>
              <a:off x="2443152" y="3256053"/>
              <a:ext cx="2460554" cy="333617"/>
            </a:xfrm>
            <a:prstGeom prst="rect">
              <a:avLst/>
            </a:prstGeom>
            <a:noFill/>
          </p:spPr>
          <p:txBody>
            <a:bodyPr wrap="square" rtlCol="0">
              <a:spAutoFit/>
            </a:bodyPr>
            <a:lstStyle/>
            <a:p>
              <a:pPr>
                <a:lnSpc>
                  <a:spcPct val="120000"/>
                </a:lnSpc>
              </a:pPr>
              <a:r>
                <a:rPr lang="en-US" sz="1400" b="1" dirty="0">
                  <a:solidFill>
                    <a:schemeClr val="bg1"/>
                  </a:solidFill>
                  <a:latin typeface="Calibri"/>
                  <a:ea typeface="微软雅黑"/>
                  <a:cs typeface="+mn-ea"/>
                  <a:sym typeface="Calibri"/>
                </a:rPr>
                <a:t>Online Training</a:t>
              </a:r>
            </a:p>
          </p:txBody>
        </p:sp>
        <p:sp>
          <p:nvSpPr>
            <p:cNvPr id="38" name="TextBox 37"/>
            <p:cNvSpPr txBox="1"/>
            <p:nvPr/>
          </p:nvSpPr>
          <p:spPr>
            <a:xfrm>
              <a:off x="1748558" y="3190298"/>
              <a:ext cx="652322" cy="437043"/>
            </a:xfrm>
            <a:prstGeom prst="rect">
              <a:avLst/>
            </a:prstGeom>
            <a:noFill/>
          </p:spPr>
          <p:txBody>
            <a:bodyPr wrap="square" rtlCol="0">
              <a:spAutoFit/>
            </a:bodyPr>
            <a:lstStyle/>
            <a:p>
              <a:pPr>
                <a:lnSpc>
                  <a:spcPct val="120000"/>
                </a:lnSpc>
              </a:pPr>
              <a:r>
                <a:rPr lang="en-US" sz="2000" b="1" dirty="0">
                  <a:solidFill>
                    <a:schemeClr val="bg1"/>
                  </a:solidFill>
                  <a:latin typeface="Calibri"/>
                  <a:ea typeface="微软雅黑"/>
                  <a:cs typeface="+mn-ea"/>
                  <a:sym typeface="Calibri"/>
                </a:rPr>
                <a:t>03.</a:t>
              </a:r>
            </a:p>
          </p:txBody>
        </p:sp>
      </p:grpSp>
      <p:grpSp>
        <p:nvGrpSpPr>
          <p:cNvPr id="39" name="Group 3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067368" y="4585826"/>
            <a:ext cx="3210232" cy="657208"/>
            <a:chOff x="1524000" y="3105190"/>
            <a:chExt cx="3410856" cy="657208"/>
          </a:xfrm>
        </p:grpSpPr>
        <p:sp>
          <p:nvSpPr>
            <p:cNvPr id="40" name="Rectangle: Rounded Corners 39"/>
            <p:cNvSpPr/>
            <p:nvPr/>
          </p:nvSpPr>
          <p:spPr>
            <a:xfrm>
              <a:off x="1524000" y="3105190"/>
              <a:ext cx="3410856" cy="657208"/>
            </a:xfrm>
            <a:prstGeom prst="roundRect">
              <a:avLst>
                <a:gd name="adj" fmla="val 14597"/>
              </a:avLst>
            </a:prstGeom>
            <a:solidFill>
              <a:schemeClr val="bg1"/>
            </a:solidFill>
            <a:ln>
              <a:noFill/>
            </a:ln>
            <a:effectLst>
              <a:outerShdw blurRad="355600" dist="228600" dir="5400000" sx="97000" sy="97000" algn="t" rotWithShape="0">
                <a:prstClr val="black">
                  <a:alpha val="8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Calibri"/>
                <a:ea typeface="微软雅黑"/>
                <a:cs typeface="+mn-ea"/>
                <a:sym typeface="Calibri"/>
              </a:endParaRPr>
            </a:p>
          </p:txBody>
        </p:sp>
        <p:sp>
          <p:nvSpPr>
            <p:cNvPr id="41" name="TextBox 40"/>
            <p:cNvSpPr txBox="1"/>
            <p:nvPr/>
          </p:nvSpPr>
          <p:spPr>
            <a:xfrm>
              <a:off x="2443152" y="3256053"/>
              <a:ext cx="2460554" cy="333617"/>
            </a:xfrm>
            <a:prstGeom prst="rect">
              <a:avLst/>
            </a:prstGeom>
            <a:noFill/>
          </p:spPr>
          <p:txBody>
            <a:bodyPr wrap="square" rtlCol="0">
              <a:spAutoFit/>
            </a:bodyPr>
            <a:lstStyle/>
            <a:p>
              <a:pPr>
                <a:lnSpc>
                  <a:spcPct val="120000"/>
                </a:lnSpc>
              </a:pPr>
              <a:r>
                <a:rPr lang="en-US" sz="1400" b="1" dirty="0">
                  <a:solidFill>
                    <a:srgbClr val="232A4E"/>
                  </a:solidFill>
                  <a:latin typeface="Calibri"/>
                  <a:ea typeface="微软雅黑"/>
                  <a:cs typeface="+mn-ea"/>
                  <a:sym typeface="Calibri"/>
                </a:rPr>
                <a:t>Play Coding</a:t>
              </a:r>
            </a:p>
          </p:txBody>
        </p:sp>
        <p:sp>
          <p:nvSpPr>
            <p:cNvPr id="42" name="TextBox 41"/>
            <p:cNvSpPr txBox="1"/>
            <p:nvPr/>
          </p:nvSpPr>
          <p:spPr>
            <a:xfrm>
              <a:off x="1748558" y="3190298"/>
              <a:ext cx="652322" cy="437043"/>
            </a:xfrm>
            <a:prstGeom prst="rect">
              <a:avLst/>
            </a:prstGeom>
            <a:noFill/>
          </p:spPr>
          <p:txBody>
            <a:bodyPr wrap="square" rtlCol="0">
              <a:spAutoFit/>
            </a:bodyPr>
            <a:lstStyle/>
            <a:p>
              <a:pPr>
                <a:lnSpc>
                  <a:spcPct val="120000"/>
                </a:lnSpc>
              </a:pPr>
              <a:r>
                <a:rPr lang="en-US" sz="2000" b="1" dirty="0">
                  <a:solidFill>
                    <a:schemeClr val="accent4"/>
                  </a:solidFill>
                  <a:latin typeface="Calibri"/>
                  <a:ea typeface="微软雅黑"/>
                  <a:cs typeface="+mn-ea"/>
                  <a:sym typeface="Calibri"/>
                </a:rPr>
                <a:t>04.</a:t>
              </a:r>
            </a:p>
          </p:txBody>
        </p:sp>
      </p:grpSp>
      <p:pic>
        <p:nvPicPr>
          <p:cNvPr id="6" name="图片 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4">
            <a:extLst>
              <a:ext uri="{28A0092B-C50C-407E-A947-70E740481C1C}">
                <a14:useLocalDpi xmlns:a14="http://schemas.microsoft.com/office/drawing/2010/main"/>
              </a:ext>
            </a:extLst>
          </a:blip>
          <a:stretch>
            <a:fillRect/>
          </a:stretch>
        </p:blipFill>
        <p:spPr>
          <a:xfrm rot="16785261">
            <a:off x="957055" y="508666"/>
            <a:ext cx="1549090" cy="1560098"/>
          </a:xfrm>
          <a:prstGeom prst="rect">
            <a:avLst/>
          </a:prstGeom>
        </p:spPr>
      </p:pic>
      <p:pic>
        <p:nvPicPr>
          <p:cNvPr id="7" name="图片 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481621" y="5580082"/>
            <a:ext cx="1458163" cy="1009702"/>
          </a:xfrm>
          <a:prstGeom prst="rect">
            <a:avLst/>
          </a:prstGeom>
        </p:spPr>
      </p:pic>
      <p:pic>
        <p:nvPicPr>
          <p:cNvPr id="8" name="图片 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8899" y="4083851"/>
            <a:ext cx="1979222" cy="2417478"/>
          </a:xfrm>
          <a:prstGeom prst="rect">
            <a:avLst/>
          </a:prstGeom>
        </p:spPr>
      </p:pic>
      <p:sp>
        <p:nvSpPr>
          <p:cNvPr id="9"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470858" y="238095"/>
            <a:ext cx="7073789" cy="6227806"/>
          </a:xfrm>
          <a:prstGeom prst="rect">
            <a:avLst/>
          </a:prstGeom>
        </p:spPr>
      </p:pic>
      <p:pic>
        <p:nvPicPr>
          <p:cNvPr id="2" name="图片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rotWithShape="1">
          <a:blip r:embed="rId4" cstate="screen">
            <a:extLst>
              <a:ext uri="{28A0092B-C50C-407E-A947-70E740481C1C}">
                <a14:useLocalDpi xmlns:a14="http://schemas.microsoft.com/office/drawing/2010/main"/>
              </a:ext>
            </a:extLst>
          </a:blip>
          <a:srcRect/>
          <a:stretch>
            <a:fillRect/>
          </a:stretch>
        </p:blipFill>
        <p:spPr>
          <a:xfrm rot="9061865">
            <a:off x="-1684422" y="-943275"/>
            <a:ext cx="3688413" cy="2988644"/>
          </a:xfrm>
          <a:prstGeom prst="rect">
            <a:avLst/>
          </a:prstGeom>
        </p:spPr>
      </p:pic>
      <p:sp>
        <p:nvSpPr>
          <p:cNvPr id="5" name="文本框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731372" y="1432366"/>
            <a:ext cx="1037463" cy="1107996"/>
          </a:xfrm>
          <a:prstGeom prst="rect">
            <a:avLst/>
          </a:prstGeom>
          <a:noFill/>
        </p:spPr>
        <p:txBody>
          <a:bodyPr wrap="none" rtlCol="0">
            <a:spAutoFit/>
          </a:bodyPr>
          <a:lstStyle/>
          <a:p>
            <a:r>
              <a:rPr lang="en-US" altLang="zh-CN" sz="6600" b="1" dirty="0">
                <a:gradFill>
                  <a:gsLst>
                    <a:gs pos="87000">
                      <a:schemeClr val="accent1">
                        <a:lumMod val="5000"/>
                        <a:lumOff val="95000"/>
                        <a:alpha val="46000"/>
                      </a:schemeClr>
                    </a:gs>
                    <a:gs pos="0">
                      <a:srgbClr val="8C9EF4"/>
                    </a:gs>
                  </a:gsLst>
                  <a:lin ang="5400000" scaled="1"/>
                </a:gradFill>
                <a:latin typeface="Calibri"/>
                <a:ea typeface="微软雅黑"/>
                <a:cs typeface="+mn-ea"/>
                <a:sym typeface="Calibri"/>
              </a:rPr>
              <a:t>01</a:t>
            </a:r>
            <a:endParaRPr lang="zh-CN" altLang="en-US" sz="6600" b="1" dirty="0">
              <a:gradFill>
                <a:gsLst>
                  <a:gs pos="87000">
                    <a:schemeClr val="accent1">
                      <a:lumMod val="5000"/>
                      <a:lumOff val="95000"/>
                      <a:alpha val="46000"/>
                    </a:schemeClr>
                  </a:gs>
                  <a:gs pos="0">
                    <a:srgbClr val="8C9EF4"/>
                  </a:gs>
                </a:gsLst>
                <a:lin ang="5400000" scaled="1"/>
              </a:gradFill>
              <a:latin typeface="Calibri"/>
              <a:ea typeface="微软雅黑"/>
              <a:cs typeface="+mn-ea"/>
              <a:sym typeface="Calibri"/>
            </a:endParaRPr>
          </a:p>
        </p:txBody>
      </p:sp>
      <p:sp>
        <p:nvSpPr>
          <p:cNvPr id="6" name="文本框 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870896" y="2088447"/>
            <a:ext cx="933782" cy="307777"/>
          </a:xfrm>
          <a:prstGeom prst="rect">
            <a:avLst/>
          </a:prstGeom>
          <a:noFill/>
        </p:spPr>
        <p:txBody>
          <a:bodyPr wrap="none" rtlCol="0">
            <a:spAutoFit/>
          </a:bodyPr>
          <a:lstStyle/>
          <a:p>
            <a:pPr algn="ctr"/>
            <a:r>
              <a:rPr lang="en-US" altLang="zh-CN" sz="1400" b="1" dirty="0">
                <a:solidFill>
                  <a:schemeClr val="tx1">
                    <a:lumMod val="50000"/>
                    <a:lumOff val="50000"/>
                  </a:schemeClr>
                </a:solidFill>
                <a:latin typeface="Calibri"/>
                <a:ea typeface="微软雅黑"/>
                <a:cs typeface="+mn-ea"/>
                <a:sym typeface="Calibri"/>
              </a:rPr>
              <a:t>PART ONE</a:t>
            </a:r>
            <a:endParaRPr lang="zh-CN" altLang="en-US" sz="1400" b="1" dirty="0">
              <a:solidFill>
                <a:schemeClr val="tx1">
                  <a:lumMod val="50000"/>
                  <a:lumOff val="50000"/>
                </a:schemeClr>
              </a:solidFill>
              <a:latin typeface="Calibri"/>
              <a:ea typeface="微软雅黑"/>
              <a:cs typeface="+mn-ea"/>
              <a:sym typeface="Calibri"/>
            </a:endParaRPr>
          </a:p>
        </p:txBody>
      </p:sp>
      <p:sp>
        <p:nvSpPr>
          <p:cNvPr id="7" name="Rectangle 2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114028" y="1755532"/>
            <a:ext cx="3392874" cy="784830"/>
          </a:xfrm>
          <a:prstGeom prst="rect">
            <a:avLst/>
          </a:prstGeom>
        </p:spPr>
        <p:txBody>
          <a:bodyPr wrap="square">
            <a:spAutoFit/>
          </a:bodyPr>
          <a:lstStyle/>
          <a:p>
            <a:r>
              <a:rPr lang="en-US" sz="1200" b="1" dirty="0">
                <a:solidFill>
                  <a:schemeClr val="tx1">
                    <a:lumMod val="50000"/>
                    <a:lumOff val="50000"/>
                  </a:schemeClr>
                </a:solidFill>
                <a:latin typeface="Calibri"/>
                <a:ea typeface="微软雅黑"/>
                <a:cs typeface="+mn-ea"/>
                <a:sym typeface="Calibri"/>
              </a:rPr>
              <a:t>Hey, hey, hey! It's Fat Company! </a:t>
            </a:r>
          </a:p>
          <a:p>
            <a:r>
              <a:rPr lang="en-US" sz="1100" dirty="0">
                <a:solidFill>
                  <a:schemeClr val="tx1">
                    <a:lumMod val="50000"/>
                    <a:lumOff val="50000"/>
                  </a:schemeClr>
                </a:solidFill>
                <a:latin typeface="Calibri"/>
                <a:ea typeface="微软雅黑"/>
                <a:cs typeface="+mn-ea"/>
                <a:sym typeface="Calibri"/>
              </a:rPr>
              <a:t>Now I'm </a:t>
            </a:r>
            <a:r>
              <a:rPr lang="en-US" sz="1100" dirty="0" err="1">
                <a:solidFill>
                  <a:schemeClr val="tx1">
                    <a:lumMod val="50000"/>
                    <a:lumOff val="50000"/>
                  </a:schemeClr>
                </a:solidFill>
                <a:latin typeface="Calibri"/>
                <a:ea typeface="微软雅黑"/>
                <a:cs typeface="+mn-ea"/>
                <a:sym typeface="Calibri"/>
              </a:rPr>
              <a:t>gonna</a:t>
            </a:r>
            <a:r>
              <a:rPr lang="en-US" sz="1100" dirty="0">
                <a:solidFill>
                  <a:schemeClr val="tx1">
                    <a:lumMod val="50000"/>
                    <a:lumOff val="50000"/>
                  </a:schemeClr>
                </a:solidFill>
                <a:latin typeface="Calibri"/>
                <a:ea typeface="微软雅黑"/>
                <a:cs typeface="+mn-ea"/>
                <a:sym typeface="Calibri"/>
              </a:rPr>
              <a:t> sing a song for you, and this is </a:t>
            </a:r>
            <a:r>
              <a:rPr lang="en-US" sz="1100" dirty="0" err="1">
                <a:solidFill>
                  <a:schemeClr val="tx1">
                    <a:lumMod val="50000"/>
                    <a:lumOff val="50000"/>
                  </a:schemeClr>
                </a:solidFill>
                <a:latin typeface="Calibri"/>
                <a:ea typeface="微软雅黑"/>
                <a:cs typeface="+mn-ea"/>
                <a:sym typeface="Calibri"/>
              </a:rPr>
              <a:t>gonna</a:t>
            </a:r>
            <a:r>
              <a:rPr lang="en-US" sz="1100" dirty="0">
                <a:solidFill>
                  <a:schemeClr val="tx1">
                    <a:lumMod val="50000"/>
                    <a:lumOff val="50000"/>
                  </a:schemeClr>
                </a:solidFill>
                <a:latin typeface="Calibri"/>
                <a:ea typeface="微软雅黑"/>
                <a:cs typeface="+mn-ea"/>
                <a:sym typeface="Calibri"/>
              </a:rPr>
              <a:t> show you a thing or two. You'll have some fun now With me and the gang, learning</a:t>
            </a:r>
          </a:p>
        </p:txBody>
      </p:sp>
      <p:sp>
        <p:nvSpPr>
          <p:cNvPr id="8" name="文本框 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731372" y="2549008"/>
            <a:ext cx="1037463" cy="1107996"/>
          </a:xfrm>
          <a:prstGeom prst="rect">
            <a:avLst/>
          </a:prstGeom>
          <a:noFill/>
        </p:spPr>
        <p:txBody>
          <a:bodyPr wrap="none" rtlCol="0">
            <a:spAutoFit/>
          </a:bodyPr>
          <a:lstStyle/>
          <a:p>
            <a:r>
              <a:rPr lang="en-US" altLang="zh-CN" sz="6600" b="1" dirty="0">
                <a:gradFill>
                  <a:gsLst>
                    <a:gs pos="87000">
                      <a:schemeClr val="accent1">
                        <a:lumMod val="5000"/>
                        <a:lumOff val="95000"/>
                        <a:alpha val="46000"/>
                      </a:schemeClr>
                    </a:gs>
                    <a:gs pos="0">
                      <a:srgbClr val="8C9EF4"/>
                    </a:gs>
                  </a:gsLst>
                  <a:lin ang="5400000" scaled="1"/>
                </a:gradFill>
                <a:latin typeface="Calibri"/>
                <a:ea typeface="微软雅黑"/>
                <a:cs typeface="+mn-ea"/>
                <a:sym typeface="Calibri"/>
              </a:rPr>
              <a:t>02</a:t>
            </a:r>
            <a:endParaRPr lang="zh-CN" altLang="en-US" sz="6600" b="1" dirty="0">
              <a:gradFill>
                <a:gsLst>
                  <a:gs pos="87000">
                    <a:schemeClr val="accent1">
                      <a:lumMod val="5000"/>
                      <a:lumOff val="95000"/>
                      <a:alpha val="46000"/>
                    </a:schemeClr>
                  </a:gs>
                  <a:gs pos="0">
                    <a:srgbClr val="8C9EF4"/>
                  </a:gs>
                </a:gsLst>
                <a:lin ang="5400000" scaled="1"/>
              </a:gradFill>
              <a:latin typeface="Calibri"/>
              <a:ea typeface="微软雅黑"/>
              <a:cs typeface="+mn-ea"/>
              <a:sym typeface="Calibri"/>
            </a:endParaRPr>
          </a:p>
        </p:txBody>
      </p:sp>
      <p:sp>
        <p:nvSpPr>
          <p:cNvPr id="9" name="文本框 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896063" y="3256033"/>
            <a:ext cx="976486" cy="307777"/>
          </a:xfrm>
          <a:prstGeom prst="rect">
            <a:avLst/>
          </a:prstGeom>
          <a:noFill/>
        </p:spPr>
        <p:txBody>
          <a:bodyPr wrap="none" rtlCol="0">
            <a:spAutoFit/>
          </a:bodyPr>
          <a:lstStyle/>
          <a:p>
            <a:pPr algn="ctr"/>
            <a:r>
              <a:rPr lang="en-US" altLang="zh-CN" sz="1400" b="1" dirty="0">
                <a:solidFill>
                  <a:schemeClr val="tx1">
                    <a:lumMod val="50000"/>
                    <a:lumOff val="50000"/>
                  </a:schemeClr>
                </a:solidFill>
                <a:latin typeface="Calibri"/>
                <a:ea typeface="微软雅黑"/>
                <a:cs typeface="+mn-ea"/>
                <a:sym typeface="Calibri"/>
              </a:rPr>
              <a:t>PART TWO</a:t>
            </a:r>
            <a:endParaRPr lang="zh-CN" altLang="en-US" sz="1400" b="1" dirty="0">
              <a:solidFill>
                <a:schemeClr val="tx1">
                  <a:lumMod val="50000"/>
                  <a:lumOff val="50000"/>
                </a:schemeClr>
              </a:solidFill>
              <a:latin typeface="Calibri"/>
              <a:ea typeface="微软雅黑"/>
              <a:cs typeface="+mn-ea"/>
              <a:sym typeface="Calibri"/>
            </a:endParaRPr>
          </a:p>
        </p:txBody>
      </p:sp>
      <p:sp>
        <p:nvSpPr>
          <p:cNvPr id="10" name="Rectangle 2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160548" y="2923118"/>
            <a:ext cx="3392874" cy="784830"/>
          </a:xfrm>
          <a:prstGeom prst="rect">
            <a:avLst/>
          </a:prstGeom>
        </p:spPr>
        <p:txBody>
          <a:bodyPr wrap="square">
            <a:spAutoFit/>
          </a:bodyPr>
          <a:lstStyle/>
          <a:p>
            <a:r>
              <a:rPr lang="en-US" sz="1200" b="1" dirty="0">
                <a:solidFill>
                  <a:schemeClr val="tx1">
                    <a:lumMod val="50000"/>
                    <a:lumOff val="50000"/>
                  </a:schemeClr>
                </a:solidFill>
                <a:latin typeface="Calibri"/>
                <a:ea typeface="微软雅黑"/>
                <a:cs typeface="+mn-ea"/>
                <a:sym typeface="Calibri"/>
              </a:rPr>
              <a:t>Hey, hey, hey! It's Fat Company! </a:t>
            </a:r>
          </a:p>
          <a:p>
            <a:r>
              <a:rPr lang="en-US" sz="1100" dirty="0">
                <a:solidFill>
                  <a:schemeClr val="tx1">
                    <a:lumMod val="50000"/>
                    <a:lumOff val="50000"/>
                  </a:schemeClr>
                </a:solidFill>
                <a:latin typeface="Calibri"/>
                <a:ea typeface="微软雅黑"/>
                <a:cs typeface="+mn-ea"/>
                <a:sym typeface="Calibri"/>
              </a:rPr>
              <a:t>Now I'm </a:t>
            </a:r>
            <a:r>
              <a:rPr lang="en-US" sz="1100" dirty="0" err="1">
                <a:solidFill>
                  <a:schemeClr val="tx1">
                    <a:lumMod val="50000"/>
                    <a:lumOff val="50000"/>
                  </a:schemeClr>
                </a:solidFill>
                <a:latin typeface="Calibri"/>
                <a:ea typeface="微软雅黑"/>
                <a:cs typeface="+mn-ea"/>
                <a:sym typeface="Calibri"/>
              </a:rPr>
              <a:t>gonna</a:t>
            </a:r>
            <a:r>
              <a:rPr lang="en-US" sz="1100" dirty="0">
                <a:solidFill>
                  <a:schemeClr val="tx1">
                    <a:lumMod val="50000"/>
                    <a:lumOff val="50000"/>
                  </a:schemeClr>
                </a:solidFill>
                <a:latin typeface="Calibri"/>
                <a:ea typeface="微软雅黑"/>
                <a:cs typeface="+mn-ea"/>
                <a:sym typeface="Calibri"/>
              </a:rPr>
              <a:t> sing a song for you, and this is </a:t>
            </a:r>
            <a:r>
              <a:rPr lang="en-US" sz="1100" dirty="0" err="1">
                <a:solidFill>
                  <a:schemeClr val="tx1">
                    <a:lumMod val="50000"/>
                    <a:lumOff val="50000"/>
                  </a:schemeClr>
                </a:solidFill>
                <a:latin typeface="Calibri"/>
                <a:ea typeface="微软雅黑"/>
                <a:cs typeface="+mn-ea"/>
                <a:sym typeface="Calibri"/>
              </a:rPr>
              <a:t>gonna</a:t>
            </a:r>
            <a:r>
              <a:rPr lang="en-US" sz="1100" dirty="0">
                <a:solidFill>
                  <a:schemeClr val="tx1">
                    <a:lumMod val="50000"/>
                    <a:lumOff val="50000"/>
                  </a:schemeClr>
                </a:solidFill>
                <a:latin typeface="Calibri"/>
                <a:ea typeface="微软雅黑"/>
                <a:cs typeface="+mn-ea"/>
                <a:sym typeface="Calibri"/>
              </a:rPr>
              <a:t> show you a thing or two. You'll have some fun now With me and the gang, learning</a:t>
            </a:r>
          </a:p>
        </p:txBody>
      </p:sp>
      <p:sp>
        <p:nvSpPr>
          <p:cNvPr id="11" name="文本框 1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731372" y="3742847"/>
            <a:ext cx="1037463" cy="1107996"/>
          </a:xfrm>
          <a:prstGeom prst="rect">
            <a:avLst/>
          </a:prstGeom>
          <a:noFill/>
        </p:spPr>
        <p:txBody>
          <a:bodyPr wrap="none" rtlCol="0">
            <a:spAutoFit/>
          </a:bodyPr>
          <a:lstStyle/>
          <a:p>
            <a:r>
              <a:rPr lang="en-US" altLang="zh-CN" sz="6600" b="1" dirty="0">
                <a:gradFill>
                  <a:gsLst>
                    <a:gs pos="87000">
                      <a:schemeClr val="accent1">
                        <a:lumMod val="5000"/>
                        <a:lumOff val="95000"/>
                        <a:alpha val="46000"/>
                      </a:schemeClr>
                    </a:gs>
                    <a:gs pos="0">
                      <a:srgbClr val="8C9EF4"/>
                    </a:gs>
                  </a:gsLst>
                  <a:lin ang="5400000" scaled="1"/>
                </a:gradFill>
                <a:latin typeface="Calibri"/>
                <a:ea typeface="微软雅黑"/>
                <a:cs typeface="+mn-ea"/>
                <a:sym typeface="Calibri"/>
              </a:rPr>
              <a:t>03</a:t>
            </a:r>
            <a:endParaRPr lang="zh-CN" altLang="en-US" sz="6600" b="1" dirty="0">
              <a:gradFill>
                <a:gsLst>
                  <a:gs pos="87000">
                    <a:schemeClr val="accent1">
                      <a:lumMod val="5000"/>
                      <a:lumOff val="95000"/>
                      <a:alpha val="46000"/>
                    </a:schemeClr>
                  </a:gs>
                  <a:gs pos="0">
                    <a:srgbClr val="8C9EF4"/>
                  </a:gs>
                </a:gsLst>
                <a:lin ang="5400000" scaled="1"/>
              </a:gradFill>
              <a:latin typeface="Calibri"/>
              <a:ea typeface="微软雅黑"/>
              <a:cs typeface="+mn-ea"/>
              <a:sym typeface="Calibri"/>
            </a:endParaRPr>
          </a:p>
        </p:txBody>
      </p:sp>
      <p:sp>
        <p:nvSpPr>
          <p:cNvPr id="12" name="文本框 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862144" y="4456605"/>
            <a:ext cx="954107" cy="276999"/>
          </a:xfrm>
          <a:prstGeom prst="rect">
            <a:avLst/>
          </a:prstGeom>
          <a:noFill/>
        </p:spPr>
        <p:txBody>
          <a:bodyPr wrap="none" rtlCol="0">
            <a:spAutoFit/>
          </a:bodyPr>
          <a:lstStyle/>
          <a:p>
            <a:pPr algn="ctr"/>
            <a:r>
              <a:rPr lang="en-US" altLang="zh-CN" sz="1200" b="1" dirty="0">
                <a:solidFill>
                  <a:schemeClr val="tx1">
                    <a:lumMod val="50000"/>
                    <a:lumOff val="50000"/>
                  </a:schemeClr>
                </a:solidFill>
                <a:latin typeface="Calibri"/>
                <a:ea typeface="微软雅黑"/>
                <a:cs typeface="+mn-ea"/>
                <a:sym typeface="Calibri"/>
              </a:rPr>
              <a:t>PART THREE</a:t>
            </a:r>
            <a:endParaRPr lang="zh-CN" altLang="en-US" sz="1200" b="1" dirty="0">
              <a:solidFill>
                <a:schemeClr val="tx1">
                  <a:lumMod val="50000"/>
                  <a:lumOff val="50000"/>
                </a:schemeClr>
              </a:solidFill>
              <a:latin typeface="Calibri"/>
              <a:ea typeface="微软雅黑"/>
              <a:cs typeface="+mn-ea"/>
              <a:sym typeface="Calibri"/>
            </a:endParaRPr>
          </a:p>
        </p:txBody>
      </p:sp>
      <p:sp>
        <p:nvSpPr>
          <p:cNvPr id="13" name="Rectangle 2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056733" y="4090703"/>
            <a:ext cx="3392874" cy="784830"/>
          </a:xfrm>
          <a:prstGeom prst="rect">
            <a:avLst/>
          </a:prstGeom>
        </p:spPr>
        <p:txBody>
          <a:bodyPr wrap="square">
            <a:spAutoFit/>
          </a:bodyPr>
          <a:lstStyle/>
          <a:p>
            <a:r>
              <a:rPr lang="en-US" sz="1200" b="1" dirty="0">
                <a:solidFill>
                  <a:schemeClr val="tx1">
                    <a:lumMod val="50000"/>
                    <a:lumOff val="50000"/>
                  </a:schemeClr>
                </a:solidFill>
                <a:latin typeface="Calibri"/>
                <a:ea typeface="微软雅黑"/>
                <a:cs typeface="+mn-ea"/>
                <a:sym typeface="Calibri"/>
              </a:rPr>
              <a:t>Hey, hey, hey! It's Fat Company! </a:t>
            </a:r>
          </a:p>
          <a:p>
            <a:r>
              <a:rPr lang="en-US" sz="1100" dirty="0">
                <a:solidFill>
                  <a:schemeClr val="tx1">
                    <a:lumMod val="50000"/>
                    <a:lumOff val="50000"/>
                  </a:schemeClr>
                </a:solidFill>
                <a:latin typeface="Calibri"/>
                <a:ea typeface="微软雅黑"/>
                <a:cs typeface="+mn-ea"/>
                <a:sym typeface="Calibri"/>
              </a:rPr>
              <a:t>Now I'm </a:t>
            </a:r>
            <a:r>
              <a:rPr lang="en-US" sz="1100" dirty="0" err="1">
                <a:solidFill>
                  <a:schemeClr val="tx1">
                    <a:lumMod val="50000"/>
                    <a:lumOff val="50000"/>
                  </a:schemeClr>
                </a:solidFill>
                <a:latin typeface="Calibri"/>
                <a:ea typeface="微软雅黑"/>
                <a:cs typeface="+mn-ea"/>
                <a:sym typeface="Calibri"/>
              </a:rPr>
              <a:t>gonna</a:t>
            </a:r>
            <a:r>
              <a:rPr lang="en-US" sz="1100" dirty="0">
                <a:solidFill>
                  <a:schemeClr val="tx1">
                    <a:lumMod val="50000"/>
                    <a:lumOff val="50000"/>
                  </a:schemeClr>
                </a:solidFill>
                <a:latin typeface="Calibri"/>
                <a:ea typeface="微软雅黑"/>
                <a:cs typeface="+mn-ea"/>
                <a:sym typeface="Calibri"/>
              </a:rPr>
              <a:t> sing a song for you, and this is </a:t>
            </a:r>
            <a:r>
              <a:rPr lang="en-US" sz="1100" dirty="0" err="1">
                <a:solidFill>
                  <a:schemeClr val="tx1">
                    <a:lumMod val="50000"/>
                    <a:lumOff val="50000"/>
                  </a:schemeClr>
                </a:solidFill>
                <a:latin typeface="Calibri"/>
                <a:ea typeface="微软雅黑"/>
                <a:cs typeface="+mn-ea"/>
                <a:sym typeface="Calibri"/>
              </a:rPr>
              <a:t>gonna</a:t>
            </a:r>
            <a:r>
              <a:rPr lang="en-US" sz="1100" dirty="0">
                <a:solidFill>
                  <a:schemeClr val="tx1">
                    <a:lumMod val="50000"/>
                    <a:lumOff val="50000"/>
                  </a:schemeClr>
                </a:solidFill>
                <a:latin typeface="Calibri"/>
                <a:ea typeface="微软雅黑"/>
                <a:cs typeface="+mn-ea"/>
                <a:sym typeface="Calibri"/>
              </a:rPr>
              <a:t> show you a thing or two. You'll have some fun now With me and the gang, learning</a:t>
            </a:r>
          </a:p>
        </p:txBody>
      </p:sp>
      <p:sp>
        <p:nvSpPr>
          <p:cNvPr id="14" name="文本框 1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731372" y="4904856"/>
            <a:ext cx="1037463" cy="1107996"/>
          </a:xfrm>
          <a:prstGeom prst="rect">
            <a:avLst/>
          </a:prstGeom>
          <a:noFill/>
        </p:spPr>
        <p:txBody>
          <a:bodyPr wrap="none" rtlCol="0">
            <a:spAutoFit/>
          </a:bodyPr>
          <a:lstStyle/>
          <a:p>
            <a:r>
              <a:rPr lang="en-US" altLang="zh-CN" sz="6600" b="1" dirty="0">
                <a:gradFill>
                  <a:gsLst>
                    <a:gs pos="87000">
                      <a:schemeClr val="accent1">
                        <a:lumMod val="5000"/>
                        <a:lumOff val="95000"/>
                        <a:alpha val="46000"/>
                      </a:schemeClr>
                    </a:gs>
                    <a:gs pos="0">
                      <a:srgbClr val="8C9EF4"/>
                    </a:gs>
                  </a:gsLst>
                  <a:lin ang="5400000" scaled="1"/>
                </a:gradFill>
                <a:latin typeface="Calibri"/>
                <a:ea typeface="微软雅黑"/>
                <a:cs typeface="+mn-ea"/>
                <a:sym typeface="Calibri"/>
              </a:rPr>
              <a:t>04</a:t>
            </a:r>
            <a:endParaRPr lang="zh-CN" altLang="en-US" sz="6600" b="1" dirty="0">
              <a:gradFill>
                <a:gsLst>
                  <a:gs pos="87000">
                    <a:schemeClr val="accent1">
                      <a:lumMod val="5000"/>
                      <a:lumOff val="95000"/>
                      <a:alpha val="46000"/>
                    </a:schemeClr>
                  </a:gs>
                  <a:gs pos="0">
                    <a:srgbClr val="8C9EF4"/>
                  </a:gs>
                </a:gsLst>
                <a:lin ang="5400000" scaled="1"/>
              </a:gradFill>
              <a:latin typeface="Calibri"/>
              <a:ea typeface="微软雅黑"/>
              <a:cs typeface="+mn-ea"/>
              <a:sym typeface="Calibri"/>
            </a:endParaRPr>
          </a:p>
        </p:txBody>
      </p:sp>
      <p:sp>
        <p:nvSpPr>
          <p:cNvPr id="15" name="文本框 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918859" y="5591204"/>
            <a:ext cx="1025410" cy="307777"/>
          </a:xfrm>
          <a:prstGeom prst="rect">
            <a:avLst/>
          </a:prstGeom>
          <a:noFill/>
        </p:spPr>
        <p:txBody>
          <a:bodyPr wrap="none" rtlCol="0">
            <a:spAutoFit/>
          </a:bodyPr>
          <a:lstStyle/>
          <a:p>
            <a:pPr algn="ctr"/>
            <a:r>
              <a:rPr lang="en-US" altLang="zh-CN" sz="1400" b="1" dirty="0">
                <a:solidFill>
                  <a:schemeClr val="tx1">
                    <a:lumMod val="50000"/>
                    <a:lumOff val="50000"/>
                  </a:schemeClr>
                </a:solidFill>
                <a:latin typeface="Calibri"/>
                <a:ea typeface="微软雅黑"/>
                <a:cs typeface="+mn-ea"/>
                <a:sym typeface="Calibri"/>
              </a:rPr>
              <a:t>PART FOUR</a:t>
            </a:r>
            <a:endParaRPr lang="zh-CN" altLang="en-US" sz="1400" b="1" dirty="0">
              <a:solidFill>
                <a:schemeClr val="tx1">
                  <a:lumMod val="50000"/>
                  <a:lumOff val="50000"/>
                </a:schemeClr>
              </a:solidFill>
              <a:latin typeface="Calibri"/>
              <a:ea typeface="微软雅黑"/>
              <a:cs typeface="+mn-ea"/>
              <a:sym typeface="Calibri"/>
            </a:endParaRPr>
          </a:p>
        </p:txBody>
      </p:sp>
      <p:sp>
        <p:nvSpPr>
          <p:cNvPr id="16" name="Rectangle 2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207804" y="5258289"/>
            <a:ext cx="3392874" cy="784830"/>
          </a:xfrm>
          <a:prstGeom prst="rect">
            <a:avLst/>
          </a:prstGeom>
        </p:spPr>
        <p:txBody>
          <a:bodyPr wrap="square">
            <a:spAutoFit/>
          </a:bodyPr>
          <a:lstStyle/>
          <a:p>
            <a:r>
              <a:rPr lang="en-US" sz="1200" b="1" dirty="0">
                <a:solidFill>
                  <a:schemeClr val="tx1">
                    <a:lumMod val="50000"/>
                    <a:lumOff val="50000"/>
                  </a:schemeClr>
                </a:solidFill>
                <a:latin typeface="Calibri"/>
                <a:ea typeface="微软雅黑"/>
                <a:cs typeface="+mn-ea"/>
                <a:sym typeface="Calibri"/>
              </a:rPr>
              <a:t>Hey, hey, hey! It's Fat Company! </a:t>
            </a:r>
          </a:p>
          <a:p>
            <a:r>
              <a:rPr lang="en-US" sz="1100" dirty="0">
                <a:solidFill>
                  <a:schemeClr val="tx1">
                    <a:lumMod val="50000"/>
                    <a:lumOff val="50000"/>
                  </a:schemeClr>
                </a:solidFill>
                <a:latin typeface="Calibri"/>
                <a:ea typeface="微软雅黑"/>
                <a:cs typeface="+mn-ea"/>
                <a:sym typeface="Calibri"/>
              </a:rPr>
              <a:t>Now I'm </a:t>
            </a:r>
            <a:r>
              <a:rPr lang="en-US" sz="1100" dirty="0" err="1">
                <a:solidFill>
                  <a:schemeClr val="tx1">
                    <a:lumMod val="50000"/>
                    <a:lumOff val="50000"/>
                  </a:schemeClr>
                </a:solidFill>
                <a:latin typeface="Calibri"/>
                <a:ea typeface="微软雅黑"/>
                <a:cs typeface="+mn-ea"/>
                <a:sym typeface="Calibri"/>
              </a:rPr>
              <a:t>gonna</a:t>
            </a:r>
            <a:r>
              <a:rPr lang="en-US" sz="1100" dirty="0">
                <a:solidFill>
                  <a:schemeClr val="tx1">
                    <a:lumMod val="50000"/>
                    <a:lumOff val="50000"/>
                  </a:schemeClr>
                </a:solidFill>
                <a:latin typeface="Calibri"/>
                <a:ea typeface="微软雅黑"/>
                <a:cs typeface="+mn-ea"/>
                <a:sym typeface="Calibri"/>
              </a:rPr>
              <a:t> sing a song for you, and this is </a:t>
            </a:r>
            <a:r>
              <a:rPr lang="en-US" sz="1100" dirty="0" err="1">
                <a:solidFill>
                  <a:schemeClr val="tx1">
                    <a:lumMod val="50000"/>
                    <a:lumOff val="50000"/>
                  </a:schemeClr>
                </a:solidFill>
                <a:latin typeface="Calibri"/>
                <a:ea typeface="微软雅黑"/>
                <a:cs typeface="+mn-ea"/>
                <a:sym typeface="Calibri"/>
              </a:rPr>
              <a:t>gonna</a:t>
            </a:r>
            <a:r>
              <a:rPr lang="en-US" sz="1100" dirty="0">
                <a:solidFill>
                  <a:schemeClr val="tx1">
                    <a:lumMod val="50000"/>
                    <a:lumOff val="50000"/>
                  </a:schemeClr>
                </a:solidFill>
                <a:latin typeface="Calibri"/>
                <a:ea typeface="微软雅黑"/>
                <a:cs typeface="+mn-ea"/>
                <a:sym typeface="Calibri"/>
              </a:rPr>
              <a:t> show you a thing or two. You'll have some fun now With me and the gang, learning</a:t>
            </a:r>
          </a:p>
        </p:txBody>
      </p:sp>
      <p:sp>
        <p:nvSpPr>
          <p:cNvPr id="17" name="文本框 1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638453" y="546998"/>
            <a:ext cx="3407344" cy="707886"/>
          </a:xfrm>
          <a:prstGeom prst="rect">
            <a:avLst/>
          </a:prstGeom>
          <a:noFill/>
        </p:spPr>
        <p:txBody>
          <a:bodyPr wrap="square" rtlCol="0">
            <a:spAutoFit/>
          </a:bodyPr>
          <a:lstStyle/>
          <a:p>
            <a:r>
              <a:rPr lang="en-US" altLang="zh-CN" sz="4000" b="1" dirty="0">
                <a:solidFill>
                  <a:srgbClr val="1B1263"/>
                </a:solidFill>
                <a:latin typeface="Calibri"/>
                <a:ea typeface="微软雅黑"/>
                <a:cs typeface="+mn-ea"/>
                <a:sym typeface="Calibri"/>
              </a:rPr>
              <a:t>CONTENTS</a:t>
            </a:r>
            <a:endParaRPr lang="zh-CN" altLang="en-US" sz="4000" b="1" dirty="0">
              <a:solidFill>
                <a:srgbClr val="1B1263"/>
              </a:solidFill>
              <a:latin typeface="Calibri"/>
              <a:ea typeface="微软雅黑"/>
              <a:cs typeface="+mn-ea"/>
              <a:sym typeface="Calibri"/>
            </a:endParaRPr>
          </a:p>
        </p:txBody>
      </p:sp>
      <p:sp>
        <p:nvSpPr>
          <p:cNvPr id="18" name="文本框 1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360418" y="2751618"/>
            <a:ext cx="1404791" cy="369332"/>
          </a:xfrm>
          <a:prstGeom prst="rect">
            <a:avLst/>
          </a:prstGeom>
          <a:noFill/>
        </p:spPr>
        <p:txBody>
          <a:bodyPr wrap="square" rtlCol="0">
            <a:spAutoFit/>
          </a:bodyPr>
          <a:lstStyle/>
          <a:p>
            <a:pPr algn="dist"/>
            <a:r>
              <a:rPr lang="en-US" altLang="zh-CN" b="1" dirty="0">
                <a:solidFill>
                  <a:srgbClr val="1B1263"/>
                </a:solidFill>
                <a:latin typeface="Calibri"/>
                <a:ea typeface="微软雅黑"/>
                <a:cs typeface="+mn-ea"/>
                <a:sym typeface="Calibri"/>
              </a:rPr>
              <a:t>PART ONE</a:t>
            </a:r>
            <a:endParaRPr lang="zh-CN" altLang="en-US" b="1" dirty="0">
              <a:solidFill>
                <a:srgbClr val="1B1263"/>
              </a:solidFill>
              <a:latin typeface="Calibri"/>
              <a:ea typeface="微软雅黑"/>
              <a:cs typeface="+mn-ea"/>
              <a:sym typeface="Calibri"/>
            </a:endParaRPr>
          </a:p>
        </p:txBody>
      </p:sp>
      <p:sp>
        <p:nvSpPr>
          <p:cNvPr id="19" name="文本框 1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4203577" y="2752749"/>
            <a:ext cx="1404791" cy="338554"/>
          </a:xfrm>
          <a:prstGeom prst="rect">
            <a:avLst/>
          </a:prstGeom>
          <a:noFill/>
        </p:spPr>
        <p:txBody>
          <a:bodyPr wrap="square" rtlCol="0">
            <a:spAutoFit/>
          </a:bodyPr>
          <a:lstStyle/>
          <a:p>
            <a:pPr algn="dist"/>
            <a:r>
              <a:rPr lang="en-US" altLang="zh-CN" sz="1600" b="1" dirty="0">
                <a:solidFill>
                  <a:srgbClr val="1B1263"/>
                </a:solidFill>
                <a:latin typeface="Calibri"/>
                <a:ea typeface="微软雅黑"/>
                <a:cs typeface="+mn-ea"/>
                <a:sym typeface="Calibri"/>
              </a:rPr>
              <a:t>PART TWO</a:t>
            </a:r>
            <a:endParaRPr lang="zh-CN" altLang="en-US" sz="1600" b="1" dirty="0">
              <a:solidFill>
                <a:srgbClr val="1B1263"/>
              </a:solidFill>
              <a:latin typeface="Calibri"/>
              <a:ea typeface="微软雅黑"/>
              <a:cs typeface="+mn-ea"/>
              <a:sym typeface="Calibri"/>
            </a:endParaRPr>
          </a:p>
        </p:txBody>
      </p:sp>
      <p:sp>
        <p:nvSpPr>
          <p:cNvPr id="20" name="文本框 1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175886" y="5304773"/>
            <a:ext cx="1589323" cy="338554"/>
          </a:xfrm>
          <a:prstGeom prst="rect">
            <a:avLst/>
          </a:prstGeom>
          <a:noFill/>
        </p:spPr>
        <p:txBody>
          <a:bodyPr wrap="square" rtlCol="0">
            <a:spAutoFit/>
          </a:bodyPr>
          <a:lstStyle/>
          <a:p>
            <a:pPr algn="dist"/>
            <a:r>
              <a:rPr lang="en-US" altLang="zh-CN" sz="1600" b="1" dirty="0">
                <a:solidFill>
                  <a:srgbClr val="1B1263"/>
                </a:solidFill>
                <a:latin typeface="Calibri"/>
                <a:ea typeface="微软雅黑"/>
                <a:cs typeface="+mn-ea"/>
                <a:sym typeface="Calibri"/>
              </a:rPr>
              <a:t>PART THREE</a:t>
            </a:r>
            <a:endParaRPr lang="zh-CN" altLang="en-US" sz="1600" b="1" dirty="0">
              <a:solidFill>
                <a:srgbClr val="1B1263"/>
              </a:solidFill>
              <a:latin typeface="Calibri"/>
              <a:ea typeface="微软雅黑"/>
              <a:cs typeface="+mn-ea"/>
              <a:sym typeface="Calibri"/>
            </a:endParaRPr>
          </a:p>
        </p:txBody>
      </p:sp>
      <p:sp>
        <p:nvSpPr>
          <p:cNvPr id="21" name="文本框 2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4134596" y="5304773"/>
            <a:ext cx="1404791" cy="338554"/>
          </a:xfrm>
          <a:prstGeom prst="rect">
            <a:avLst/>
          </a:prstGeom>
          <a:noFill/>
        </p:spPr>
        <p:txBody>
          <a:bodyPr wrap="square" rtlCol="0">
            <a:spAutoFit/>
          </a:bodyPr>
          <a:lstStyle/>
          <a:p>
            <a:pPr algn="dist"/>
            <a:r>
              <a:rPr lang="en-US" altLang="zh-CN" sz="1600" b="1" dirty="0">
                <a:solidFill>
                  <a:srgbClr val="1B1263"/>
                </a:solidFill>
                <a:latin typeface="Calibri"/>
                <a:ea typeface="微软雅黑"/>
                <a:cs typeface="+mn-ea"/>
                <a:sym typeface="Calibri"/>
              </a:rPr>
              <a:t>PART FOUR</a:t>
            </a:r>
            <a:endParaRPr lang="zh-CN" altLang="en-US" sz="1600" b="1" dirty="0">
              <a:solidFill>
                <a:srgbClr val="1B1263"/>
              </a:solidFill>
              <a:latin typeface="Calibri"/>
              <a:ea typeface="微软雅黑"/>
              <a:cs typeface="+mn-ea"/>
              <a:sym typeface="Calibri"/>
            </a:endParaRPr>
          </a:p>
        </p:txBody>
      </p:sp>
      <p:sp>
        <p:nvSpPr>
          <p:cNvPr id="27" name="Text Placeholder 4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691423" y="1179223"/>
            <a:ext cx="5112911" cy="276999"/>
          </a:xfrm>
          <a:prstGeom prst="rect">
            <a:avLst/>
          </a:prstGeom>
          <a:noFill/>
        </p:spPr>
        <p:txBody>
          <a:bodyPr wrap="square" rtlCol="0">
            <a:spAutoFit/>
          </a:bodyPr>
          <a:lstStyle>
            <a:defPPr>
              <a:defRPr lang="zh-CN"/>
            </a:defPPr>
            <a:lvl1pPr algn="ctr">
              <a:defRPr sz="970" spc="182">
                <a:solidFill>
                  <a:schemeClr val="accent1"/>
                </a:solidFill>
                <a:ea typeface="Roboto Medium" panose="02000000000000000000" pitchFamily="2" charset="0"/>
                <a:cs typeface="Segoe UI" panose="020B0502040204020203" pitchFamily="34" charset="0"/>
              </a:defRPr>
            </a:lvl1pPr>
          </a:lstStyle>
          <a:p>
            <a:pPr algn="l"/>
            <a:r>
              <a:rPr lang="en-US" sz="1200" dirty="0">
                <a:solidFill>
                  <a:srgbClr val="8C9EF4"/>
                </a:solidFill>
                <a:latin typeface="Calibri"/>
                <a:ea typeface="微软雅黑"/>
                <a:cs typeface="+mn-ea"/>
                <a:sym typeface="Calibri"/>
              </a:rPr>
              <a:t>Your Subtitle Will Go Here</a:t>
            </a:r>
          </a:p>
        </p:txBody>
      </p:sp>
      <p:sp>
        <p:nvSpPr>
          <p:cNvPr id="28"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矩形 6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2799307" y="4802056"/>
            <a:ext cx="9396831" cy="1621876"/>
          </a:xfrm>
          <a:prstGeom prst="rect">
            <a:avLst/>
          </a:prstGeom>
          <a:solidFill>
            <a:schemeClr val="bg1"/>
          </a:solidFill>
          <a:ln w="25400">
            <a:solidFill>
              <a:schemeClr val="accent1"/>
            </a:solidFill>
          </a:ln>
          <a:effectLst>
            <a:outerShdw blurRad="241300" dist="266700" dir="2700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cs typeface="+mn-ea"/>
              <a:sym typeface="Calibri"/>
            </a:endParaRPr>
          </a:p>
        </p:txBody>
      </p:sp>
      <p:sp>
        <p:nvSpPr>
          <p:cNvPr id="2" name="矩形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3971495" y="241300"/>
            <a:ext cx="8220505" cy="2755900"/>
          </a:xfrm>
          <a:prstGeom prst="rect">
            <a:avLst/>
          </a:prstGeom>
          <a:solidFill>
            <a:schemeClr val="bg1"/>
          </a:solidFill>
          <a:ln w="25400">
            <a:solidFill>
              <a:schemeClr val="accent1"/>
            </a:solidFill>
          </a:ln>
          <a:effectLst>
            <a:outerShdw blurRad="241300" dist="266700" dir="2700000" algn="tl" rotWithShape="0">
              <a:prstClr val="black">
                <a:alpha val="2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cs typeface="+mn-ea"/>
              <a:sym typeface="Calibri"/>
            </a:endParaRPr>
          </a:p>
        </p:txBody>
      </p:sp>
      <p:sp>
        <p:nvSpPr>
          <p:cNvPr id="20" name="TextBox 1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40835" y="391542"/>
            <a:ext cx="3767229" cy="1323439"/>
          </a:xfrm>
          <a:prstGeom prst="rect">
            <a:avLst/>
          </a:prstGeom>
          <a:noFill/>
        </p:spPr>
        <p:txBody>
          <a:bodyPr wrap="square" rtlCol="0">
            <a:spAutoFit/>
          </a:bodyPr>
          <a:lstStyle>
            <a:defPPr>
              <a:defRPr lang="zh-CN"/>
            </a:defPPr>
            <a:lvl1pPr>
              <a:defRPr sz="4000" b="1">
                <a:solidFill>
                  <a:schemeClr val="tx1">
                    <a:lumMod val="85000"/>
                    <a:lumOff val="15000"/>
                  </a:schemeClr>
                </a:solidFill>
                <a:cs typeface="+mn-ea"/>
              </a:defRPr>
            </a:lvl1pPr>
          </a:lstStyle>
          <a:p>
            <a:r>
              <a:rPr lang="en-US" dirty="0">
                <a:solidFill>
                  <a:schemeClr val="tx1"/>
                </a:solidFill>
                <a:latin typeface="Calibri"/>
                <a:ea typeface="微软雅黑"/>
                <a:sym typeface="Calibri"/>
              </a:rPr>
              <a:t>Sunburst Office</a:t>
            </a:r>
          </a:p>
          <a:p>
            <a:r>
              <a:rPr lang="en-US" dirty="0">
                <a:solidFill>
                  <a:schemeClr val="tx1"/>
                </a:solidFill>
                <a:latin typeface="Calibri"/>
                <a:ea typeface="微软雅黑"/>
                <a:sym typeface="Calibri"/>
              </a:rPr>
              <a:t> Chart Diagram </a:t>
            </a:r>
          </a:p>
        </p:txBody>
      </p:sp>
      <p:sp>
        <p:nvSpPr>
          <p:cNvPr id="40" name="Content Placeholder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3971495" y="978517"/>
            <a:ext cx="743751" cy="760431"/>
          </a:xfrm>
          <a:prstGeom prst="rect">
            <a:avLst/>
          </a:prstGeom>
        </p:spPr>
        <p:txBody>
          <a:bodyPr vert="horz" wrap="square" lIns="91416" tIns="45708" rIns="91416" bIns="45708" rtlCol="0" anchor="ctr">
            <a:noAutofit/>
          </a:bodyPr>
          <a:lstStyle>
            <a:defPPr>
              <a:defRPr lang="en-US"/>
            </a:defPPr>
            <a:lvl1pPr algn="ctr" defTabSz="914400">
              <a:lnSpc>
                <a:spcPct val="90000"/>
              </a:lnSpc>
              <a:spcBef>
                <a:spcPct val="0"/>
              </a:spcBef>
              <a:buNone/>
              <a:defRPr sz="3600"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charset="0"/>
              </a:defRPr>
            </a:lvl1pPr>
          </a:lstStyle>
          <a:p>
            <a:r>
              <a:rPr lang="en-US" dirty="0">
                <a:solidFill>
                  <a:schemeClr val="accent1"/>
                </a:solidFill>
                <a:latin typeface="Calibri"/>
                <a:ea typeface="微软雅黑"/>
                <a:cs typeface="+mn-ea"/>
                <a:sym typeface="Calibri"/>
              </a:rPr>
              <a:t>01</a:t>
            </a:r>
          </a:p>
        </p:txBody>
      </p:sp>
      <p:sp>
        <p:nvSpPr>
          <p:cNvPr id="41" name="Content Placeholder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4931516" y="968312"/>
            <a:ext cx="1383550"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id-ID" sz="1600" b="1" dirty="0">
                <a:solidFill>
                  <a:schemeClr val="tx1">
                    <a:lumMod val="85000"/>
                    <a:lumOff val="15000"/>
                  </a:schemeClr>
                </a:solidFill>
                <a:latin typeface="Calibri"/>
                <a:ea typeface="微软雅黑"/>
                <a:cs typeface="+mn-ea"/>
                <a:sym typeface="Calibri"/>
              </a:rPr>
              <a:t>Best Service Of Us</a:t>
            </a:r>
          </a:p>
        </p:txBody>
      </p:sp>
      <p:sp>
        <p:nvSpPr>
          <p:cNvPr id="42" name="Rounded Rectangle 3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rot="16200000" flipV="1">
            <a:off x="4506680" y="1351787"/>
            <a:ext cx="620169" cy="13886"/>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accent4"/>
              </a:solidFill>
              <a:latin typeface="Calibri"/>
              <a:ea typeface="微软雅黑"/>
              <a:cs typeface="+mn-ea"/>
              <a:sym typeface="Calibri"/>
            </a:endParaRPr>
          </a:p>
        </p:txBody>
      </p:sp>
      <p:sp>
        <p:nvSpPr>
          <p:cNvPr id="43" name="Rectangle 3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4931516" y="1777004"/>
            <a:ext cx="1916518" cy="769441"/>
          </a:xfrm>
          <a:prstGeom prst="rect">
            <a:avLst/>
          </a:prstGeom>
        </p:spPr>
        <p:txBody>
          <a:bodyPr wrap="square">
            <a:spAutoFit/>
          </a:bodyPr>
          <a:lstStyle/>
          <a:p>
            <a:pPr>
              <a:spcBef>
                <a:spcPts val="600"/>
              </a:spcBef>
              <a:buClr>
                <a:srgbClr val="E24848"/>
              </a:buClr>
              <a:defRPr/>
            </a:pPr>
            <a:r>
              <a:rPr lang="en-US" sz="11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um</a:t>
            </a:r>
          </a:p>
        </p:txBody>
      </p:sp>
      <p:sp>
        <p:nvSpPr>
          <p:cNvPr id="44" name="Content Placeholder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209776" y="968312"/>
            <a:ext cx="743751" cy="760431"/>
          </a:xfrm>
          <a:prstGeom prst="rect">
            <a:avLst/>
          </a:prstGeom>
        </p:spPr>
        <p:txBody>
          <a:bodyPr vert="horz" wrap="square" lIns="91416" tIns="45708" rIns="91416" bIns="45708" rtlCol="0" anchor="ctr">
            <a:noAutofit/>
          </a:bodyPr>
          <a:lstStyle>
            <a:defPPr>
              <a:defRPr lang="en-US"/>
            </a:defPPr>
            <a:lvl1pPr algn="ctr" defTabSz="914400">
              <a:lnSpc>
                <a:spcPct val="90000"/>
              </a:lnSpc>
              <a:spcBef>
                <a:spcPct val="0"/>
              </a:spcBef>
              <a:buNone/>
              <a:defRPr sz="3600"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charset="0"/>
              </a:defRPr>
            </a:lvl1pPr>
          </a:lstStyle>
          <a:p>
            <a:r>
              <a:rPr lang="en-US" dirty="0">
                <a:solidFill>
                  <a:schemeClr val="accent1"/>
                </a:solidFill>
                <a:latin typeface="Calibri"/>
                <a:ea typeface="微软雅黑"/>
                <a:cs typeface="+mn-ea"/>
                <a:sym typeface="Calibri"/>
              </a:rPr>
              <a:t>02</a:t>
            </a:r>
          </a:p>
        </p:txBody>
      </p:sp>
      <p:sp>
        <p:nvSpPr>
          <p:cNvPr id="45" name="Content Placeholder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7169797" y="958107"/>
            <a:ext cx="1383550"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id-ID" sz="1600" b="1" dirty="0">
                <a:solidFill>
                  <a:schemeClr val="tx1">
                    <a:lumMod val="85000"/>
                    <a:lumOff val="15000"/>
                  </a:schemeClr>
                </a:solidFill>
                <a:latin typeface="Calibri"/>
                <a:ea typeface="微软雅黑"/>
                <a:cs typeface="+mn-ea"/>
                <a:sym typeface="Calibri"/>
              </a:rPr>
              <a:t>Best Service Of Us</a:t>
            </a:r>
          </a:p>
        </p:txBody>
      </p:sp>
      <p:sp>
        <p:nvSpPr>
          <p:cNvPr id="46" name="Rounded Rectangle 5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rot="16200000" flipV="1">
            <a:off x="6744961" y="1341582"/>
            <a:ext cx="620169" cy="13886"/>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accent4"/>
              </a:solidFill>
              <a:latin typeface="Calibri"/>
              <a:ea typeface="微软雅黑"/>
              <a:cs typeface="+mn-ea"/>
              <a:sym typeface="Calibri"/>
            </a:endParaRPr>
          </a:p>
        </p:txBody>
      </p:sp>
      <p:sp>
        <p:nvSpPr>
          <p:cNvPr id="47" name="Rectangle 5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7169797" y="1766799"/>
            <a:ext cx="1916518" cy="769441"/>
          </a:xfrm>
          <a:prstGeom prst="rect">
            <a:avLst/>
          </a:prstGeom>
        </p:spPr>
        <p:txBody>
          <a:bodyPr wrap="square">
            <a:spAutoFit/>
          </a:bodyPr>
          <a:lstStyle/>
          <a:p>
            <a:pPr>
              <a:spcBef>
                <a:spcPts val="600"/>
              </a:spcBef>
              <a:buClr>
                <a:srgbClr val="E24848"/>
              </a:buClr>
              <a:defRPr/>
            </a:pPr>
            <a:r>
              <a:rPr lang="en-US" sz="11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um</a:t>
            </a:r>
          </a:p>
        </p:txBody>
      </p:sp>
      <p:sp>
        <p:nvSpPr>
          <p:cNvPr id="48" name="Content Placeholder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8828131" y="933261"/>
            <a:ext cx="743751" cy="760431"/>
          </a:xfrm>
          <a:prstGeom prst="rect">
            <a:avLst/>
          </a:prstGeom>
        </p:spPr>
        <p:txBody>
          <a:bodyPr vert="horz" wrap="square" lIns="91416" tIns="45708" rIns="91416" bIns="45708" rtlCol="0" anchor="ctr">
            <a:noAutofit/>
          </a:bodyPr>
          <a:lstStyle>
            <a:defPPr>
              <a:defRPr lang="en-US"/>
            </a:defPPr>
            <a:lvl1pPr algn="ctr" defTabSz="914400">
              <a:lnSpc>
                <a:spcPct val="90000"/>
              </a:lnSpc>
              <a:spcBef>
                <a:spcPct val="0"/>
              </a:spcBef>
              <a:buNone/>
              <a:defRPr sz="3600" b="1" spc="-300">
                <a:solidFill>
                  <a:schemeClr val="tx1">
                    <a:lumMod val="95000"/>
                    <a:lumOff val="5000"/>
                  </a:schemeClr>
                </a:solidFill>
                <a:latin typeface="Caviar Dreams" panose="020B0402020204020504" pitchFamily="34" charset="0"/>
                <a:ea typeface="Roboto" panose="02000000000000000000" pitchFamily="2" charset="0"/>
                <a:cs typeface="Times New Roman" panose="02020603050405020304" charset="0"/>
              </a:defRPr>
            </a:lvl1pPr>
          </a:lstStyle>
          <a:p>
            <a:r>
              <a:rPr lang="en-US" dirty="0">
                <a:solidFill>
                  <a:schemeClr val="accent1"/>
                </a:solidFill>
                <a:latin typeface="Calibri"/>
                <a:ea typeface="微软雅黑"/>
                <a:cs typeface="+mn-ea"/>
                <a:sym typeface="Calibri"/>
              </a:rPr>
              <a:t>03</a:t>
            </a:r>
          </a:p>
        </p:txBody>
      </p:sp>
      <p:sp>
        <p:nvSpPr>
          <p:cNvPr id="49" name="Content Placeholder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788152" y="923056"/>
            <a:ext cx="1383550" cy="760431"/>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anose="020B0604020202020204"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Bef>
                <a:spcPts val="0"/>
              </a:spcBef>
              <a:buNone/>
            </a:pPr>
            <a:r>
              <a:rPr lang="id-ID" sz="1600" b="1" dirty="0">
                <a:solidFill>
                  <a:schemeClr val="tx1">
                    <a:lumMod val="85000"/>
                    <a:lumOff val="15000"/>
                  </a:schemeClr>
                </a:solidFill>
                <a:latin typeface="Calibri"/>
                <a:ea typeface="微软雅黑"/>
                <a:cs typeface="+mn-ea"/>
                <a:sym typeface="Calibri"/>
              </a:rPr>
              <a:t>Best Service Of Us</a:t>
            </a:r>
          </a:p>
        </p:txBody>
      </p:sp>
      <p:sp>
        <p:nvSpPr>
          <p:cNvPr id="50" name="Rounded Rectangle 5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rot="16200000" flipV="1">
            <a:off x="9363316" y="1306531"/>
            <a:ext cx="620169" cy="13886"/>
          </a:xfrm>
          <a:prstGeom prst="roundRect">
            <a:avLst>
              <a:gd name="adj" fmla="val 50000"/>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solidFill>
                <a:schemeClr val="accent4"/>
              </a:solidFill>
              <a:latin typeface="Calibri"/>
              <a:ea typeface="微软雅黑"/>
              <a:cs typeface="+mn-ea"/>
              <a:sym typeface="Calibri"/>
            </a:endParaRPr>
          </a:p>
        </p:txBody>
      </p:sp>
      <p:sp>
        <p:nvSpPr>
          <p:cNvPr id="51" name="Rectangle 5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9788152" y="1731748"/>
            <a:ext cx="1916518" cy="769441"/>
          </a:xfrm>
          <a:prstGeom prst="rect">
            <a:avLst/>
          </a:prstGeom>
        </p:spPr>
        <p:txBody>
          <a:bodyPr wrap="square">
            <a:spAutoFit/>
          </a:bodyPr>
          <a:lstStyle/>
          <a:p>
            <a:pPr>
              <a:spcBef>
                <a:spcPts val="600"/>
              </a:spcBef>
              <a:buClr>
                <a:srgbClr val="E24848"/>
              </a:buClr>
              <a:defRPr/>
            </a:pPr>
            <a:r>
              <a:rPr lang="en-US" sz="1100" noProof="1">
                <a:solidFill>
                  <a:schemeClr val="tx1">
                    <a:lumMod val="85000"/>
                    <a:lumOff val="15000"/>
                  </a:schemeClr>
                </a:solidFill>
                <a:latin typeface="Calibri"/>
                <a:ea typeface="微软雅黑"/>
                <a:cs typeface="+mn-ea"/>
                <a:sym typeface="Calibri"/>
              </a:rPr>
              <a:t>Lorem ipsum dolor sit amet, consectetur adipiscing elit. Nulla imperdiet volutpat dui at fermentum</a:t>
            </a:r>
          </a:p>
        </p:txBody>
      </p:sp>
      <p:sp>
        <p:nvSpPr>
          <p:cNvPr id="52" name="Rectangle: Diagonal Corners Rounded 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3970481" y="3034832"/>
            <a:ext cx="3527242" cy="521582"/>
          </a:xfrm>
          <a:prstGeom prst="round2DiagRect">
            <a:avLst>
              <a:gd name="adj1" fmla="val 0"/>
              <a:gd name="adj2" fmla="val 0"/>
            </a:avLst>
          </a:prstGeom>
          <a:gradFill>
            <a:gsLst>
              <a:gs pos="0">
                <a:schemeClr val="accent3"/>
              </a:gs>
              <a:gs pos="100000">
                <a:schemeClr val="accent4"/>
              </a:gs>
            </a:gsLst>
            <a:lin ang="81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53" name="TextBox 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4095991" y="3110957"/>
            <a:ext cx="3276222" cy="338554"/>
          </a:xfrm>
          <a:prstGeom prst="rect">
            <a:avLst/>
          </a:prstGeom>
          <a:noFill/>
        </p:spPr>
        <p:txBody>
          <a:bodyPr wrap="square" rtlCol="0">
            <a:spAutoFit/>
          </a:bodyPr>
          <a:lstStyle/>
          <a:p>
            <a:pPr algn="ctr"/>
            <a:r>
              <a:rPr lang="en-US" sz="1600" dirty="0">
                <a:solidFill>
                  <a:schemeClr val="bg1"/>
                </a:solidFill>
                <a:latin typeface="Calibri"/>
                <a:ea typeface="微软雅黑"/>
                <a:cs typeface="+mn-ea"/>
                <a:sym typeface="Calibri"/>
              </a:rPr>
              <a:t>Modern Design Of PowerPoint</a:t>
            </a:r>
          </a:p>
        </p:txBody>
      </p:sp>
      <p:sp>
        <p:nvSpPr>
          <p:cNvPr id="58" name="Rectangle 2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2795169" y="3543804"/>
            <a:ext cx="1173400" cy="135271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b="1">
              <a:latin typeface="Calibri"/>
              <a:ea typeface="微软雅黑"/>
              <a:cs typeface="+mn-ea"/>
              <a:sym typeface="Calibri"/>
            </a:endParaRPr>
          </a:p>
        </p:txBody>
      </p:sp>
      <p:sp>
        <p:nvSpPr>
          <p:cNvPr id="59" name="TextBox 2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3150622" y="4072361"/>
            <a:ext cx="3384033" cy="584775"/>
          </a:xfrm>
          <a:prstGeom prst="rect">
            <a:avLst/>
          </a:prstGeom>
          <a:noFill/>
        </p:spPr>
        <p:txBody>
          <a:bodyPr wrap="square" rtlCol="0">
            <a:spAutoFit/>
          </a:bodyPr>
          <a:lstStyle/>
          <a:p>
            <a:r>
              <a:rPr lang="en-US" sz="3200" b="1" spc="-150" dirty="0">
                <a:solidFill>
                  <a:schemeClr val="bg1"/>
                </a:solidFill>
                <a:latin typeface="Calibri"/>
                <a:ea typeface="微软雅黑"/>
                <a:cs typeface="+mn-ea"/>
                <a:sym typeface="Calibri"/>
              </a:rPr>
              <a:t>Our</a:t>
            </a:r>
            <a:r>
              <a:rPr lang="en-US" sz="3200" b="1" spc="-150" dirty="0">
                <a:solidFill>
                  <a:schemeClr val="tx1">
                    <a:lumMod val="75000"/>
                    <a:lumOff val="25000"/>
                  </a:schemeClr>
                </a:solidFill>
                <a:latin typeface="Calibri"/>
                <a:ea typeface="微软雅黑"/>
                <a:cs typeface="+mn-ea"/>
                <a:sym typeface="Calibri"/>
              </a:rPr>
              <a:t> Vision</a:t>
            </a:r>
          </a:p>
        </p:txBody>
      </p:sp>
      <p:sp>
        <p:nvSpPr>
          <p:cNvPr id="60" name="TextBox 6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3150623" y="4960101"/>
            <a:ext cx="8114278" cy="1477328"/>
          </a:xfrm>
          <a:prstGeom prst="rect">
            <a:avLst/>
          </a:prstGeom>
          <a:noFill/>
        </p:spPr>
        <p:txBody>
          <a:bodyPr wrap="square" rtlCol="0">
            <a:spAutoFit/>
          </a:bodyPr>
          <a:lstStyle/>
          <a:p>
            <a:pPr>
              <a:lnSpc>
                <a:spcPct val="150000"/>
              </a:lnSpc>
            </a:pPr>
            <a:r>
              <a:rPr lang="zh-CN" altLang="en-US" sz="1200" dirty="0">
                <a:solidFill>
                  <a:schemeClr val="tx2">
                    <a:lumMod val="50000"/>
                  </a:schemeClr>
                </a:solidFill>
                <a:latin typeface="Calibri"/>
                <a:ea typeface="微软雅黑"/>
                <a:cs typeface="+mn-ea"/>
                <a:sym typeface="Calibri"/>
              </a:rPr>
              <a:t>Hey, hey, hey! It's Fat </a:t>
            </a:r>
            <a:r>
              <a:rPr lang="en-US" altLang="zh-CN" sz="1200" dirty="0">
                <a:solidFill>
                  <a:schemeClr val="tx2">
                    <a:lumMod val="50000"/>
                  </a:schemeClr>
                </a:solidFill>
                <a:latin typeface="Calibri"/>
                <a:ea typeface="微软雅黑"/>
                <a:cs typeface="+mn-ea"/>
                <a:sym typeface="Calibri"/>
              </a:rPr>
              <a:t>Company</a:t>
            </a:r>
            <a:r>
              <a:rPr lang="zh-CN" altLang="en-US" sz="1200" dirty="0">
                <a:solidFill>
                  <a:schemeClr val="tx2">
                    <a:lumMod val="50000"/>
                  </a:schemeClr>
                </a:solidFill>
                <a:latin typeface="Calibri"/>
                <a:ea typeface="微软雅黑"/>
                <a:cs typeface="+mn-ea"/>
                <a:sym typeface="Calibri"/>
              </a:rPr>
              <a:t>! Now I'm gonna sing a song for you, and this is gonna show you a thing or two. You'll have some fun now With me and the gang, learning from each other While we do our thing.</a:t>
            </a:r>
            <a:endParaRPr lang="en-US" altLang="zh-CN" sz="1200" dirty="0">
              <a:solidFill>
                <a:schemeClr val="tx2">
                  <a:lumMod val="50000"/>
                </a:schemeClr>
              </a:solidFill>
              <a:latin typeface="Calibri"/>
              <a:ea typeface="微软雅黑"/>
              <a:cs typeface="+mn-ea"/>
              <a:sym typeface="Calibri"/>
            </a:endParaRPr>
          </a:p>
          <a:p>
            <a:pPr>
              <a:lnSpc>
                <a:spcPct val="150000"/>
              </a:lnSpc>
            </a:pPr>
            <a:r>
              <a:rPr lang="zh-CN" altLang="en-US" sz="1200" dirty="0">
                <a:solidFill>
                  <a:schemeClr val="tx2">
                    <a:lumMod val="50000"/>
                  </a:schemeClr>
                </a:solidFill>
                <a:latin typeface="Calibri"/>
                <a:ea typeface="微软雅黑"/>
                <a:cs typeface="+mn-ea"/>
                <a:sym typeface="Calibri"/>
              </a:rPr>
              <a:t>Hey, hey, hey! It's Fat </a:t>
            </a:r>
            <a:r>
              <a:rPr lang="en-US" altLang="zh-CN" sz="1200" dirty="0">
                <a:solidFill>
                  <a:schemeClr val="tx2">
                    <a:lumMod val="50000"/>
                  </a:schemeClr>
                </a:solidFill>
                <a:latin typeface="Calibri"/>
                <a:ea typeface="微软雅黑"/>
                <a:cs typeface="+mn-ea"/>
                <a:sym typeface="Calibri"/>
              </a:rPr>
              <a:t>Company</a:t>
            </a:r>
            <a:r>
              <a:rPr lang="zh-CN" altLang="en-US" sz="1200" dirty="0">
                <a:solidFill>
                  <a:schemeClr val="tx2">
                    <a:lumMod val="50000"/>
                  </a:schemeClr>
                </a:solidFill>
                <a:latin typeface="Calibri"/>
                <a:ea typeface="微软雅黑"/>
                <a:cs typeface="+mn-ea"/>
                <a:sym typeface="Calibri"/>
              </a:rPr>
              <a:t>! Now I'm gonna sing a song for you, and this is gonna show you a thing or two. You'll have some fun now With me and the gang, learning from each other While we do our thing.</a:t>
            </a:r>
            <a:endParaRPr lang="en-US" altLang="zh-CN" sz="1200" dirty="0">
              <a:solidFill>
                <a:schemeClr val="tx2">
                  <a:lumMod val="50000"/>
                </a:schemeClr>
              </a:solidFill>
              <a:latin typeface="Calibri"/>
              <a:ea typeface="微软雅黑"/>
              <a:cs typeface="+mn-ea"/>
              <a:sym typeface="Calibri"/>
            </a:endParaRPr>
          </a:p>
          <a:p>
            <a:pPr>
              <a:lnSpc>
                <a:spcPct val="150000"/>
              </a:lnSpc>
            </a:pPr>
            <a:endParaRPr lang="en-US" altLang="zh-CN" sz="1200" dirty="0">
              <a:solidFill>
                <a:schemeClr val="tx2">
                  <a:lumMod val="50000"/>
                </a:schemeClr>
              </a:solidFill>
              <a:latin typeface="Calibri"/>
              <a:ea typeface="微软雅黑"/>
              <a:cs typeface="+mn-ea"/>
              <a:sym typeface="Calibri"/>
            </a:endParaRPr>
          </a:p>
        </p:txBody>
      </p:sp>
      <p:pic>
        <p:nvPicPr>
          <p:cNvPr id="3" name="图片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48046" y="4234126"/>
            <a:ext cx="1187511" cy="1162110"/>
          </a:xfrm>
          <a:prstGeom prst="rect">
            <a:avLst/>
          </a:prstGeom>
        </p:spPr>
      </p:pic>
      <p:pic>
        <p:nvPicPr>
          <p:cNvPr id="4" name="图片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721807" y="3268859"/>
            <a:ext cx="1010481" cy="729082"/>
          </a:xfrm>
          <a:prstGeom prst="rect">
            <a:avLst/>
          </a:prstGeom>
        </p:spPr>
      </p:pic>
      <p:pic>
        <p:nvPicPr>
          <p:cNvPr id="5" name="图片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16642" y="4896521"/>
            <a:ext cx="1365320" cy="1375022"/>
          </a:xfrm>
          <a:prstGeom prst="rect">
            <a:avLst/>
          </a:prstGeom>
        </p:spPr>
      </p:pic>
      <p:sp>
        <p:nvSpPr>
          <p:cNvPr id="6"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38200" y="1750380"/>
            <a:ext cx="10439400" cy="4231320"/>
          </a:xfrm>
          <a:prstGeom prst="rect">
            <a:avLst/>
          </a:prstGeom>
          <a:solidFill>
            <a:schemeClr val="bg1"/>
          </a:solid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nvGrpSpPr>
          <p:cNvPr id="5" name="Group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4308408" y="2133600"/>
            <a:ext cx="3586699" cy="3425491"/>
            <a:chOff x="4302651" y="2584100"/>
            <a:chExt cx="3586698" cy="3425491"/>
          </a:xfrm>
        </p:grpSpPr>
        <p:grpSp>
          <p:nvGrpSpPr>
            <p:cNvPr id="6" name="Group 5"/>
            <p:cNvGrpSpPr/>
            <p:nvPr/>
          </p:nvGrpSpPr>
          <p:grpSpPr>
            <a:xfrm rot="900000">
              <a:off x="5522094" y="5707799"/>
              <a:ext cx="934355" cy="301792"/>
              <a:chOff x="1910951" y="2990493"/>
              <a:chExt cx="3586698" cy="1158490"/>
            </a:xfrm>
          </p:grpSpPr>
          <p:sp>
            <p:nvSpPr>
              <p:cNvPr id="27" name="Freeform: Shape 26"/>
              <p:cNvSpPr/>
              <p:nvPr/>
            </p:nvSpPr>
            <p:spPr>
              <a:xfrm>
                <a:off x="1910951" y="3385184"/>
                <a:ext cx="3586698" cy="763799"/>
              </a:xfrm>
              <a:custGeom>
                <a:avLst/>
                <a:gdLst>
                  <a:gd name="connsiteX0" fmla="*/ 80010 w 3586698"/>
                  <a:gd name="connsiteY0" fmla="*/ 0 h 763799"/>
                  <a:gd name="connsiteX1" fmla="*/ 160020 w 3586698"/>
                  <a:gd name="connsiteY1" fmla="*/ 80010 h 763799"/>
                  <a:gd name="connsiteX2" fmla="*/ 160020 w 3586698"/>
                  <a:gd name="connsiteY2" fmla="*/ 216690 h 763799"/>
                  <a:gd name="connsiteX3" fmla="*/ 409514 w 3586698"/>
                  <a:gd name="connsiteY3" fmla="*/ 316343 h 763799"/>
                  <a:gd name="connsiteX4" fmla="*/ 1793349 w 3586698"/>
                  <a:gd name="connsiteY4" fmla="*/ 474495 h 763799"/>
                  <a:gd name="connsiteX5" fmla="*/ 3177184 w 3586698"/>
                  <a:gd name="connsiteY5" fmla="*/ 316343 h 763799"/>
                  <a:gd name="connsiteX6" fmla="*/ 3426678 w 3586698"/>
                  <a:gd name="connsiteY6" fmla="*/ 216690 h 763799"/>
                  <a:gd name="connsiteX7" fmla="*/ 3426678 w 3586698"/>
                  <a:gd name="connsiteY7" fmla="*/ 80010 h 763799"/>
                  <a:gd name="connsiteX8" fmla="*/ 3506688 w 3586698"/>
                  <a:gd name="connsiteY8" fmla="*/ 0 h 763799"/>
                  <a:gd name="connsiteX9" fmla="*/ 3586698 w 3586698"/>
                  <a:gd name="connsiteY9" fmla="*/ 80010 h 763799"/>
                  <a:gd name="connsiteX10" fmla="*/ 3586698 w 3586698"/>
                  <a:gd name="connsiteY10" fmla="*/ 329206 h 763799"/>
                  <a:gd name="connsiteX11" fmla="*/ 3586698 w 3586698"/>
                  <a:gd name="connsiteY11" fmla="*/ 337185 h 763799"/>
                  <a:gd name="connsiteX12" fmla="*/ 3563264 w 3586698"/>
                  <a:gd name="connsiteY12" fmla="*/ 393761 h 763799"/>
                  <a:gd name="connsiteX13" fmla="*/ 3558512 w 3586698"/>
                  <a:gd name="connsiteY13" fmla="*/ 396965 h 763799"/>
                  <a:gd name="connsiteX14" fmla="*/ 3550264 w 3586698"/>
                  <a:gd name="connsiteY14" fmla="*/ 416792 h 763799"/>
                  <a:gd name="connsiteX15" fmla="*/ 1793349 w 3586698"/>
                  <a:gd name="connsiteY15" fmla="*/ 763799 h 763799"/>
                  <a:gd name="connsiteX16" fmla="*/ 36435 w 3586698"/>
                  <a:gd name="connsiteY16" fmla="*/ 416792 h 763799"/>
                  <a:gd name="connsiteX17" fmla="*/ 28187 w 3586698"/>
                  <a:gd name="connsiteY17" fmla="*/ 396965 h 763799"/>
                  <a:gd name="connsiteX18" fmla="*/ 23435 w 3586698"/>
                  <a:gd name="connsiteY18" fmla="*/ 393761 h 763799"/>
                  <a:gd name="connsiteX19" fmla="*/ 0 w 3586698"/>
                  <a:gd name="connsiteY19" fmla="*/ 337185 h 763799"/>
                  <a:gd name="connsiteX20" fmla="*/ 0 w 3586698"/>
                  <a:gd name="connsiteY20" fmla="*/ 80010 h 763799"/>
                  <a:gd name="connsiteX21" fmla="*/ 80010 w 3586698"/>
                  <a:gd name="connsiteY21" fmla="*/ 0 h 76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86698" h="763799">
                    <a:moveTo>
                      <a:pt x="80010" y="0"/>
                    </a:moveTo>
                    <a:cubicBezTo>
                      <a:pt x="124198" y="0"/>
                      <a:pt x="160020" y="35822"/>
                      <a:pt x="160020" y="80010"/>
                    </a:cubicBezTo>
                    <a:lnTo>
                      <a:pt x="160020" y="216690"/>
                    </a:lnTo>
                    <a:lnTo>
                      <a:pt x="409514" y="316343"/>
                    </a:lnTo>
                    <a:cubicBezTo>
                      <a:pt x="738441" y="412931"/>
                      <a:pt x="1236227" y="474495"/>
                      <a:pt x="1793349" y="474495"/>
                    </a:cubicBezTo>
                    <a:cubicBezTo>
                      <a:pt x="2350471" y="474495"/>
                      <a:pt x="2848258" y="412931"/>
                      <a:pt x="3177184" y="316343"/>
                    </a:cubicBezTo>
                    <a:lnTo>
                      <a:pt x="3426678" y="216690"/>
                    </a:lnTo>
                    <a:lnTo>
                      <a:pt x="3426678" y="80010"/>
                    </a:lnTo>
                    <a:cubicBezTo>
                      <a:pt x="3426678" y="35822"/>
                      <a:pt x="3462500" y="0"/>
                      <a:pt x="3506688" y="0"/>
                    </a:cubicBezTo>
                    <a:cubicBezTo>
                      <a:pt x="3550876" y="0"/>
                      <a:pt x="3586698" y="35822"/>
                      <a:pt x="3586698" y="80010"/>
                    </a:cubicBezTo>
                    <a:lnTo>
                      <a:pt x="3586698" y="329206"/>
                    </a:lnTo>
                    <a:lnTo>
                      <a:pt x="3586698" y="337185"/>
                    </a:lnTo>
                    <a:cubicBezTo>
                      <a:pt x="3586698" y="359279"/>
                      <a:pt x="3577743" y="379282"/>
                      <a:pt x="3563264" y="393761"/>
                    </a:cubicBezTo>
                    <a:lnTo>
                      <a:pt x="3558512" y="396965"/>
                    </a:lnTo>
                    <a:lnTo>
                      <a:pt x="3550264" y="416792"/>
                    </a:lnTo>
                    <a:cubicBezTo>
                      <a:pt x="3383040" y="614828"/>
                      <a:pt x="2659983" y="763799"/>
                      <a:pt x="1793349" y="763799"/>
                    </a:cubicBezTo>
                    <a:cubicBezTo>
                      <a:pt x="926715" y="763799"/>
                      <a:pt x="203658" y="614828"/>
                      <a:pt x="36435" y="416792"/>
                    </a:cubicBezTo>
                    <a:lnTo>
                      <a:pt x="28187" y="396965"/>
                    </a:lnTo>
                    <a:lnTo>
                      <a:pt x="23435" y="393761"/>
                    </a:lnTo>
                    <a:cubicBezTo>
                      <a:pt x="8956" y="379282"/>
                      <a:pt x="0" y="359279"/>
                      <a:pt x="0" y="337185"/>
                    </a:cubicBezTo>
                    <a:lnTo>
                      <a:pt x="0" y="80010"/>
                    </a:lnTo>
                    <a:cubicBezTo>
                      <a:pt x="0" y="35822"/>
                      <a:pt x="35822" y="0"/>
                      <a:pt x="80010" y="0"/>
                    </a:cubicBezTo>
                    <a:close/>
                  </a:path>
                </a:pathLst>
              </a:cu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28" name="Freeform: Shape 27"/>
              <p:cNvSpPr/>
              <p:nvPr/>
            </p:nvSpPr>
            <p:spPr>
              <a:xfrm>
                <a:off x="2196520" y="3058539"/>
                <a:ext cx="3015560" cy="516341"/>
              </a:xfrm>
              <a:custGeom>
                <a:avLst/>
                <a:gdLst>
                  <a:gd name="connsiteX0" fmla="*/ 1507780 w 3015560"/>
                  <a:gd name="connsiteY0" fmla="*/ 0 h 516341"/>
                  <a:gd name="connsiteX1" fmla="*/ 3015560 w 3015560"/>
                  <a:gd name="connsiteY1" fmla="*/ 381900 h 516341"/>
                  <a:gd name="connsiteX2" fmla="*/ 2984928 w 3015560"/>
                  <a:gd name="connsiteY2" fmla="*/ 458866 h 516341"/>
                  <a:gd name="connsiteX3" fmla="*/ 2914489 w 3015560"/>
                  <a:gd name="connsiteY3" fmla="*/ 516341 h 516341"/>
                  <a:gd name="connsiteX4" fmla="*/ 2897071 w 3015560"/>
                  <a:gd name="connsiteY4" fmla="*/ 502129 h 516341"/>
                  <a:gd name="connsiteX5" fmla="*/ 1507780 w 3015560"/>
                  <a:gd name="connsiteY5" fmla="*/ 268882 h 516341"/>
                  <a:gd name="connsiteX6" fmla="*/ 118489 w 3015560"/>
                  <a:gd name="connsiteY6" fmla="*/ 502129 h 516341"/>
                  <a:gd name="connsiteX7" fmla="*/ 101071 w 3015560"/>
                  <a:gd name="connsiteY7" fmla="*/ 516341 h 516341"/>
                  <a:gd name="connsiteX8" fmla="*/ 30633 w 3015560"/>
                  <a:gd name="connsiteY8" fmla="*/ 458866 h 516341"/>
                  <a:gd name="connsiteX9" fmla="*/ 0 w 3015560"/>
                  <a:gd name="connsiteY9" fmla="*/ 381900 h 516341"/>
                  <a:gd name="connsiteX10" fmla="*/ 1507780 w 3015560"/>
                  <a:gd name="connsiteY10" fmla="*/ 0 h 51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5560" h="516341">
                    <a:moveTo>
                      <a:pt x="1507780" y="0"/>
                    </a:moveTo>
                    <a:cubicBezTo>
                      <a:pt x="2340504" y="0"/>
                      <a:pt x="3015560" y="170982"/>
                      <a:pt x="3015560" y="381900"/>
                    </a:cubicBezTo>
                    <a:cubicBezTo>
                      <a:pt x="3015560" y="408265"/>
                      <a:pt x="3005012" y="434006"/>
                      <a:pt x="2984928" y="458866"/>
                    </a:cubicBezTo>
                    <a:lnTo>
                      <a:pt x="2914489" y="516341"/>
                    </a:lnTo>
                    <a:lnTo>
                      <a:pt x="2897071" y="502129"/>
                    </a:lnTo>
                    <a:cubicBezTo>
                      <a:pt x="2668178" y="365060"/>
                      <a:pt x="2132323" y="268882"/>
                      <a:pt x="1507780" y="268882"/>
                    </a:cubicBezTo>
                    <a:cubicBezTo>
                      <a:pt x="883237" y="268882"/>
                      <a:pt x="347382" y="365060"/>
                      <a:pt x="118489" y="502129"/>
                    </a:cubicBezTo>
                    <a:lnTo>
                      <a:pt x="101071" y="516341"/>
                    </a:lnTo>
                    <a:lnTo>
                      <a:pt x="30633" y="458866"/>
                    </a:lnTo>
                    <a:cubicBezTo>
                      <a:pt x="10548" y="434006"/>
                      <a:pt x="0" y="408265"/>
                      <a:pt x="0" y="381900"/>
                    </a:cubicBezTo>
                    <a:cubicBezTo>
                      <a:pt x="0" y="170982"/>
                      <a:pt x="675056" y="0"/>
                      <a:pt x="1507780" y="0"/>
                    </a:cubicBez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29" name="Freeform: Shape 28"/>
              <p:cNvSpPr/>
              <p:nvPr/>
            </p:nvSpPr>
            <p:spPr>
              <a:xfrm>
                <a:off x="1910951" y="2990493"/>
                <a:ext cx="3586698" cy="918566"/>
              </a:xfrm>
              <a:custGeom>
                <a:avLst/>
                <a:gdLst>
                  <a:gd name="connsiteX0" fmla="*/ 1793349 w 3586698"/>
                  <a:gd name="connsiteY0" fmla="*/ 119131 h 918566"/>
                  <a:gd name="connsiteX1" fmla="*/ 300810 w 3586698"/>
                  <a:gd name="connsiteY1" fmla="*/ 459283 h 918566"/>
                  <a:gd name="connsiteX2" fmla="*/ 1793349 w 3586698"/>
                  <a:gd name="connsiteY2" fmla="*/ 799435 h 918566"/>
                  <a:gd name="connsiteX3" fmla="*/ 3285888 w 3586698"/>
                  <a:gd name="connsiteY3" fmla="*/ 459283 h 918566"/>
                  <a:gd name="connsiteX4" fmla="*/ 1793349 w 3586698"/>
                  <a:gd name="connsiteY4" fmla="*/ 119131 h 918566"/>
                  <a:gd name="connsiteX5" fmla="*/ 1793349 w 3586698"/>
                  <a:gd name="connsiteY5" fmla="*/ 0 h 918566"/>
                  <a:gd name="connsiteX6" fmla="*/ 3586698 w 3586698"/>
                  <a:gd name="connsiteY6" fmla="*/ 459283 h 918566"/>
                  <a:gd name="connsiteX7" fmla="*/ 1793349 w 3586698"/>
                  <a:gd name="connsiteY7" fmla="*/ 918566 h 918566"/>
                  <a:gd name="connsiteX8" fmla="*/ 0 w 3586698"/>
                  <a:gd name="connsiteY8" fmla="*/ 459283 h 918566"/>
                  <a:gd name="connsiteX9" fmla="*/ 1793349 w 3586698"/>
                  <a:gd name="connsiteY9" fmla="*/ 0 h 91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6698" h="918566">
                    <a:moveTo>
                      <a:pt x="1793349" y="119131"/>
                    </a:moveTo>
                    <a:cubicBezTo>
                      <a:pt x="969042" y="119131"/>
                      <a:pt x="300810" y="271422"/>
                      <a:pt x="300810" y="459283"/>
                    </a:cubicBezTo>
                    <a:cubicBezTo>
                      <a:pt x="300810" y="647144"/>
                      <a:pt x="969042" y="799435"/>
                      <a:pt x="1793349" y="799435"/>
                    </a:cubicBezTo>
                    <a:cubicBezTo>
                      <a:pt x="2617656" y="799435"/>
                      <a:pt x="3285888" y="647144"/>
                      <a:pt x="3285888" y="459283"/>
                    </a:cubicBezTo>
                    <a:cubicBezTo>
                      <a:pt x="3285888" y="271422"/>
                      <a:pt x="2617656" y="119131"/>
                      <a:pt x="1793349" y="119131"/>
                    </a:cubicBezTo>
                    <a:close/>
                    <a:moveTo>
                      <a:pt x="1793349" y="0"/>
                    </a:moveTo>
                    <a:cubicBezTo>
                      <a:pt x="2783788" y="0"/>
                      <a:pt x="3586698" y="205628"/>
                      <a:pt x="3586698" y="459283"/>
                    </a:cubicBezTo>
                    <a:cubicBezTo>
                      <a:pt x="3586698" y="712938"/>
                      <a:pt x="2783788" y="918566"/>
                      <a:pt x="1793349" y="918566"/>
                    </a:cubicBezTo>
                    <a:cubicBezTo>
                      <a:pt x="802910" y="918566"/>
                      <a:pt x="0" y="712938"/>
                      <a:pt x="0" y="459283"/>
                    </a:cubicBezTo>
                    <a:cubicBezTo>
                      <a:pt x="0" y="205628"/>
                      <a:pt x="802910" y="0"/>
                      <a:pt x="1793349" y="0"/>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grpSp>
        <p:grpSp>
          <p:nvGrpSpPr>
            <p:cNvPr id="7" name="Group 6"/>
            <p:cNvGrpSpPr/>
            <p:nvPr/>
          </p:nvGrpSpPr>
          <p:grpSpPr>
            <a:xfrm rot="20932206">
              <a:off x="5499654" y="5310461"/>
              <a:ext cx="1316368" cy="425180"/>
              <a:chOff x="1910951" y="2990493"/>
              <a:chExt cx="3586698" cy="1158490"/>
            </a:xfrm>
          </p:grpSpPr>
          <p:sp>
            <p:nvSpPr>
              <p:cNvPr id="24" name="Freeform: Shape 23"/>
              <p:cNvSpPr/>
              <p:nvPr/>
            </p:nvSpPr>
            <p:spPr>
              <a:xfrm>
                <a:off x="1910951" y="3385184"/>
                <a:ext cx="3586698" cy="763799"/>
              </a:xfrm>
              <a:custGeom>
                <a:avLst/>
                <a:gdLst>
                  <a:gd name="connsiteX0" fmla="*/ 80010 w 3586698"/>
                  <a:gd name="connsiteY0" fmla="*/ 0 h 763799"/>
                  <a:gd name="connsiteX1" fmla="*/ 160020 w 3586698"/>
                  <a:gd name="connsiteY1" fmla="*/ 80010 h 763799"/>
                  <a:gd name="connsiteX2" fmla="*/ 160020 w 3586698"/>
                  <a:gd name="connsiteY2" fmla="*/ 216690 h 763799"/>
                  <a:gd name="connsiteX3" fmla="*/ 409514 w 3586698"/>
                  <a:gd name="connsiteY3" fmla="*/ 316343 h 763799"/>
                  <a:gd name="connsiteX4" fmla="*/ 1793349 w 3586698"/>
                  <a:gd name="connsiteY4" fmla="*/ 474495 h 763799"/>
                  <a:gd name="connsiteX5" fmla="*/ 3177184 w 3586698"/>
                  <a:gd name="connsiteY5" fmla="*/ 316343 h 763799"/>
                  <a:gd name="connsiteX6" fmla="*/ 3426678 w 3586698"/>
                  <a:gd name="connsiteY6" fmla="*/ 216690 h 763799"/>
                  <a:gd name="connsiteX7" fmla="*/ 3426678 w 3586698"/>
                  <a:gd name="connsiteY7" fmla="*/ 80010 h 763799"/>
                  <a:gd name="connsiteX8" fmla="*/ 3506688 w 3586698"/>
                  <a:gd name="connsiteY8" fmla="*/ 0 h 763799"/>
                  <a:gd name="connsiteX9" fmla="*/ 3586698 w 3586698"/>
                  <a:gd name="connsiteY9" fmla="*/ 80010 h 763799"/>
                  <a:gd name="connsiteX10" fmla="*/ 3586698 w 3586698"/>
                  <a:gd name="connsiteY10" fmla="*/ 329206 h 763799"/>
                  <a:gd name="connsiteX11" fmla="*/ 3586698 w 3586698"/>
                  <a:gd name="connsiteY11" fmla="*/ 337185 h 763799"/>
                  <a:gd name="connsiteX12" fmla="*/ 3563264 w 3586698"/>
                  <a:gd name="connsiteY12" fmla="*/ 393761 h 763799"/>
                  <a:gd name="connsiteX13" fmla="*/ 3558512 w 3586698"/>
                  <a:gd name="connsiteY13" fmla="*/ 396965 h 763799"/>
                  <a:gd name="connsiteX14" fmla="*/ 3550264 w 3586698"/>
                  <a:gd name="connsiteY14" fmla="*/ 416792 h 763799"/>
                  <a:gd name="connsiteX15" fmla="*/ 1793349 w 3586698"/>
                  <a:gd name="connsiteY15" fmla="*/ 763799 h 763799"/>
                  <a:gd name="connsiteX16" fmla="*/ 36435 w 3586698"/>
                  <a:gd name="connsiteY16" fmla="*/ 416792 h 763799"/>
                  <a:gd name="connsiteX17" fmla="*/ 28187 w 3586698"/>
                  <a:gd name="connsiteY17" fmla="*/ 396965 h 763799"/>
                  <a:gd name="connsiteX18" fmla="*/ 23435 w 3586698"/>
                  <a:gd name="connsiteY18" fmla="*/ 393761 h 763799"/>
                  <a:gd name="connsiteX19" fmla="*/ 0 w 3586698"/>
                  <a:gd name="connsiteY19" fmla="*/ 337185 h 763799"/>
                  <a:gd name="connsiteX20" fmla="*/ 0 w 3586698"/>
                  <a:gd name="connsiteY20" fmla="*/ 80010 h 763799"/>
                  <a:gd name="connsiteX21" fmla="*/ 80010 w 3586698"/>
                  <a:gd name="connsiteY21" fmla="*/ 0 h 76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86698" h="763799">
                    <a:moveTo>
                      <a:pt x="80010" y="0"/>
                    </a:moveTo>
                    <a:cubicBezTo>
                      <a:pt x="124198" y="0"/>
                      <a:pt x="160020" y="35822"/>
                      <a:pt x="160020" y="80010"/>
                    </a:cubicBezTo>
                    <a:lnTo>
                      <a:pt x="160020" y="216690"/>
                    </a:lnTo>
                    <a:lnTo>
                      <a:pt x="409514" y="316343"/>
                    </a:lnTo>
                    <a:cubicBezTo>
                      <a:pt x="738441" y="412931"/>
                      <a:pt x="1236227" y="474495"/>
                      <a:pt x="1793349" y="474495"/>
                    </a:cubicBezTo>
                    <a:cubicBezTo>
                      <a:pt x="2350471" y="474495"/>
                      <a:pt x="2848258" y="412931"/>
                      <a:pt x="3177184" y="316343"/>
                    </a:cubicBezTo>
                    <a:lnTo>
                      <a:pt x="3426678" y="216690"/>
                    </a:lnTo>
                    <a:lnTo>
                      <a:pt x="3426678" y="80010"/>
                    </a:lnTo>
                    <a:cubicBezTo>
                      <a:pt x="3426678" y="35822"/>
                      <a:pt x="3462500" y="0"/>
                      <a:pt x="3506688" y="0"/>
                    </a:cubicBezTo>
                    <a:cubicBezTo>
                      <a:pt x="3550876" y="0"/>
                      <a:pt x="3586698" y="35822"/>
                      <a:pt x="3586698" y="80010"/>
                    </a:cubicBezTo>
                    <a:lnTo>
                      <a:pt x="3586698" y="329206"/>
                    </a:lnTo>
                    <a:lnTo>
                      <a:pt x="3586698" y="337185"/>
                    </a:lnTo>
                    <a:cubicBezTo>
                      <a:pt x="3586698" y="359279"/>
                      <a:pt x="3577743" y="379282"/>
                      <a:pt x="3563264" y="393761"/>
                    </a:cubicBezTo>
                    <a:lnTo>
                      <a:pt x="3558512" y="396965"/>
                    </a:lnTo>
                    <a:lnTo>
                      <a:pt x="3550264" y="416792"/>
                    </a:lnTo>
                    <a:cubicBezTo>
                      <a:pt x="3383040" y="614828"/>
                      <a:pt x="2659983" y="763799"/>
                      <a:pt x="1793349" y="763799"/>
                    </a:cubicBezTo>
                    <a:cubicBezTo>
                      <a:pt x="926715" y="763799"/>
                      <a:pt x="203658" y="614828"/>
                      <a:pt x="36435" y="416792"/>
                    </a:cubicBezTo>
                    <a:lnTo>
                      <a:pt x="28187" y="396965"/>
                    </a:lnTo>
                    <a:lnTo>
                      <a:pt x="23435" y="393761"/>
                    </a:lnTo>
                    <a:cubicBezTo>
                      <a:pt x="8956" y="379282"/>
                      <a:pt x="0" y="359279"/>
                      <a:pt x="0" y="337185"/>
                    </a:cubicBezTo>
                    <a:lnTo>
                      <a:pt x="0" y="80010"/>
                    </a:lnTo>
                    <a:cubicBezTo>
                      <a:pt x="0" y="35822"/>
                      <a:pt x="35822" y="0"/>
                      <a:pt x="80010" y="0"/>
                    </a:cubicBezTo>
                    <a:close/>
                  </a:path>
                </a:pathLst>
              </a:cu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25" name="Freeform: Shape 24"/>
              <p:cNvSpPr/>
              <p:nvPr/>
            </p:nvSpPr>
            <p:spPr>
              <a:xfrm>
                <a:off x="2196520" y="3058539"/>
                <a:ext cx="3015560" cy="516341"/>
              </a:xfrm>
              <a:custGeom>
                <a:avLst/>
                <a:gdLst>
                  <a:gd name="connsiteX0" fmla="*/ 1507780 w 3015560"/>
                  <a:gd name="connsiteY0" fmla="*/ 0 h 516341"/>
                  <a:gd name="connsiteX1" fmla="*/ 3015560 w 3015560"/>
                  <a:gd name="connsiteY1" fmla="*/ 381900 h 516341"/>
                  <a:gd name="connsiteX2" fmla="*/ 2984928 w 3015560"/>
                  <a:gd name="connsiteY2" fmla="*/ 458866 h 516341"/>
                  <a:gd name="connsiteX3" fmla="*/ 2914489 w 3015560"/>
                  <a:gd name="connsiteY3" fmla="*/ 516341 h 516341"/>
                  <a:gd name="connsiteX4" fmla="*/ 2897071 w 3015560"/>
                  <a:gd name="connsiteY4" fmla="*/ 502129 h 516341"/>
                  <a:gd name="connsiteX5" fmla="*/ 1507780 w 3015560"/>
                  <a:gd name="connsiteY5" fmla="*/ 268882 h 516341"/>
                  <a:gd name="connsiteX6" fmla="*/ 118489 w 3015560"/>
                  <a:gd name="connsiteY6" fmla="*/ 502129 h 516341"/>
                  <a:gd name="connsiteX7" fmla="*/ 101071 w 3015560"/>
                  <a:gd name="connsiteY7" fmla="*/ 516341 h 516341"/>
                  <a:gd name="connsiteX8" fmla="*/ 30633 w 3015560"/>
                  <a:gd name="connsiteY8" fmla="*/ 458866 h 516341"/>
                  <a:gd name="connsiteX9" fmla="*/ 0 w 3015560"/>
                  <a:gd name="connsiteY9" fmla="*/ 381900 h 516341"/>
                  <a:gd name="connsiteX10" fmla="*/ 1507780 w 3015560"/>
                  <a:gd name="connsiteY10" fmla="*/ 0 h 51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5560" h="516341">
                    <a:moveTo>
                      <a:pt x="1507780" y="0"/>
                    </a:moveTo>
                    <a:cubicBezTo>
                      <a:pt x="2340504" y="0"/>
                      <a:pt x="3015560" y="170982"/>
                      <a:pt x="3015560" y="381900"/>
                    </a:cubicBezTo>
                    <a:cubicBezTo>
                      <a:pt x="3015560" y="408265"/>
                      <a:pt x="3005012" y="434006"/>
                      <a:pt x="2984928" y="458866"/>
                    </a:cubicBezTo>
                    <a:lnTo>
                      <a:pt x="2914489" y="516341"/>
                    </a:lnTo>
                    <a:lnTo>
                      <a:pt x="2897071" y="502129"/>
                    </a:lnTo>
                    <a:cubicBezTo>
                      <a:pt x="2668178" y="365060"/>
                      <a:pt x="2132323" y="268882"/>
                      <a:pt x="1507780" y="268882"/>
                    </a:cubicBezTo>
                    <a:cubicBezTo>
                      <a:pt x="883237" y="268882"/>
                      <a:pt x="347382" y="365060"/>
                      <a:pt x="118489" y="502129"/>
                    </a:cubicBezTo>
                    <a:lnTo>
                      <a:pt x="101071" y="516341"/>
                    </a:lnTo>
                    <a:lnTo>
                      <a:pt x="30633" y="458866"/>
                    </a:lnTo>
                    <a:cubicBezTo>
                      <a:pt x="10548" y="434006"/>
                      <a:pt x="0" y="408265"/>
                      <a:pt x="0" y="381900"/>
                    </a:cubicBezTo>
                    <a:cubicBezTo>
                      <a:pt x="0" y="170982"/>
                      <a:pt x="675056" y="0"/>
                      <a:pt x="1507780" y="0"/>
                    </a:cubicBez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26" name="Freeform: Shape 25"/>
              <p:cNvSpPr/>
              <p:nvPr/>
            </p:nvSpPr>
            <p:spPr>
              <a:xfrm>
                <a:off x="1910951" y="2990493"/>
                <a:ext cx="3586698" cy="918566"/>
              </a:xfrm>
              <a:custGeom>
                <a:avLst/>
                <a:gdLst>
                  <a:gd name="connsiteX0" fmla="*/ 1793349 w 3586698"/>
                  <a:gd name="connsiteY0" fmla="*/ 119131 h 918566"/>
                  <a:gd name="connsiteX1" fmla="*/ 300810 w 3586698"/>
                  <a:gd name="connsiteY1" fmla="*/ 459283 h 918566"/>
                  <a:gd name="connsiteX2" fmla="*/ 1793349 w 3586698"/>
                  <a:gd name="connsiteY2" fmla="*/ 799435 h 918566"/>
                  <a:gd name="connsiteX3" fmla="*/ 3285888 w 3586698"/>
                  <a:gd name="connsiteY3" fmla="*/ 459283 h 918566"/>
                  <a:gd name="connsiteX4" fmla="*/ 1793349 w 3586698"/>
                  <a:gd name="connsiteY4" fmla="*/ 119131 h 918566"/>
                  <a:gd name="connsiteX5" fmla="*/ 1793349 w 3586698"/>
                  <a:gd name="connsiteY5" fmla="*/ 0 h 918566"/>
                  <a:gd name="connsiteX6" fmla="*/ 3586698 w 3586698"/>
                  <a:gd name="connsiteY6" fmla="*/ 459283 h 918566"/>
                  <a:gd name="connsiteX7" fmla="*/ 1793349 w 3586698"/>
                  <a:gd name="connsiteY7" fmla="*/ 918566 h 918566"/>
                  <a:gd name="connsiteX8" fmla="*/ 0 w 3586698"/>
                  <a:gd name="connsiteY8" fmla="*/ 459283 h 918566"/>
                  <a:gd name="connsiteX9" fmla="*/ 1793349 w 3586698"/>
                  <a:gd name="connsiteY9" fmla="*/ 0 h 91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6698" h="918566">
                    <a:moveTo>
                      <a:pt x="1793349" y="119131"/>
                    </a:moveTo>
                    <a:cubicBezTo>
                      <a:pt x="969042" y="119131"/>
                      <a:pt x="300810" y="271422"/>
                      <a:pt x="300810" y="459283"/>
                    </a:cubicBezTo>
                    <a:cubicBezTo>
                      <a:pt x="300810" y="647144"/>
                      <a:pt x="969042" y="799435"/>
                      <a:pt x="1793349" y="799435"/>
                    </a:cubicBezTo>
                    <a:cubicBezTo>
                      <a:pt x="2617656" y="799435"/>
                      <a:pt x="3285888" y="647144"/>
                      <a:pt x="3285888" y="459283"/>
                    </a:cubicBezTo>
                    <a:cubicBezTo>
                      <a:pt x="3285888" y="271422"/>
                      <a:pt x="2617656" y="119131"/>
                      <a:pt x="1793349" y="119131"/>
                    </a:cubicBezTo>
                    <a:close/>
                    <a:moveTo>
                      <a:pt x="1793349" y="0"/>
                    </a:moveTo>
                    <a:cubicBezTo>
                      <a:pt x="2783788" y="0"/>
                      <a:pt x="3586698" y="205628"/>
                      <a:pt x="3586698" y="459283"/>
                    </a:cubicBezTo>
                    <a:cubicBezTo>
                      <a:pt x="3586698" y="712938"/>
                      <a:pt x="2783788" y="918566"/>
                      <a:pt x="1793349" y="918566"/>
                    </a:cubicBezTo>
                    <a:cubicBezTo>
                      <a:pt x="802910" y="918566"/>
                      <a:pt x="0" y="712938"/>
                      <a:pt x="0" y="459283"/>
                    </a:cubicBezTo>
                    <a:cubicBezTo>
                      <a:pt x="0" y="205628"/>
                      <a:pt x="802910" y="0"/>
                      <a:pt x="1793349" y="0"/>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grpSp>
        <p:grpSp>
          <p:nvGrpSpPr>
            <p:cNvPr id="8" name="Group 7"/>
            <p:cNvGrpSpPr/>
            <p:nvPr/>
          </p:nvGrpSpPr>
          <p:grpSpPr>
            <a:xfrm rot="612483">
              <a:off x="5271801" y="4869708"/>
              <a:ext cx="1648398" cy="532424"/>
              <a:chOff x="1910951" y="2990493"/>
              <a:chExt cx="3586698" cy="1158490"/>
            </a:xfrm>
          </p:grpSpPr>
          <p:sp>
            <p:nvSpPr>
              <p:cNvPr id="21" name="Freeform: Shape 20"/>
              <p:cNvSpPr/>
              <p:nvPr/>
            </p:nvSpPr>
            <p:spPr>
              <a:xfrm>
                <a:off x="1910951" y="3385184"/>
                <a:ext cx="3586698" cy="763799"/>
              </a:xfrm>
              <a:custGeom>
                <a:avLst/>
                <a:gdLst>
                  <a:gd name="connsiteX0" fmla="*/ 80010 w 3586698"/>
                  <a:gd name="connsiteY0" fmla="*/ 0 h 763799"/>
                  <a:gd name="connsiteX1" fmla="*/ 160020 w 3586698"/>
                  <a:gd name="connsiteY1" fmla="*/ 80010 h 763799"/>
                  <a:gd name="connsiteX2" fmla="*/ 160020 w 3586698"/>
                  <a:gd name="connsiteY2" fmla="*/ 216690 h 763799"/>
                  <a:gd name="connsiteX3" fmla="*/ 409514 w 3586698"/>
                  <a:gd name="connsiteY3" fmla="*/ 316343 h 763799"/>
                  <a:gd name="connsiteX4" fmla="*/ 1793349 w 3586698"/>
                  <a:gd name="connsiteY4" fmla="*/ 474495 h 763799"/>
                  <a:gd name="connsiteX5" fmla="*/ 3177184 w 3586698"/>
                  <a:gd name="connsiteY5" fmla="*/ 316343 h 763799"/>
                  <a:gd name="connsiteX6" fmla="*/ 3426678 w 3586698"/>
                  <a:gd name="connsiteY6" fmla="*/ 216690 h 763799"/>
                  <a:gd name="connsiteX7" fmla="*/ 3426678 w 3586698"/>
                  <a:gd name="connsiteY7" fmla="*/ 80010 h 763799"/>
                  <a:gd name="connsiteX8" fmla="*/ 3506688 w 3586698"/>
                  <a:gd name="connsiteY8" fmla="*/ 0 h 763799"/>
                  <a:gd name="connsiteX9" fmla="*/ 3586698 w 3586698"/>
                  <a:gd name="connsiteY9" fmla="*/ 80010 h 763799"/>
                  <a:gd name="connsiteX10" fmla="*/ 3586698 w 3586698"/>
                  <a:gd name="connsiteY10" fmla="*/ 329206 h 763799"/>
                  <a:gd name="connsiteX11" fmla="*/ 3586698 w 3586698"/>
                  <a:gd name="connsiteY11" fmla="*/ 337185 h 763799"/>
                  <a:gd name="connsiteX12" fmla="*/ 3563264 w 3586698"/>
                  <a:gd name="connsiteY12" fmla="*/ 393761 h 763799"/>
                  <a:gd name="connsiteX13" fmla="*/ 3558512 w 3586698"/>
                  <a:gd name="connsiteY13" fmla="*/ 396965 h 763799"/>
                  <a:gd name="connsiteX14" fmla="*/ 3550264 w 3586698"/>
                  <a:gd name="connsiteY14" fmla="*/ 416792 h 763799"/>
                  <a:gd name="connsiteX15" fmla="*/ 1793349 w 3586698"/>
                  <a:gd name="connsiteY15" fmla="*/ 763799 h 763799"/>
                  <a:gd name="connsiteX16" fmla="*/ 36435 w 3586698"/>
                  <a:gd name="connsiteY16" fmla="*/ 416792 h 763799"/>
                  <a:gd name="connsiteX17" fmla="*/ 28187 w 3586698"/>
                  <a:gd name="connsiteY17" fmla="*/ 396965 h 763799"/>
                  <a:gd name="connsiteX18" fmla="*/ 23435 w 3586698"/>
                  <a:gd name="connsiteY18" fmla="*/ 393761 h 763799"/>
                  <a:gd name="connsiteX19" fmla="*/ 0 w 3586698"/>
                  <a:gd name="connsiteY19" fmla="*/ 337185 h 763799"/>
                  <a:gd name="connsiteX20" fmla="*/ 0 w 3586698"/>
                  <a:gd name="connsiteY20" fmla="*/ 80010 h 763799"/>
                  <a:gd name="connsiteX21" fmla="*/ 80010 w 3586698"/>
                  <a:gd name="connsiteY21" fmla="*/ 0 h 76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86698" h="763799">
                    <a:moveTo>
                      <a:pt x="80010" y="0"/>
                    </a:moveTo>
                    <a:cubicBezTo>
                      <a:pt x="124198" y="0"/>
                      <a:pt x="160020" y="35822"/>
                      <a:pt x="160020" y="80010"/>
                    </a:cubicBezTo>
                    <a:lnTo>
                      <a:pt x="160020" y="216690"/>
                    </a:lnTo>
                    <a:lnTo>
                      <a:pt x="409514" y="316343"/>
                    </a:lnTo>
                    <a:cubicBezTo>
                      <a:pt x="738441" y="412931"/>
                      <a:pt x="1236227" y="474495"/>
                      <a:pt x="1793349" y="474495"/>
                    </a:cubicBezTo>
                    <a:cubicBezTo>
                      <a:pt x="2350471" y="474495"/>
                      <a:pt x="2848258" y="412931"/>
                      <a:pt x="3177184" y="316343"/>
                    </a:cubicBezTo>
                    <a:lnTo>
                      <a:pt x="3426678" y="216690"/>
                    </a:lnTo>
                    <a:lnTo>
                      <a:pt x="3426678" y="80010"/>
                    </a:lnTo>
                    <a:cubicBezTo>
                      <a:pt x="3426678" y="35822"/>
                      <a:pt x="3462500" y="0"/>
                      <a:pt x="3506688" y="0"/>
                    </a:cubicBezTo>
                    <a:cubicBezTo>
                      <a:pt x="3550876" y="0"/>
                      <a:pt x="3586698" y="35822"/>
                      <a:pt x="3586698" y="80010"/>
                    </a:cubicBezTo>
                    <a:lnTo>
                      <a:pt x="3586698" y="329206"/>
                    </a:lnTo>
                    <a:lnTo>
                      <a:pt x="3586698" y="337185"/>
                    </a:lnTo>
                    <a:cubicBezTo>
                      <a:pt x="3586698" y="359279"/>
                      <a:pt x="3577743" y="379282"/>
                      <a:pt x="3563264" y="393761"/>
                    </a:cubicBezTo>
                    <a:lnTo>
                      <a:pt x="3558512" y="396965"/>
                    </a:lnTo>
                    <a:lnTo>
                      <a:pt x="3550264" y="416792"/>
                    </a:lnTo>
                    <a:cubicBezTo>
                      <a:pt x="3383040" y="614828"/>
                      <a:pt x="2659983" y="763799"/>
                      <a:pt x="1793349" y="763799"/>
                    </a:cubicBezTo>
                    <a:cubicBezTo>
                      <a:pt x="926715" y="763799"/>
                      <a:pt x="203658" y="614828"/>
                      <a:pt x="36435" y="416792"/>
                    </a:cubicBezTo>
                    <a:lnTo>
                      <a:pt x="28187" y="396965"/>
                    </a:lnTo>
                    <a:lnTo>
                      <a:pt x="23435" y="393761"/>
                    </a:lnTo>
                    <a:cubicBezTo>
                      <a:pt x="8956" y="379282"/>
                      <a:pt x="0" y="359279"/>
                      <a:pt x="0" y="337185"/>
                    </a:cubicBezTo>
                    <a:lnTo>
                      <a:pt x="0" y="80010"/>
                    </a:lnTo>
                    <a:cubicBezTo>
                      <a:pt x="0" y="35822"/>
                      <a:pt x="35822" y="0"/>
                      <a:pt x="80010" y="0"/>
                    </a:cubicBezTo>
                    <a:close/>
                  </a:path>
                </a:pathLst>
              </a:cu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22" name="Freeform: Shape 21"/>
              <p:cNvSpPr/>
              <p:nvPr/>
            </p:nvSpPr>
            <p:spPr>
              <a:xfrm>
                <a:off x="2196520" y="3058539"/>
                <a:ext cx="3015560" cy="516341"/>
              </a:xfrm>
              <a:custGeom>
                <a:avLst/>
                <a:gdLst>
                  <a:gd name="connsiteX0" fmla="*/ 1507780 w 3015560"/>
                  <a:gd name="connsiteY0" fmla="*/ 0 h 516341"/>
                  <a:gd name="connsiteX1" fmla="*/ 3015560 w 3015560"/>
                  <a:gd name="connsiteY1" fmla="*/ 381900 h 516341"/>
                  <a:gd name="connsiteX2" fmla="*/ 2984928 w 3015560"/>
                  <a:gd name="connsiteY2" fmla="*/ 458866 h 516341"/>
                  <a:gd name="connsiteX3" fmla="*/ 2914489 w 3015560"/>
                  <a:gd name="connsiteY3" fmla="*/ 516341 h 516341"/>
                  <a:gd name="connsiteX4" fmla="*/ 2897071 w 3015560"/>
                  <a:gd name="connsiteY4" fmla="*/ 502129 h 516341"/>
                  <a:gd name="connsiteX5" fmla="*/ 1507780 w 3015560"/>
                  <a:gd name="connsiteY5" fmla="*/ 268882 h 516341"/>
                  <a:gd name="connsiteX6" fmla="*/ 118489 w 3015560"/>
                  <a:gd name="connsiteY6" fmla="*/ 502129 h 516341"/>
                  <a:gd name="connsiteX7" fmla="*/ 101071 w 3015560"/>
                  <a:gd name="connsiteY7" fmla="*/ 516341 h 516341"/>
                  <a:gd name="connsiteX8" fmla="*/ 30633 w 3015560"/>
                  <a:gd name="connsiteY8" fmla="*/ 458866 h 516341"/>
                  <a:gd name="connsiteX9" fmla="*/ 0 w 3015560"/>
                  <a:gd name="connsiteY9" fmla="*/ 381900 h 516341"/>
                  <a:gd name="connsiteX10" fmla="*/ 1507780 w 3015560"/>
                  <a:gd name="connsiteY10" fmla="*/ 0 h 51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5560" h="516341">
                    <a:moveTo>
                      <a:pt x="1507780" y="0"/>
                    </a:moveTo>
                    <a:cubicBezTo>
                      <a:pt x="2340504" y="0"/>
                      <a:pt x="3015560" y="170982"/>
                      <a:pt x="3015560" y="381900"/>
                    </a:cubicBezTo>
                    <a:cubicBezTo>
                      <a:pt x="3015560" y="408265"/>
                      <a:pt x="3005012" y="434006"/>
                      <a:pt x="2984928" y="458866"/>
                    </a:cubicBezTo>
                    <a:lnTo>
                      <a:pt x="2914489" y="516341"/>
                    </a:lnTo>
                    <a:lnTo>
                      <a:pt x="2897071" y="502129"/>
                    </a:lnTo>
                    <a:cubicBezTo>
                      <a:pt x="2668178" y="365060"/>
                      <a:pt x="2132323" y="268882"/>
                      <a:pt x="1507780" y="268882"/>
                    </a:cubicBezTo>
                    <a:cubicBezTo>
                      <a:pt x="883237" y="268882"/>
                      <a:pt x="347382" y="365060"/>
                      <a:pt x="118489" y="502129"/>
                    </a:cubicBezTo>
                    <a:lnTo>
                      <a:pt x="101071" y="516341"/>
                    </a:lnTo>
                    <a:lnTo>
                      <a:pt x="30633" y="458866"/>
                    </a:lnTo>
                    <a:cubicBezTo>
                      <a:pt x="10548" y="434006"/>
                      <a:pt x="0" y="408265"/>
                      <a:pt x="0" y="381900"/>
                    </a:cubicBezTo>
                    <a:cubicBezTo>
                      <a:pt x="0" y="170982"/>
                      <a:pt x="675056" y="0"/>
                      <a:pt x="1507780" y="0"/>
                    </a:cubicBezTo>
                    <a:close/>
                  </a:path>
                </a:pathLst>
              </a:cu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23" name="Freeform: Shape 22"/>
              <p:cNvSpPr/>
              <p:nvPr/>
            </p:nvSpPr>
            <p:spPr>
              <a:xfrm>
                <a:off x="1910951" y="2990493"/>
                <a:ext cx="3586698" cy="918566"/>
              </a:xfrm>
              <a:custGeom>
                <a:avLst/>
                <a:gdLst>
                  <a:gd name="connsiteX0" fmla="*/ 1793349 w 3586698"/>
                  <a:gd name="connsiteY0" fmla="*/ 119131 h 918566"/>
                  <a:gd name="connsiteX1" fmla="*/ 300810 w 3586698"/>
                  <a:gd name="connsiteY1" fmla="*/ 459283 h 918566"/>
                  <a:gd name="connsiteX2" fmla="*/ 1793349 w 3586698"/>
                  <a:gd name="connsiteY2" fmla="*/ 799435 h 918566"/>
                  <a:gd name="connsiteX3" fmla="*/ 3285888 w 3586698"/>
                  <a:gd name="connsiteY3" fmla="*/ 459283 h 918566"/>
                  <a:gd name="connsiteX4" fmla="*/ 1793349 w 3586698"/>
                  <a:gd name="connsiteY4" fmla="*/ 119131 h 918566"/>
                  <a:gd name="connsiteX5" fmla="*/ 1793349 w 3586698"/>
                  <a:gd name="connsiteY5" fmla="*/ 0 h 918566"/>
                  <a:gd name="connsiteX6" fmla="*/ 3586698 w 3586698"/>
                  <a:gd name="connsiteY6" fmla="*/ 459283 h 918566"/>
                  <a:gd name="connsiteX7" fmla="*/ 1793349 w 3586698"/>
                  <a:gd name="connsiteY7" fmla="*/ 918566 h 918566"/>
                  <a:gd name="connsiteX8" fmla="*/ 0 w 3586698"/>
                  <a:gd name="connsiteY8" fmla="*/ 459283 h 918566"/>
                  <a:gd name="connsiteX9" fmla="*/ 1793349 w 3586698"/>
                  <a:gd name="connsiteY9" fmla="*/ 0 h 91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6698" h="918566">
                    <a:moveTo>
                      <a:pt x="1793349" y="119131"/>
                    </a:moveTo>
                    <a:cubicBezTo>
                      <a:pt x="969042" y="119131"/>
                      <a:pt x="300810" y="271422"/>
                      <a:pt x="300810" y="459283"/>
                    </a:cubicBezTo>
                    <a:cubicBezTo>
                      <a:pt x="300810" y="647144"/>
                      <a:pt x="969042" y="799435"/>
                      <a:pt x="1793349" y="799435"/>
                    </a:cubicBezTo>
                    <a:cubicBezTo>
                      <a:pt x="2617656" y="799435"/>
                      <a:pt x="3285888" y="647144"/>
                      <a:pt x="3285888" y="459283"/>
                    </a:cubicBezTo>
                    <a:cubicBezTo>
                      <a:pt x="3285888" y="271422"/>
                      <a:pt x="2617656" y="119131"/>
                      <a:pt x="1793349" y="119131"/>
                    </a:cubicBezTo>
                    <a:close/>
                    <a:moveTo>
                      <a:pt x="1793349" y="0"/>
                    </a:moveTo>
                    <a:cubicBezTo>
                      <a:pt x="2783788" y="0"/>
                      <a:pt x="3586698" y="205628"/>
                      <a:pt x="3586698" y="459283"/>
                    </a:cubicBezTo>
                    <a:cubicBezTo>
                      <a:pt x="3586698" y="712938"/>
                      <a:pt x="2783788" y="918566"/>
                      <a:pt x="1793349" y="918566"/>
                    </a:cubicBezTo>
                    <a:cubicBezTo>
                      <a:pt x="802910" y="918566"/>
                      <a:pt x="0" y="712938"/>
                      <a:pt x="0" y="459283"/>
                    </a:cubicBezTo>
                    <a:cubicBezTo>
                      <a:pt x="0" y="205628"/>
                      <a:pt x="802910" y="0"/>
                      <a:pt x="1793349"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grpSp>
        <p:grpSp>
          <p:nvGrpSpPr>
            <p:cNvPr id="9" name="Group 8"/>
            <p:cNvGrpSpPr/>
            <p:nvPr/>
          </p:nvGrpSpPr>
          <p:grpSpPr>
            <a:xfrm rot="20423959">
              <a:off x="5039391" y="4209322"/>
              <a:ext cx="2113218" cy="682560"/>
              <a:chOff x="1910951" y="2990493"/>
              <a:chExt cx="3586698" cy="1158490"/>
            </a:xfrm>
          </p:grpSpPr>
          <p:sp>
            <p:nvSpPr>
              <p:cNvPr id="18" name="Freeform: Shape 17"/>
              <p:cNvSpPr/>
              <p:nvPr/>
            </p:nvSpPr>
            <p:spPr>
              <a:xfrm>
                <a:off x="1910951" y="3385184"/>
                <a:ext cx="3586698" cy="763799"/>
              </a:xfrm>
              <a:custGeom>
                <a:avLst/>
                <a:gdLst>
                  <a:gd name="connsiteX0" fmla="*/ 80010 w 3586698"/>
                  <a:gd name="connsiteY0" fmla="*/ 0 h 763799"/>
                  <a:gd name="connsiteX1" fmla="*/ 160020 w 3586698"/>
                  <a:gd name="connsiteY1" fmla="*/ 80010 h 763799"/>
                  <a:gd name="connsiteX2" fmla="*/ 160020 w 3586698"/>
                  <a:gd name="connsiteY2" fmla="*/ 216690 h 763799"/>
                  <a:gd name="connsiteX3" fmla="*/ 409514 w 3586698"/>
                  <a:gd name="connsiteY3" fmla="*/ 316343 h 763799"/>
                  <a:gd name="connsiteX4" fmla="*/ 1793349 w 3586698"/>
                  <a:gd name="connsiteY4" fmla="*/ 474495 h 763799"/>
                  <a:gd name="connsiteX5" fmla="*/ 3177184 w 3586698"/>
                  <a:gd name="connsiteY5" fmla="*/ 316343 h 763799"/>
                  <a:gd name="connsiteX6" fmla="*/ 3426678 w 3586698"/>
                  <a:gd name="connsiteY6" fmla="*/ 216690 h 763799"/>
                  <a:gd name="connsiteX7" fmla="*/ 3426678 w 3586698"/>
                  <a:gd name="connsiteY7" fmla="*/ 80010 h 763799"/>
                  <a:gd name="connsiteX8" fmla="*/ 3506688 w 3586698"/>
                  <a:gd name="connsiteY8" fmla="*/ 0 h 763799"/>
                  <a:gd name="connsiteX9" fmla="*/ 3586698 w 3586698"/>
                  <a:gd name="connsiteY9" fmla="*/ 80010 h 763799"/>
                  <a:gd name="connsiteX10" fmla="*/ 3586698 w 3586698"/>
                  <a:gd name="connsiteY10" fmla="*/ 329206 h 763799"/>
                  <a:gd name="connsiteX11" fmla="*/ 3586698 w 3586698"/>
                  <a:gd name="connsiteY11" fmla="*/ 337185 h 763799"/>
                  <a:gd name="connsiteX12" fmla="*/ 3563264 w 3586698"/>
                  <a:gd name="connsiteY12" fmla="*/ 393761 h 763799"/>
                  <a:gd name="connsiteX13" fmla="*/ 3558512 w 3586698"/>
                  <a:gd name="connsiteY13" fmla="*/ 396965 h 763799"/>
                  <a:gd name="connsiteX14" fmla="*/ 3550264 w 3586698"/>
                  <a:gd name="connsiteY14" fmla="*/ 416792 h 763799"/>
                  <a:gd name="connsiteX15" fmla="*/ 1793349 w 3586698"/>
                  <a:gd name="connsiteY15" fmla="*/ 763799 h 763799"/>
                  <a:gd name="connsiteX16" fmla="*/ 36435 w 3586698"/>
                  <a:gd name="connsiteY16" fmla="*/ 416792 h 763799"/>
                  <a:gd name="connsiteX17" fmla="*/ 28187 w 3586698"/>
                  <a:gd name="connsiteY17" fmla="*/ 396965 h 763799"/>
                  <a:gd name="connsiteX18" fmla="*/ 23435 w 3586698"/>
                  <a:gd name="connsiteY18" fmla="*/ 393761 h 763799"/>
                  <a:gd name="connsiteX19" fmla="*/ 0 w 3586698"/>
                  <a:gd name="connsiteY19" fmla="*/ 337185 h 763799"/>
                  <a:gd name="connsiteX20" fmla="*/ 0 w 3586698"/>
                  <a:gd name="connsiteY20" fmla="*/ 80010 h 763799"/>
                  <a:gd name="connsiteX21" fmla="*/ 80010 w 3586698"/>
                  <a:gd name="connsiteY21" fmla="*/ 0 h 76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86698" h="763799">
                    <a:moveTo>
                      <a:pt x="80010" y="0"/>
                    </a:moveTo>
                    <a:cubicBezTo>
                      <a:pt x="124198" y="0"/>
                      <a:pt x="160020" y="35822"/>
                      <a:pt x="160020" y="80010"/>
                    </a:cubicBezTo>
                    <a:lnTo>
                      <a:pt x="160020" y="216690"/>
                    </a:lnTo>
                    <a:lnTo>
                      <a:pt x="409514" y="316343"/>
                    </a:lnTo>
                    <a:cubicBezTo>
                      <a:pt x="738441" y="412931"/>
                      <a:pt x="1236227" y="474495"/>
                      <a:pt x="1793349" y="474495"/>
                    </a:cubicBezTo>
                    <a:cubicBezTo>
                      <a:pt x="2350471" y="474495"/>
                      <a:pt x="2848258" y="412931"/>
                      <a:pt x="3177184" y="316343"/>
                    </a:cubicBezTo>
                    <a:lnTo>
                      <a:pt x="3426678" y="216690"/>
                    </a:lnTo>
                    <a:lnTo>
                      <a:pt x="3426678" y="80010"/>
                    </a:lnTo>
                    <a:cubicBezTo>
                      <a:pt x="3426678" y="35822"/>
                      <a:pt x="3462500" y="0"/>
                      <a:pt x="3506688" y="0"/>
                    </a:cubicBezTo>
                    <a:cubicBezTo>
                      <a:pt x="3550876" y="0"/>
                      <a:pt x="3586698" y="35822"/>
                      <a:pt x="3586698" y="80010"/>
                    </a:cubicBezTo>
                    <a:lnTo>
                      <a:pt x="3586698" y="329206"/>
                    </a:lnTo>
                    <a:lnTo>
                      <a:pt x="3586698" y="337185"/>
                    </a:lnTo>
                    <a:cubicBezTo>
                      <a:pt x="3586698" y="359279"/>
                      <a:pt x="3577743" y="379282"/>
                      <a:pt x="3563264" y="393761"/>
                    </a:cubicBezTo>
                    <a:lnTo>
                      <a:pt x="3558512" y="396965"/>
                    </a:lnTo>
                    <a:lnTo>
                      <a:pt x="3550264" y="416792"/>
                    </a:lnTo>
                    <a:cubicBezTo>
                      <a:pt x="3383040" y="614828"/>
                      <a:pt x="2659983" y="763799"/>
                      <a:pt x="1793349" y="763799"/>
                    </a:cubicBezTo>
                    <a:cubicBezTo>
                      <a:pt x="926715" y="763799"/>
                      <a:pt x="203658" y="614828"/>
                      <a:pt x="36435" y="416792"/>
                    </a:cubicBezTo>
                    <a:lnTo>
                      <a:pt x="28187" y="396965"/>
                    </a:lnTo>
                    <a:lnTo>
                      <a:pt x="23435" y="393761"/>
                    </a:lnTo>
                    <a:cubicBezTo>
                      <a:pt x="8956" y="379282"/>
                      <a:pt x="0" y="359279"/>
                      <a:pt x="0" y="337185"/>
                    </a:cubicBezTo>
                    <a:lnTo>
                      <a:pt x="0" y="80010"/>
                    </a:lnTo>
                    <a:cubicBezTo>
                      <a:pt x="0" y="35822"/>
                      <a:pt x="35822" y="0"/>
                      <a:pt x="80010" y="0"/>
                    </a:cubicBez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19" name="Freeform: Shape 18"/>
              <p:cNvSpPr/>
              <p:nvPr/>
            </p:nvSpPr>
            <p:spPr>
              <a:xfrm>
                <a:off x="2196520" y="3058539"/>
                <a:ext cx="3015560" cy="516341"/>
              </a:xfrm>
              <a:custGeom>
                <a:avLst/>
                <a:gdLst>
                  <a:gd name="connsiteX0" fmla="*/ 1507780 w 3015560"/>
                  <a:gd name="connsiteY0" fmla="*/ 0 h 516341"/>
                  <a:gd name="connsiteX1" fmla="*/ 3015560 w 3015560"/>
                  <a:gd name="connsiteY1" fmla="*/ 381900 h 516341"/>
                  <a:gd name="connsiteX2" fmla="*/ 2984928 w 3015560"/>
                  <a:gd name="connsiteY2" fmla="*/ 458866 h 516341"/>
                  <a:gd name="connsiteX3" fmla="*/ 2914489 w 3015560"/>
                  <a:gd name="connsiteY3" fmla="*/ 516341 h 516341"/>
                  <a:gd name="connsiteX4" fmla="*/ 2897071 w 3015560"/>
                  <a:gd name="connsiteY4" fmla="*/ 502129 h 516341"/>
                  <a:gd name="connsiteX5" fmla="*/ 1507780 w 3015560"/>
                  <a:gd name="connsiteY5" fmla="*/ 268882 h 516341"/>
                  <a:gd name="connsiteX6" fmla="*/ 118489 w 3015560"/>
                  <a:gd name="connsiteY6" fmla="*/ 502129 h 516341"/>
                  <a:gd name="connsiteX7" fmla="*/ 101071 w 3015560"/>
                  <a:gd name="connsiteY7" fmla="*/ 516341 h 516341"/>
                  <a:gd name="connsiteX8" fmla="*/ 30633 w 3015560"/>
                  <a:gd name="connsiteY8" fmla="*/ 458866 h 516341"/>
                  <a:gd name="connsiteX9" fmla="*/ 0 w 3015560"/>
                  <a:gd name="connsiteY9" fmla="*/ 381900 h 516341"/>
                  <a:gd name="connsiteX10" fmla="*/ 1507780 w 3015560"/>
                  <a:gd name="connsiteY10" fmla="*/ 0 h 51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5560" h="516341">
                    <a:moveTo>
                      <a:pt x="1507780" y="0"/>
                    </a:moveTo>
                    <a:cubicBezTo>
                      <a:pt x="2340504" y="0"/>
                      <a:pt x="3015560" y="170982"/>
                      <a:pt x="3015560" y="381900"/>
                    </a:cubicBezTo>
                    <a:cubicBezTo>
                      <a:pt x="3015560" y="408265"/>
                      <a:pt x="3005012" y="434006"/>
                      <a:pt x="2984928" y="458866"/>
                    </a:cubicBezTo>
                    <a:lnTo>
                      <a:pt x="2914489" y="516341"/>
                    </a:lnTo>
                    <a:lnTo>
                      <a:pt x="2897071" y="502129"/>
                    </a:lnTo>
                    <a:cubicBezTo>
                      <a:pt x="2668178" y="365060"/>
                      <a:pt x="2132323" y="268882"/>
                      <a:pt x="1507780" y="268882"/>
                    </a:cubicBezTo>
                    <a:cubicBezTo>
                      <a:pt x="883237" y="268882"/>
                      <a:pt x="347382" y="365060"/>
                      <a:pt x="118489" y="502129"/>
                    </a:cubicBezTo>
                    <a:lnTo>
                      <a:pt x="101071" y="516341"/>
                    </a:lnTo>
                    <a:lnTo>
                      <a:pt x="30633" y="458866"/>
                    </a:lnTo>
                    <a:cubicBezTo>
                      <a:pt x="10548" y="434006"/>
                      <a:pt x="0" y="408265"/>
                      <a:pt x="0" y="381900"/>
                    </a:cubicBezTo>
                    <a:cubicBezTo>
                      <a:pt x="0" y="170982"/>
                      <a:pt x="675056" y="0"/>
                      <a:pt x="1507780" y="0"/>
                    </a:cubicBezTo>
                    <a:close/>
                  </a:path>
                </a:pathLst>
              </a:cu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20" name="Freeform: Shape 19"/>
              <p:cNvSpPr/>
              <p:nvPr/>
            </p:nvSpPr>
            <p:spPr>
              <a:xfrm>
                <a:off x="1910951" y="2990493"/>
                <a:ext cx="3586698" cy="918566"/>
              </a:xfrm>
              <a:custGeom>
                <a:avLst/>
                <a:gdLst>
                  <a:gd name="connsiteX0" fmla="*/ 1793349 w 3586698"/>
                  <a:gd name="connsiteY0" fmla="*/ 119131 h 918566"/>
                  <a:gd name="connsiteX1" fmla="*/ 300810 w 3586698"/>
                  <a:gd name="connsiteY1" fmla="*/ 459283 h 918566"/>
                  <a:gd name="connsiteX2" fmla="*/ 1793349 w 3586698"/>
                  <a:gd name="connsiteY2" fmla="*/ 799435 h 918566"/>
                  <a:gd name="connsiteX3" fmla="*/ 3285888 w 3586698"/>
                  <a:gd name="connsiteY3" fmla="*/ 459283 h 918566"/>
                  <a:gd name="connsiteX4" fmla="*/ 1793349 w 3586698"/>
                  <a:gd name="connsiteY4" fmla="*/ 119131 h 918566"/>
                  <a:gd name="connsiteX5" fmla="*/ 1793349 w 3586698"/>
                  <a:gd name="connsiteY5" fmla="*/ 0 h 918566"/>
                  <a:gd name="connsiteX6" fmla="*/ 3586698 w 3586698"/>
                  <a:gd name="connsiteY6" fmla="*/ 459283 h 918566"/>
                  <a:gd name="connsiteX7" fmla="*/ 1793349 w 3586698"/>
                  <a:gd name="connsiteY7" fmla="*/ 918566 h 918566"/>
                  <a:gd name="connsiteX8" fmla="*/ 0 w 3586698"/>
                  <a:gd name="connsiteY8" fmla="*/ 459283 h 918566"/>
                  <a:gd name="connsiteX9" fmla="*/ 1793349 w 3586698"/>
                  <a:gd name="connsiteY9" fmla="*/ 0 h 91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6698" h="918566">
                    <a:moveTo>
                      <a:pt x="1793349" y="119131"/>
                    </a:moveTo>
                    <a:cubicBezTo>
                      <a:pt x="969042" y="119131"/>
                      <a:pt x="300810" y="271422"/>
                      <a:pt x="300810" y="459283"/>
                    </a:cubicBezTo>
                    <a:cubicBezTo>
                      <a:pt x="300810" y="647144"/>
                      <a:pt x="969042" y="799435"/>
                      <a:pt x="1793349" y="799435"/>
                    </a:cubicBezTo>
                    <a:cubicBezTo>
                      <a:pt x="2617656" y="799435"/>
                      <a:pt x="3285888" y="647144"/>
                      <a:pt x="3285888" y="459283"/>
                    </a:cubicBezTo>
                    <a:cubicBezTo>
                      <a:pt x="3285888" y="271422"/>
                      <a:pt x="2617656" y="119131"/>
                      <a:pt x="1793349" y="119131"/>
                    </a:cubicBezTo>
                    <a:close/>
                    <a:moveTo>
                      <a:pt x="1793349" y="0"/>
                    </a:moveTo>
                    <a:cubicBezTo>
                      <a:pt x="2783788" y="0"/>
                      <a:pt x="3586698" y="205628"/>
                      <a:pt x="3586698" y="459283"/>
                    </a:cubicBezTo>
                    <a:cubicBezTo>
                      <a:pt x="3586698" y="712938"/>
                      <a:pt x="2783788" y="918566"/>
                      <a:pt x="1793349" y="918566"/>
                    </a:cubicBezTo>
                    <a:cubicBezTo>
                      <a:pt x="802910" y="918566"/>
                      <a:pt x="0" y="712938"/>
                      <a:pt x="0" y="459283"/>
                    </a:cubicBezTo>
                    <a:cubicBezTo>
                      <a:pt x="0" y="205628"/>
                      <a:pt x="802910" y="0"/>
                      <a:pt x="1793349"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grpSp>
        <p:grpSp>
          <p:nvGrpSpPr>
            <p:cNvPr id="10" name="Group 9"/>
            <p:cNvGrpSpPr/>
            <p:nvPr/>
          </p:nvGrpSpPr>
          <p:grpSpPr>
            <a:xfrm rot="21149865">
              <a:off x="4720711" y="3422002"/>
              <a:ext cx="2750578" cy="888426"/>
              <a:chOff x="1910951" y="2990493"/>
              <a:chExt cx="3586698" cy="1158490"/>
            </a:xfrm>
          </p:grpSpPr>
          <p:sp>
            <p:nvSpPr>
              <p:cNvPr id="15" name="Freeform: Shape 14"/>
              <p:cNvSpPr/>
              <p:nvPr/>
            </p:nvSpPr>
            <p:spPr>
              <a:xfrm>
                <a:off x="1910951" y="3385184"/>
                <a:ext cx="3586698" cy="763799"/>
              </a:xfrm>
              <a:custGeom>
                <a:avLst/>
                <a:gdLst>
                  <a:gd name="connsiteX0" fmla="*/ 80010 w 3586698"/>
                  <a:gd name="connsiteY0" fmla="*/ 0 h 763799"/>
                  <a:gd name="connsiteX1" fmla="*/ 160020 w 3586698"/>
                  <a:gd name="connsiteY1" fmla="*/ 80010 h 763799"/>
                  <a:gd name="connsiteX2" fmla="*/ 160020 w 3586698"/>
                  <a:gd name="connsiteY2" fmla="*/ 216690 h 763799"/>
                  <a:gd name="connsiteX3" fmla="*/ 409514 w 3586698"/>
                  <a:gd name="connsiteY3" fmla="*/ 316343 h 763799"/>
                  <a:gd name="connsiteX4" fmla="*/ 1793349 w 3586698"/>
                  <a:gd name="connsiteY4" fmla="*/ 474495 h 763799"/>
                  <a:gd name="connsiteX5" fmla="*/ 3177184 w 3586698"/>
                  <a:gd name="connsiteY5" fmla="*/ 316343 h 763799"/>
                  <a:gd name="connsiteX6" fmla="*/ 3426678 w 3586698"/>
                  <a:gd name="connsiteY6" fmla="*/ 216690 h 763799"/>
                  <a:gd name="connsiteX7" fmla="*/ 3426678 w 3586698"/>
                  <a:gd name="connsiteY7" fmla="*/ 80010 h 763799"/>
                  <a:gd name="connsiteX8" fmla="*/ 3506688 w 3586698"/>
                  <a:gd name="connsiteY8" fmla="*/ 0 h 763799"/>
                  <a:gd name="connsiteX9" fmla="*/ 3586698 w 3586698"/>
                  <a:gd name="connsiteY9" fmla="*/ 80010 h 763799"/>
                  <a:gd name="connsiteX10" fmla="*/ 3586698 w 3586698"/>
                  <a:gd name="connsiteY10" fmla="*/ 329206 h 763799"/>
                  <a:gd name="connsiteX11" fmla="*/ 3586698 w 3586698"/>
                  <a:gd name="connsiteY11" fmla="*/ 337185 h 763799"/>
                  <a:gd name="connsiteX12" fmla="*/ 3563264 w 3586698"/>
                  <a:gd name="connsiteY12" fmla="*/ 393761 h 763799"/>
                  <a:gd name="connsiteX13" fmla="*/ 3558512 w 3586698"/>
                  <a:gd name="connsiteY13" fmla="*/ 396965 h 763799"/>
                  <a:gd name="connsiteX14" fmla="*/ 3550264 w 3586698"/>
                  <a:gd name="connsiteY14" fmla="*/ 416792 h 763799"/>
                  <a:gd name="connsiteX15" fmla="*/ 1793349 w 3586698"/>
                  <a:gd name="connsiteY15" fmla="*/ 763799 h 763799"/>
                  <a:gd name="connsiteX16" fmla="*/ 36435 w 3586698"/>
                  <a:gd name="connsiteY16" fmla="*/ 416792 h 763799"/>
                  <a:gd name="connsiteX17" fmla="*/ 28187 w 3586698"/>
                  <a:gd name="connsiteY17" fmla="*/ 396965 h 763799"/>
                  <a:gd name="connsiteX18" fmla="*/ 23435 w 3586698"/>
                  <a:gd name="connsiteY18" fmla="*/ 393761 h 763799"/>
                  <a:gd name="connsiteX19" fmla="*/ 0 w 3586698"/>
                  <a:gd name="connsiteY19" fmla="*/ 337185 h 763799"/>
                  <a:gd name="connsiteX20" fmla="*/ 0 w 3586698"/>
                  <a:gd name="connsiteY20" fmla="*/ 80010 h 763799"/>
                  <a:gd name="connsiteX21" fmla="*/ 80010 w 3586698"/>
                  <a:gd name="connsiteY21" fmla="*/ 0 h 76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86698" h="763799">
                    <a:moveTo>
                      <a:pt x="80010" y="0"/>
                    </a:moveTo>
                    <a:cubicBezTo>
                      <a:pt x="124198" y="0"/>
                      <a:pt x="160020" y="35822"/>
                      <a:pt x="160020" y="80010"/>
                    </a:cubicBezTo>
                    <a:lnTo>
                      <a:pt x="160020" y="216690"/>
                    </a:lnTo>
                    <a:lnTo>
                      <a:pt x="409514" y="316343"/>
                    </a:lnTo>
                    <a:cubicBezTo>
                      <a:pt x="738441" y="412931"/>
                      <a:pt x="1236227" y="474495"/>
                      <a:pt x="1793349" y="474495"/>
                    </a:cubicBezTo>
                    <a:cubicBezTo>
                      <a:pt x="2350471" y="474495"/>
                      <a:pt x="2848258" y="412931"/>
                      <a:pt x="3177184" y="316343"/>
                    </a:cubicBezTo>
                    <a:lnTo>
                      <a:pt x="3426678" y="216690"/>
                    </a:lnTo>
                    <a:lnTo>
                      <a:pt x="3426678" y="80010"/>
                    </a:lnTo>
                    <a:cubicBezTo>
                      <a:pt x="3426678" y="35822"/>
                      <a:pt x="3462500" y="0"/>
                      <a:pt x="3506688" y="0"/>
                    </a:cubicBezTo>
                    <a:cubicBezTo>
                      <a:pt x="3550876" y="0"/>
                      <a:pt x="3586698" y="35822"/>
                      <a:pt x="3586698" y="80010"/>
                    </a:cubicBezTo>
                    <a:lnTo>
                      <a:pt x="3586698" y="329206"/>
                    </a:lnTo>
                    <a:lnTo>
                      <a:pt x="3586698" y="337185"/>
                    </a:lnTo>
                    <a:cubicBezTo>
                      <a:pt x="3586698" y="359279"/>
                      <a:pt x="3577743" y="379282"/>
                      <a:pt x="3563264" y="393761"/>
                    </a:cubicBezTo>
                    <a:lnTo>
                      <a:pt x="3558512" y="396965"/>
                    </a:lnTo>
                    <a:lnTo>
                      <a:pt x="3550264" y="416792"/>
                    </a:lnTo>
                    <a:cubicBezTo>
                      <a:pt x="3383040" y="614828"/>
                      <a:pt x="2659983" y="763799"/>
                      <a:pt x="1793349" y="763799"/>
                    </a:cubicBezTo>
                    <a:cubicBezTo>
                      <a:pt x="926715" y="763799"/>
                      <a:pt x="203658" y="614828"/>
                      <a:pt x="36435" y="416792"/>
                    </a:cubicBezTo>
                    <a:lnTo>
                      <a:pt x="28187" y="396965"/>
                    </a:lnTo>
                    <a:lnTo>
                      <a:pt x="23435" y="393761"/>
                    </a:lnTo>
                    <a:cubicBezTo>
                      <a:pt x="8956" y="379282"/>
                      <a:pt x="0" y="359279"/>
                      <a:pt x="0" y="337185"/>
                    </a:cubicBezTo>
                    <a:lnTo>
                      <a:pt x="0" y="80010"/>
                    </a:lnTo>
                    <a:cubicBezTo>
                      <a:pt x="0" y="35822"/>
                      <a:pt x="35822" y="0"/>
                      <a:pt x="80010" y="0"/>
                    </a:cubicBez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16" name="Freeform: Shape 15"/>
              <p:cNvSpPr/>
              <p:nvPr/>
            </p:nvSpPr>
            <p:spPr>
              <a:xfrm>
                <a:off x="2196520" y="3058539"/>
                <a:ext cx="3015560" cy="516341"/>
              </a:xfrm>
              <a:custGeom>
                <a:avLst/>
                <a:gdLst>
                  <a:gd name="connsiteX0" fmla="*/ 1507780 w 3015560"/>
                  <a:gd name="connsiteY0" fmla="*/ 0 h 516341"/>
                  <a:gd name="connsiteX1" fmla="*/ 3015560 w 3015560"/>
                  <a:gd name="connsiteY1" fmla="*/ 381900 h 516341"/>
                  <a:gd name="connsiteX2" fmla="*/ 2984928 w 3015560"/>
                  <a:gd name="connsiteY2" fmla="*/ 458866 h 516341"/>
                  <a:gd name="connsiteX3" fmla="*/ 2914489 w 3015560"/>
                  <a:gd name="connsiteY3" fmla="*/ 516341 h 516341"/>
                  <a:gd name="connsiteX4" fmla="*/ 2897071 w 3015560"/>
                  <a:gd name="connsiteY4" fmla="*/ 502129 h 516341"/>
                  <a:gd name="connsiteX5" fmla="*/ 1507780 w 3015560"/>
                  <a:gd name="connsiteY5" fmla="*/ 268882 h 516341"/>
                  <a:gd name="connsiteX6" fmla="*/ 118489 w 3015560"/>
                  <a:gd name="connsiteY6" fmla="*/ 502129 h 516341"/>
                  <a:gd name="connsiteX7" fmla="*/ 101071 w 3015560"/>
                  <a:gd name="connsiteY7" fmla="*/ 516341 h 516341"/>
                  <a:gd name="connsiteX8" fmla="*/ 30633 w 3015560"/>
                  <a:gd name="connsiteY8" fmla="*/ 458866 h 516341"/>
                  <a:gd name="connsiteX9" fmla="*/ 0 w 3015560"/>
                  <a:gd name="connsiteY9" fmla="*/ 381900 h 516341"/>
                  <a:gd name="connsiteX10" fmla="*/ 1507780 w 3015560"/>
                  <a:gd name="connsiteY10" fmla="*/ 0 h 51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5560" h="516341">
                    <a:moveTo>
                      <a:pt x="1507780" y="0"/>
                    </a:moveTo>
                    <a:cubicBezTo>
                      <a:pt x="2340504" y="0"/>
                      <a:pt x="3015560" y="170982"/>
                      <a:pt x="3015560" y="381900"/>
                    </a:cubicBezTo>
                    <a:cubicBezTo>
                      <a:pt x="3015560" y="408265"/>
                      <a:pt x="3005012" y="434006"/>
                      <a:pt x="2984928" y="458866"/>
                    </a:cubicBezTo>
                    <a:lnTo>
                      <a:pt x="2914489" y="516341"/>
                    </a:lnTo>
                    <a:lnTo>
                      <a:pt x="2897071" y="502129"/>
                    </a:lnTo>
                    <a:cubicBezTo>
                      <a:pt x="2668178" y="365060"/>
                      <a:pt x="2132323" y="268882"/>
                      <a:pt x="1507780" y="268882"/>
                    </a:cubicBezTo>
                    <a:cubicBezTo>
                      <a:pt x="883237" y="268882"/>
                      <a:pt x="347382" y="365060"/>
                      <a:pt x="118489" y="502129"/>
                    </a:cubicBezTo>
                    <a:lnTo>
                      <a:pt x="101071" y="516341"/>
                    </a:lnTo>
                    <a:lnTo>
                      <a:pt x="30633" y="458866"/>
                    </a:lnTo>
                    <a:cubicBezTo>
                      <a:pt x="10548" y="434006"/>
                      <a:pt x="0" y="408265"/>
                      <a:pt x="0" y="381900"/>
                    </a:cubicBezTo>
                    <a:cubicBezTo>
                      <a:pt x="0" y="170982"/>
                      <a:pt x="675056" y="0"/>
                      <a:pt x="1507780" y="0"/>
                    </a:cubicBez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17" name="Freeform: Shape 16"/>
              <p:cNvSpPr/>
              <p:nvPr/>
            </p:nvSpPr>
            <p:spPr>
              <a:xfrm>
                <a:off x="1910951" y="2990493"/>
                <a:ext cx="3586698" cy="918566"/>
              </a:xfrm>
              <a:custGeom>
                <a:avLst/>
                <a:gdLst>
                  <a:gd name="connsiteX0" fmla="*/ 1793349 w 3586698"/>
                  <a:gd name="connsiteY0" fmla="*/ 119131 h 918566"/>
                  <a:gd name="connsiteX1" fmla="*/ 300810 w 3586698"/>
                  <a:gd name="connsiteY1" fmla="*/ 459283 h 918566"/>
                  <a:gd name="connsiteX2" fmla="*/ 1793349 w 3586698"/>
                  <a:gd name="connsiteY2" fmla="*/ 799435 h 918566"/>
                  <a:gd name="connsiteX3" fmla="*/ 3285888 w 3586698"/>
                  <a:gd name="connsiteY3" fmla="*/ 459283 h 918566"/>
                  <a:gd name="connsiteX4" fmla="*/ 1793349 w 3586698"/>
                  <a:gd name="connsiteY4" fmla="*/ 119131 h 918566"/>
                  <a:gd name="connsiteX5" fmla="*/ 1793349 w 3586698"/>
                  <a:gd name="connsiteY5" fmla="*/ 0 h 918566"/>
                  <a:gd name="connsiteX6" fmla="*/ 3586698 w 3586698"/>
                  <a:gd name="connsiteY6" fmla="*/ 459283 h 918566"/>
                  <a:gd name="connsiteX7" fmla="*/ 1793349 w 3586698"/>
                  <a:gd name="connsiteY7" fmla="*/ 918566 h 918566"/>
                  <a:gd name="connsiteX8" fmla="*/ 0 w 3586698"/>
                  <a:gd name="connsiteY8" fmla="*/ 459283 h 918566"/>
                  <a:gd name="connsiteX9" fmla="*/ 1793349 w 3586698"/>
                  <a:gd name="connsiteY9" fmla="*/ 0 h 91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6698" h="918566">
                    <a:moveTo>
                      <a:pt x="1793349" y="119131"/>
                    </a:moveTo>
                    <a:cubicBezTo>
                      <a:pt x="969042" y="119131"/>
                      <a:pt x="300810" y="271422"/>
                      <a:pt x="300810" y="459283"/>
                    </a:cubicBezTo>
                    <a:cubicBezTo>
                      <a:pt x="300810" y="647144"/>
                      <a:pt x="969042" y="799435"/>
                      <a:pt x="1793349" y="799435"/>
                    </a:cubicBezTo>
                    <a:cubicBezTo>
                      <a:pt x="2617656" y="799435"/>
                      <a:pt x="3285888" y="647144"/>
                      <a:pt x="3285888" y="459283"/>
                    </a:cubicBezTo>
                    <a:cubicBezTo>
                      <a:pt x="3285888" y="271422"/>
                      <a:pt x="2617656" y="119131"/>
                      <a:pt x="1793349" y="119131"/>
                    </a:cubicBezTo>
                    <a:close/>
                    <a:moveTo>
                      <a:pt x="1793349" y="0"/>
                    </a:moveTo>
                    <a:cubicBezTo>
                      <a:pt x="2783788" y="0"/>
                      <a:pt x="3586698" y="205628"/>
                      <a:pt x="3586698" y="459283"/>
                    </a:cubicBezTo>
                    <a:cubicBezTo>
                      <a:pt x="3586698" y="712938"/>
                      <a:pt x="2783788" y="918566"/>
                      <a:pt x="1793349" y="918566"/>
                    </a:cubicBezTo>
                    <a:cubicBezTo>
                      <a:pt x="802910" y="918566"/>
                      <a:pt x="0" y="712938"/>
                      <a:pt x="0" y="459283"/>
                    </a:cubicBezTo>
                    <a:cubicBezTo>
                      <a:pt x="0" y="205628"/>
                      <a:pt x="802910" y="0"/>
                      <a:pt x="179334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grpSp>
        <p:grpSp>
          <p:nvGrpSpPr>
            <p:cNvPr id="11" name="Group 10"/>
            <p:cNvGrpSpPr/>
            <p:nvPr/>
          </p:nvGrpSpPr>
          <p:grpSpPr>
            <a:xfrm>
              <a:off x="4302651" y="2584100"/>
              <a:ext cx="3586698" cy="1158490"/>
              <a:chOff x="1910951" y="2990493"/>
              <a:chExt cx="3586698" cy="1158490"/>
            </a:xfrm>
          </p:grpSpPr>
          <p:sp>
            <p:nvSpPr>
              <p:cNvPr id="12" name="Freeform: Shape 11"/>
              <p:cNvSpPr/>
              <p:nvPr/>
            </p:nvSpPr>
            <p:spPr>
              <a:xfrm>
                <a:off x="1910951" y="3385184"/>
                <a:ext cx="3586698" cy="763799"/>
              </a:xfrm>
              <a:custGeom>
                <a:avLst/>
                <a:gdLst>
                  <a:gd name="connsiteX0" fmla="*/ 80010 w 3586698"/>
                  <a:gd name="connsiteY0" fmla="*/ 0 h 763799"/>
                  <a:gd name="connsiteX1" fmla="*/ 160020 w 3586698"/>
                  <a:gd name="connsiteY1" fmla="*/ 80010 h 763799"/>
                  <a:gd name="connsiteX2" fmla="*/ 160020 w 3586698"/>
                  <a:gd name="connsiteY2" fmla="*/ 216690 h 763799"/>
                  <a:gd name="connsiteX3" fmla="*/ 409514 w 3586698"/>
                  <a:gd name="connsiteY3" fmla="*/ 316343 h 763799"/>
                  <a:gd name="connsiteX4" fmla="*/ 1793349 w 3586698"/>
                  <a:gd name="connsiteY4" fmla="*/ 474495 h 763799"/>
                  <a:gd name="connsiteX5" fmla="*/ 3177184 w 3586698"/>
                  <a:gd name="connsiteY5" fmla="*/ 316343 h 763799"/>
                  <a:gd name="connsiteX6" fmla="*/ 3426678 w 3586698"/>
                  <a:gd name="connsiteY6" fmla="*/ 216690 h 763799"/>
                  <a:gd name="connsiteX7" fmla="*/ 3426678 w 3586698"/>
                  <a:gd name="connsiteY7" fmla="*/ 80010 h 763799"/>
                  <a:gd name="connsiteX8" fmla="*/ 3506688 w 3586698"/>
                  <a:gd name="connsiteY8" fmla="*/ 0 h 763799"/>
                  <a:gd name="connsiteX9" fmla="*/ 3586698 w 3586698"/>
                  <a:gd name="connsiteY9" fmla="*/ 80010 h 763799"/>
                  <a:gd name="connsiteX10" fmla="*/ 3586698 w 3586698"/>
                  <a:gd name="connsiteY10" fmla="*/ 329206 h 763799"/>
                  <a:gd name="connsiteX11" fmla="*/ 3586698 w 3586698"/>
                  <a:gd name="connsiteY11" fmla="*/ 337185 h 763799"/>
                  <a:gd name="connsiteX12" fmla="*/ 3563264 w 3586698"/>
                  <a:gd name="connsiteY12" fmla="*/ 393761 h 763799"/>
                  <a:gd name="connsiteX13" fmla="*/ 3558512 w 3586698"/>
                  <a:gd name="connsiteY13" fmla="*/ 396965 h 763799"/>
                  <a:gd name="connsiteX14" fmla="*/ 3550264 w 3586698"/>
                  <a:gd name="connsiteY14" fmla="*/ 416792 h 763799"/>
                  <a:gd name="connsiteX15" fmla="*/ 1793349 w 3586698"/>
                  <a:gd name="connsiteY15" fmla="*/ 763799 h 763799"/>
                  <a:gd name="connsiteX16" fmla="*/ 36435 w 3586698"/>
                  <a:gd name="connsiteY16" fmla="*/ 416792 h 763799"/>
                  <a:gd name="connsiteX17" fmla="*/ 28187 w 3586698"/>
                  <a:gd name="connsiteY17" fmla="*/ 396965 h 763799"/>
                  <a:gd name="connsiteX18" fmla="*/ 23435 w 3586698"/>
                  <a:gd name="connsiteY18" fmla="*/ 393761 h 763799"/>
                  <a:gd name="connsiteX19" fmla="*/ 0 w 3586698"/>
                  <a:gd name="connsiteY19" fmla="*/ 337185 h 763799"/>
                  <a:gd name="connsiteX20" fmla="*/ 0 w 3586698"/>
                  <a:gd name="connsiteY20" fmla="*/ 80010 h 763799"/>
                  <a:gd name="connsiteX21" fmla="*/ 80010 w 3586698"/>
                  <a:gd name="connsiteY21" fmla="*/ 0 h 763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86698" h="763799">
                    <a:moveTo>
                      <a:pt x="80010" y="0"/>
                    </a:moveTo>
                    <a:cubicBezTo>
                      <a:pt x="124198" y="0"/>
                      <a:pt x="160020" y="35822"/>
                      <a:pt x="160020" y="80010"/>
                    </a:cubicBezTo>
                    <a:lnTo>
                      <a:pt x="160020" y="216690"/>
                    </a:lnTo>
                    <a:lnTo>
                      <a:pt x="409514" y="316343"/>
                    </a:lnTo>
                    <a:cubicBezTo>
                      <a:pt x="738441" y="412931"/>
                      <a:pt x="1236227" y="474495"/>
                      <a:pt x="1793349" y="474495"/>
                    </a:cubicBezTo>
                    <a:cubicBezTo>
                      <a:pt x="2350471" y="474495"/>
                      <a:pt x="2848258" y="412931"/>
                      <a:pt x="3177184" y="316343"/>
                    </a:cubicBezTo>
                    <a:lnTo>
                      <a:pt x="3426678" y="216690"/>
                    </a:lnTo>
                    <a:lnTo>
                      <a:pt x="3426678" y="80010"/>
                    </a:lnTo>
                    <a:cubicBezTo>
                      <a:pt x="3426678" y="35822"/>
                      <a:pt x="3462500" y="0"/>
                      <a:pt x="3506688" y="0"/>
                    </a:cubicBezTo>
                    <a:cubicBezTo>
                      <a:pt x="3550876" y="0"/>
                      <a:pt x="3586698" y="35822"/>
                      <a:pt x="3586698" y="80010"/>
                    </a:cubicBezTo>
                    <a:lnTo>
                      <a:pt x="3586698" y="329206"/>
                    </a:lnTo>
                    <a:lnTo>
                      <a:pt x="3586698" y="337185"/>
                    </a:lnTo>
                    <a:cubicBezTo>
                      <a:pt x="3586698" y="359279"/>
                      <a:pt x="3577743" y="379282"/>
                      <a:pt x="3563264" y="393761"/>
                    </a:cubicBezTo>
                    <a:lnTo>
                      <a:pt x="3558512" y="396965"/>
                    </a:lnTo>
                    <a:lnTo>
                      <a:pt x="3550264" y="416792"/>
                    </a:lnTo>
                    <a:cubicBezTo>
                      <a:pt x="3383040" y="614828"/>
                      <a:pt x="2659983" y="763799"/>
                      <a:pt x="1793349" y="763799"/>
                    </a:cubicBezTo>
                    <a:cubicBezTo>
                      <a:pt x="926715" y="763799"/>
                      <a:pt x="203658" y="614828"/>
                      <a:pt x="36435" y="416792"/>
                    </a:cubicBezTo>
                    <a:lnTo>
                      <a:pt x="28187" y="396965"/>
                    </a:lnTo>
                    <a:lnTo>
                      <a:pt x="23435" y="393761"/>
                    </a:lnTo>
                    <a:cubicBezTo>
                      <a:pt x="8956" y="379282"/>
                      <a:pt x="0" y="359279"/>
                      <a:pt x="0" y="337185"/>
                    </a:cubicBezTo>
                    <a:lnTo>
                      <a:pt x="0" y="80010"/>
                    </a:lnTo>
                    <a:cubicBezTo>
                      <a:pt x="0" y="35822"/>
                      <a:pt x="35822" y="0"/>
                      <a:pt x="80010" y="0"/>
                    </a:cubicBezTo>
                    <a:close/>
                  </a:path>
                </a:pathLst>
              </a:cu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13" name="Freeform: Shape 12"/>
              <p:cNvSpPr/>
              <p:nvPr/>
            </p:nvSpPr>
            <p:spPr>
              <a:xfrm>
                <a:off x="2196520" y="3058539"/>
                <a:ext cx="3015560" cy="516341"/>
              </a:xfrm>
              <a:custGeom>
                <a:avLst/>
                <a:gdLst>
                  <a:gd name="connsiteX0" fmla="*/ 1507780 w 3015560"/>
                  <a:gd name="connsiteY0" fmla="*/ 0 h 516341"/>
                  <a:gd name="connsiteX1" fmla="*/ 3015560 w 3015560"/>
                  <a:gd name="connsiteY1" fmla="*/ 381900 h 516341"/>
                  <a:gd name="connsiteX2" fmla="*/ 2984928 w 3015560"/>
                  <a:gd name="connsiteY2" fmla="*/ 458866 h 516341"/>
                  <a:gd name="connsiteX3" fmla="*/ 2914489 w 3015560"/>
                  <a:gd name="connsiteY3" fmla="*/ 516341 h 516341"/>
                  <a:gd name="connsiteX4" fmla="*/ 2897071 w 3015560"/>
                  <a:gd name="connsiteY4" fmla="*/ 502129 h 516341"/>
                  <a:gd name="connsiteX5" fmla="*/ 1507780 w 3015560"/>
                  <a:gd name="connsiteY5" fmla="*/ 268882 h 516341"/>
                  <a:gd name="connsiteX6" fmla="*/ 118489 w 3015560"/>
                  <a:gd name="connsiteY6" fmla="*/ 502129 h 516341"/>
                  <a:gd name="connsiteX7" fmla="*/ 101071 w 3015560"/>
                  <a:gd name="connsiteY7" fmla="*/ 516341 h 516341"/>
                  <a:gd name="connsiteX8" fmla="*/ 30633 w 3015560"/>
                  <a:gd name="connsiteY8" fmla="*/ 458866 h 516341"/>
                  <a:gd name="connsiteX9" fmla="*/ 0 w 3015560"/>
                  <a:gd name="connsiteY9" fmla="*/ 381900 h 516341"/>
                  <a:gd name="connsiteX10" fmla="*/ 1507780 w 3015560"/>
                  <a:gd name="connsiteY10" fmla="*/ 0 h 516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15560" h="516341">
                    <a:moveTo>
                      <a:pt x="1507780" y="0"/>
                    </a:moveTo>
                    <a:cubicBezTo>
                      <a:pt x="2340504" y="0"/>
                      <a:pt x="3015560" y="170982"/>
                      <a:pt x="3015560" y="381900"/>
                    </a:cubicBezTo>
                    <a:cubicBezTo>
                      <a:pt x="3015560" y="408265"/>
                      <a:pt x="3005012" y="434006"/>
                      <a:pt x="2984928" y="458866"/>
                    </a:cubicBezTo>
                    <a:lnTo>
                      <a:pt x="2914489" y="516341"/>
                    </a:lnTo>
                    <a:lnTo>
                      <a:pt x="2897071" y="502129"/>
                    </a:lnTo>
                    <a:cubicBezTo>
                      <a:pt x="2668178" y="365060"/>
                      <a:pt x="2132323" y="268882"/>
                      <a:pt x="1507780" y="268882"/>
                    </a:cubicBezTo>
                    <a:cubicBezTo>
                      <a:pt x="883237" y="268882"/>
                      <a:pt x="347382" y="365060"/>
                      <a:pt x="118489" y="502129"/>
                    </a:cubicBezTo>
                    <a:lnTo>
                      <a:pt x="101071" y="516341"/>
                    </a:lnTo>
                    <a:lnTo>
                      <a:pt x="30633" y="458866"/>
                    </a:lnTo>
                    <a:cubicBezTo>
                      <a:pt x="10548" y="434006"/>
                      <a:pt x="0" y="408265"/>
                      <a:pt x="0" y="381900"/>
                    </a:cubicBezTo>
                    <a:cubicBezTo>
                      <a:pt x="0" y="170982"/>
                      <a:pt x="675056" y="0"/>
                      <a:pt x="1507780" y="0"/>
                    </a:cubicBezTo>
                    <a:close/>
                  </a:path>
                </a:pathLst>
              </a:cu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14" name="Freeform: Shape 13"/>
              <p:cNvSpPr/>
              <p:nvPr/>
            </p:nvSpPr>
            <p:spPr>
              <a:xfrm>
                <a:off x="1910951" y="2990493"/>
                <a:ext cx="3586698" cy="918566"/>
              </a:xfrm>
              <a:custGeom>
                <a:avLst/>
                <a:gdLst>
                  <a:gd name="connsiteX0" fmla="*/ 1793349 w 3586698"/>
                  <a:gd name="connsiteY0" fmla="*/ 119131 h 918566"/>
                  <a:gd name="connsiteX1" fmla="*/ 300810 w 3586698"/>
                  <a:gd name="connsiteY1" fmla="*/ 459283 h 918566"/>
                  <a:gd name="connsiteX2" fmla="*/ 1793349 w 3586698"/>
                  <a:gd name="connsiteY2" fmla="*/ 799435 h 918566"/>
                  <a:gd name="connsiteX3" fmla="*/ 3285888 w 3586698"/>
                  <a:gd name="connsiteY3" fmla="*/ 459283 h 918566"/>
                  <a:gd name="connsiteX4" fmla="*/ 1793349 w 3586698"/>
                  <a:gd name="connsiteY4" fmla="*/ 119131 h 918566"/>
                  <a:gd name="connsiteX5" fmla="*/ 1793349 w 3586698"/>
                  <a:gd name="connsiteY5" fmla="*/ 0 h 918566"/>
                  <a:gd name="connsiteX6" fmla="*/ 3586698 w 3586698"/>
                  <a:gd name="connsiteY6" fmla="*/ 459283 h 918566"/>
                  <a:gd name="connsiteX7" fmla="*/ 1793349 w 3586698"/>
                  <a:gd name="connsiteY7" fmla="*/ 918566 h 918566"/>
                  <a:gd name="connsiteX8" fmla="*/ 0 w 3586698"/>
                  <a:gd name="connsiteY8" fmla="*/ 459283 h 918566"/>
                  <a:gd name="connsiteX9" fmla="*/ 1793349 w 3586698"/>
                  <a:gd name="connsiteY9" fmla="*/ 0 h 91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86698" h="918566">
                    <a:moveTo>
                      <a:pt x="1793349" y="119131"/>
                    </a:moveTo>
                    <a:cubicBezTo>
                      <a:pt x="969042" y="119131"/>
                      <a:pt x="300810" y="271422"/>
                      <a:pt x="300810" y="459283"/>
                    </a:cubicBezTo>
                    <a:cubicBezTo>
                      <a:pt x="300810" y="647144"/>
                      <a:pt x="969042" y="799435"/>
                      <a:pt x="1793349" y="799435"/>
                    </a:cubicBezTo>
                    <a:cubicBezTo>
                      <a:pt x="2617656" y="799435"/>
                      <a:pt x="3285888" y="647144"/>
                      <a:pt x="3285888" y="459283"/>
                    </a:cubicBezTo>
                    <a:cubicBezTo>
                      <a:pt x="3285888" y="271422"/>
                      <a:pt x="2617656" y="119131"/>
                      <a:pt x="1793349" y="119131"/>
                    </a:cubicBezTo>
                    <a:close/>
                    <a:moveTo>
                      <a:pt x="1793349" y="0"/>
                    </a:moveTo>
                    <a:cubicBezTo>
                      <a:pt x="2783788" y="0"/>
                      <a:pt x="3586698" y="205628"/>
                      <a:pt x="3586698" y="459283"/>
                    </a:cubicBezTo>
                    <a:cubicBezTo>
                      <a:pt x="3586698" y="712938"/>
                      <a:pt x="2783788" y="918566"/>
                      <a:pt x="1793349" y="918566"/>
                    </a:cubicBezTo>
                    <a:cubicBezTo>
                      <a:pt x="802910" y="918566"/>
                      <a:pt x="0" y="712938"/>
                      <a:pt x="0" y="459283"/>
                    </a:cubicBezTo>
                    <a:cubicBezTo>
                      <a:pt x="0" y="205628"/>
                      <a:pt x="802910" y="0"/>
                      <a:pt x="1793349"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grpSp>
      </p:grpSp>
      <p:sp>
        <p:nvSpPr>
          <p:cNvPr id="30" name="TextBox 2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3341402" y="838200"/>
            <a:ext cx="5509196" cy="707886"/>
          </a:xfrm>
          <a:prstGeom prst="rect">
            <a:avLst/>
          </a:prstGeom>
          <a:noFill/>
        </p:spPr>
        <p:txBody>
          <a:bodyPr wrap="square" rtlCol="0">
            <a:spAutoFit/>
          </a:bodyPr>
          <a:lstStyle/>
          <a:p>
            <a:pPr algn="ctr"/>
            <a:r>
              <a:rPr lang="en-US" sz="4000" b="1" dirty="0">
                <a:solidFill>
                  <a:schemeClr val="tx1">
                    <a:lumMod val="85000"/>
                    <a:lumOff val="15000"/>
                  </a:schemeClr>
                </a:solidFill>
                <a:latin typeface="Calibri"/>
                <a:ea typeface="微软雅黑"/>
                <a:cs typeface="+mn-ea"/>
                <a:sym typeface="Calibri"/>
              </a:rPr>
              <a:t>Our Project </a:t>
            </a:r>
            <a:r>
              <a:rPr lang="en-US" sz="4000" b="1" dirty="0">
                <a:gradFill flip="none" rotWithShape="1">
                  <a:gsLst>
                    <a:gs pos="21000">
                      <a:srgbClr val="E64B8D"/>
                    </a:gs>
                    <a:gs pos="100000">
                      <a:schemeClr val="accent1"/>
                    </a:gs>
                  </a:gsLst>
                  <a:lin ang="18900000" scaled="1"/>
                  <a:tileRect/>
                </a:gradFill>
                <a:latin typeface="Calibri"/>
                <a:ea typeface="微软雅黑"/>
                <a:cs typeface="+mn-ea"/>
                <a:sym typeface="Calibri"/>
              </a:rPr>
              <a:t>Detail</a:t>
            </a:r>
          </a:p>
        </p:txBody>
      </p:sp>
      <p:grpSp>
        <p:nvGrpSpPr>
          <p:cNvPr id="32" name="Group 3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850598" y="2105144"/>
            <a:ext cx="2011324" cy="862304"/>
            <a:chOff x="950659" y="4174725"/>
            <a:chExt cx="2324952" cy="862304"/>
          </a:xfrm>
        </p:grpSpPr>
        <p:sp>
          <p:nvSpPr>
            <p:cNvPr id="33" name="TextBox 32"/>
            <p:cNvSpPr txBox="1"/>
            <p:nvPr/>
          </p:nvSpPr>
          <p:spPr>
            <a:xfrm>
              <a:off x="950659" y="4174725"/>
              <a:ext cx="1876425" cy="276999"/>
            </a:xfrm>
            <a:prstGeom prst="rect">
              <a:avLst/>
            </a:prstGeom>
            <a:noFill/>
          </p:spPr>
          <p:txBody>
            <a:bodyPr wrap="square" rtlCol="0">
              <a:spAutoFit/>
            </a:bodyPr>
            <a:lstStyle/>
            <a:p>
              <a:r>
                <a:rPr lang="en-US" sz="1200" dirty="0">
                  <a:solidFill>
                    <a:schemeClr val="tx1">
                      <a:lumMod val="85000"/>
                      <a:lumOff val="15000"/>
                    </a:schemeClr>
                  </a:solidFill>
                  <a:latin typeface="Calibri"/>
                  <a:ea typeface="微软雅黑"/>
                  <a:cs typeface="+mn-ea"/>
                  <a:sym typeface="Calibri"/>
                </a:rPr>
                <a:t>Description </a:t>
              </a:r>
            </a:p>
          </p:txBody>
        </p:sp>
        <p:sp>
          <p:nvSpPr>
            <p:cNvPr id="34" name="TextBox 33"/>
            <p:cNvSpPr txBox="1"/>
            <p:nvPr/>
          </p:nvSpPr>
          <p:spPr>
            <a:xfrm>
              <a:off x="950659" y="4506884"/>
              <a:ext cx="2324952" cy="530145"/>
            </a:xfrm>
            <a:prstGeom prst="rect">
              <a:avLst/>
            </a:prstGeom>
            <a:noFill/>
          </p:spPr>
          <p:txBody>
            <a:bodyPr wrap="square" rtlCol="0">
              <a:spAutoFit/>
            </a:bodyPr>
            <a:lstStyle/>
            <a:p>
              <a:pPr>
                <a:lnSpc>
                  <a:spcPct val="150000"/>
                </a:lnSpc>
              </a:pPr>
              <a:r>
                <a:rPr lang="en-US" sz="1000" dirty="0">
                  <a:solidFill>
                    <a:schemeClr val="tx1">
                      <a:lumMod val="65000"/>
                      <a:lumOff val="35000"/>
                    </a:schemeClr>
                  </a:solidFill>
                  <a:latin typeface="Calibri"/>
                  <a:ea typeface="微软雅黑"/>
                  <a:cs typeface="+mn-ea"/>
                  <a:sym typeface="Calibri"/>
                </a:rPr>
                <a:t>A wonderful serenity has taken possession of my entire soul.</a:t>
              </a:r>
            </a:p>
          </p:txBody>
        </p:sp>
      </p:grpSp>
      <p:grpSp>
        <p:nvGrpSpPr>
          <p:cNvPr id="35" name="Group 3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341594" y="2105144"/>
            <a:ext cx="2011324" cy="862304"/>
            <a:chOff x="950659" y="4174725"/>
            <a:chExt cx="2324952" cy="862304"/>
          </a:xfrm>
        </p:grpSpPr>
        <p:sp>
          <p:nvSpPr>
            <p:cNvPr id="36" name="TextBox 35"/>
            <p:cNvSpPr txBox="1"/>
            <p:nvPr/>
          </p:nvSpPr>
          <p:spPr>
            <a:xfrm>
              <a:off x="1399186" y="4174725"/>
              <a:ext cx="1876425" cy="276999"/>
            </a:xfrm>
            <a:prstGeom prst="rect">
              <a:avLst/>
            </a:prstGeom>
            <a:noFill/>
          </p:spPr>
          <p:txBody>
            <a:bodyPr wrap="square" rtlCol="0">
              <a:spAutoFit/>
            </a:bodyPr>
            <a:lstStyle/>
            <a:p>
              <a:pPr algn="r"/>
              <a:r>
                <a:rPr lang="en-US" sz="1200" dirty="0">
                  <a:solidFill>
                    <a:schemeClr val="tx1">
                      <a:lumMod val="85000"/>
                      <a:lumOff val="15000"/>
                    </a:schemeClr>
                  </a:solidFill>
                  <a:latin typeface="Calibri"/>
                  <a:ea typeface="微软雅黑"/>
                  <a:cs typeface="+mn-ea"/>
                  <a:sym typeface="Calibri"/>
                </a:rPr>
                <a:t>Description </a:t>
              </a:r>
            </a:p>
          </p:txBody>
        </p:sp>
        <p:sp>
          <p:nvSpPr>
            <p:cNvPr id="37" name="TextBox 36"/>
            <p:cNvSpPr txBox="1"/>
            <p:nvPr/>
          </p:nvSpPr>
          <p:spPr>
            <a:xfrm>
              <a:off x="950659" y="4506884"/>
              <a:ext cx="2324952" cy="530145"/>
            </a:xfrm>
            <a:prstGeom prst="rect">
              <a:avLst/>
            </a:prstGeom>
            <a:noFill/>
          </p:spPr>
          <p:txBody>
            <a:bodyPr wrap="square" rtlCol="0">
              <a:spAutoFit/>
            </a:bodyPr>
            <a:lstStyle/>
            <a:p>
              <a:pPr algn="r">
                <a:lnSpc>
                  <a:spcPct val="150000"/>
                </a:lnSpc>
              </a:pPr>
              <a:r>
                <a:rPr lang="en-US" sz="1000" dirty="0">
                  <a:solidFill>
                    <a:schemeClr val="tx1">
                      <a:lumMod val="65000"/>
                      <a:lumOff val="35000"/>
                    </a:schemeClr>
                  </a:solidFill>
                  <a:latin typeface="Calibri"/>
                  <a:ea typeface="微软雅黑"/>
                  <a:cs typeface="+mn-ea"/>
                  <a:sym typeface="Calibri"/>
                </a:rPr>
                <a:t>A wonderful serenity has taken possession of my entire soul.</a:t>
              </a:r>
            </a:p>
          </p:txBody>
        </p:sp>
      </p:grpSp>
      <p:grpSp>
        <p:nvGrpSpPr>
          <p:cNvPr id="44" name="Group 4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404166" y="3429925"/>
            <a:ext cx="2011324" cy="862304"/>
            <a:chOff x="950659" y="4174725"/>
            <a:chExt cx="2324952" cy="862304"/>
          </a:xfrm>
        </p:grpSpPr>
        <p:sp>
          <p:nvSpPr>
            <p:cNvPr id="45" name="TextBox 44"/>
            <p:cNvSpPr txBox="1"/>
            <p:nvPr/>
          </p:nvSpPr>
          <p:spPr>
            <a:xfrm>
              <a:off x="950659" y="4174725"/>
              <a:ext cx="1876425" cy="276999"/>
            </a:xfrm>
            <a:prstGeom prst="rect">
              <a:avLst/>
            </a:prstGeom>
            <a:noFill/>
          </p:spPr>
          <p:txBody>
            <a:bodyPr wrap="square" rtlCol="0">
              <a:spAutoFit/>
            </a:bodyPr>
            <a:lstStyle/>
            <a:p>
              <a:r>
                <a:rPr lang="en-US" sz="1200" dirty="0">
                  <a:solidFill>
                    <a:schemeClr val="tx1">
                      <a:lumMod val="85000"/>
                      <a:lumOff val="15000"/>
                    </a:schemeClr>
                  </a:solidFill>
                  <a:latin typeface="Calibri"/>
                  <a:ea typeface="微软雅黑"/>
                  <a:cs typeface="+mn-ea"/>
                  <a:sym typeface="Calibri"/>
                </a:rPr>
                <a:t>Description </a:t>
              </a:r>
            </a:p>
          </p:txBody>
        </p:sp>
        <p:sp>
          <p:nvSpPr>
            <p:cNvPr id="46" name="TextBox 45"/>
            <p:cNvSpPr txBox="1"/>
            <p:nvPr/>
          </p:nvSpPr>
          <p:spPr>
            <a:xfrm>
              <a:off x="950659" y="4506884"/>
              <a:ext cx="2324952" cy="530145"/>
            </a:xfrm>
            <a:prstGeom prst="rect">
              <a:avLst/>
            </a:prstGeom>
            <a:noFill/>
          </p:spPr>
          <p:txBody>
            <a:bodyPr wrap="square" rtlCol="0">
              <a:spAutoFit/>
            </a:bodyPr>
            <a:lstStyle/>
            <a:p>
              <a:pPr>
                <a:lnSpc>
                  <a:spcPct val="150000"/>
                </a:lnSpc>
              </a:pPr>
              <a:r>
                <a:rPr lang="en-US" sz="1000" dirty="0">
                  <a:solidFill>
                    <a:schemeClr val="tx1">
                      <a:lumMod val="65000"/>
                      <a:lumOff val="35000"/>
                    </a:schemeClr>
                  </a:solidFill>
                  <a:latin typeface="Calibri"/>
                  <a:ea typeface="微软雅黑"/>
                  <a:cs typeface="+mn-ea"/>
                  <a:sym typeface="Calibri"/>
                </a:rPr>
                <a:t>A wonderful serenity has taken possession of my entire soul.</a:t>
              </a:r>
            </a:p>
          </p:txBody>
        </p:sp>
      </p:grpSp>
      <p:grpSp>
        <p:nvGrpSpPr>
          <p:cNvPr id="47" name="Group 4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771951" y="3429925"/>
            <a:ext cx="2011324" cy="862304"/>
            <a:chOff x="950659" y="4174725"/>
            <a:chExt cx="2324952" cy="862304"/>
          </a:xfrm>
        </p:grpSpPr>
        <p:sp>
          <p:nvSpPr>
            <p:cNvPr id="48" name="TextBox 47"/>
            <p:cNvSpPr txBox="1"/>
            <p:nvPr/>
          </p:nvSpPr>
          <p:spPr>
            <a:xfrm>
              <a:off x="1399186" y="4174725"/>
              <a:ext cx="1876425" cy="276999"/>
            </a:xfrm>
            <a:prstGeom prst="rect">
              <a:avLst/>
            </a:prstGeom>
            <a:noFill/>
          </p:spPr>
          <p:txBody>
            <a:bodyPr wrap="square" rtlCol="0">
              <a:spAutoFit/>
            </a:bodyPr>
            <a:lstStyle/>
            <a:p>
              <a:pPr algn="r"/>
              <a:r>
                <a:rPr lang="en-US" sz="1200" dirty="0">
                  <a:solidFill>
                    <a:schemeClr val="tx1">
                      <a:lumMod val="85000"/>
                      <a:lumOff val="15000"/>
                    </a:schemeClr>
                  </a:solidFill>
                  <a:latin typeface="Calibri"/>
                  <a:ea typeface="微软雅黑"/>
                  <a:cs typeface="+mn-ea"/>
                  <a:sym typeface="Calibri"/>
                </a:rPr>
                <a:t>Description </a:t>
              </a:r>
            </a:p>
          </p:txBody>
        </p:sp>
        <p:sp>
          <p:nvSpPr>
            <p:cNvPr id="49" name="TextBox 48"/>
            <p:cNvSpPr txBox="1"/>
            <p:nvPr/>
          </p:nvSpPr>
          <p:spPr>
            <a:xfrm>
              <a:off x="950659" y="4506884"/>
              <a:ext cx="2324952" cy="530145"/>
            </a:xfrm>
            <a:prstGeom prst="rect">
              <a:avLst/>
            </a:prstGeom>
            <a:noFill/>
          </p:spPr>
          <p:txBody>
            <a:bodyPr wrap="square" rtlCol="0">
              <a:spAutoFit/>
            </a:bodyPr>
            <a:lstStyle/>
            <a:p>
              <a:pPr algn="r">
                <a:lnSpc>
                  <a:spcPct val="150000"/>
                </a:lnSpc>
              </a:pPr>
              <a:r>
                <a:rPr lang="en-US" sz="1000" dirty="0">
                  <a:solidFill>
                    <a:schemeClr val="tx1">
                      <a:lumMod val="65000"/>
                      <a:lumOff val="35000"/>
                    </a:schemeClr>
                  </a:solidFill>
                  <a:latin typeface="Calibri"/>
                  <a:ea typeface="微软雅黑"/>
                  <a:cs typeface="+mn-ea"/>
                  <a:sym typeface="Calibri"/>
                </a:rPr>
                <a:t>A wonderful serenity has taken possession of my entire soul.</a:t>
              </a:r>
            </a:p>
          </p:txBody>
        </p:sp>
      </p:grpSp>
      <p:grpSp>
        <p:nvGrpSpPr>
          <p:cNvPr id="50" name="Group 4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7957735" y="4754706"/>
            <a:ext cx="2011324" cy="862304"/>
            <a:chOff x="950659" y="4174725"/>
            <a:chExt cx="2324952" cy="862304"/>
          </a:xfrm>
        </p:grpSpPr>
        <p:sp>
          <p:nvSpPr>
            <p:cNvPr id="51" name="TextBox 50"/>
            <p:cNvSpPr txBox="1"/>
            <p:nvPr/>
          </p:nvSpPr>
          <p:spPr>
            <a:xfrm>
              <a:off x="950659" y="4174725"/>
              <a:ext cx="1876425" cy="276999"/>
            </a:xfrm>
            <a:prstGeom prst="rect">
              <a:avLst/>
            </a:prstGeom>
            <a:noFill/>
          </p:spPr>
          <p:txBody>
            <a:bodyPr wrap="square" rtlCol="0">
              <a:spAutoFit/>
            </a:bodyPr>
            <a:lstStyle/>
            <a:p>
              <a:r>
                <a:rPr lang="en-US" sz="1200" dirty="0">
                  <a:solidFill>
                    <a:schemeClr val="tx1">
                      <a:lumMod val="85000"/>
                      <a:lumOff val="15000"/>
                    </a:schemeClr>
                  </a:solidFill>
                  <a:latin typeface="Calibri"/>
                  <a:ea typeface="微软雅黑"/>
                  <a:cs typeface="+mn-ea"/>
                  <a:sym typeface="Calibri"/>
                </a:rPr>
                <a:t>Description </a:t>
              </a:r>
            </a:p>
          </p:txBody>
        </p:sp>
        <p:sp>
          <p:nvSpPr>
            <p:cNvPr id="52" name="TextBox 51"/>
            <p:cNvSpPr txBox="1"/>
            <p:nvPr/>
          </p:nvSpPr>
          <p:spPr>
            <a:xfrm>
              <a:off x="950659" y="4506884"/>
              <a:ext cx="2324952" cy="530145"/>
            </a:xfrm>
            <a:prstGeom prst="rect">
              <a:avLst/>
            </a:prstGeom>
            <a:noFill/>
          </p:spPr>
          <p:txBody>
            <a:bodyPr wrap="square" rtlCol="0">
              <a:spAutoFit/>
            </a:bodyPr>
            <a:lstStyle/>
            <a:p>
              <a:pPr>
                <a:lnSpc>
                  <a:spcPct val="150000"/>
                </a:lnSpc>
              </a:pPr>
              <a:r>
                <a:rPr lang="en-US" sz="1000" dirty="0">
                  <a:solidFill>
                    <a:schemeClr val="tx1">
                      <a:lumMod val="65000"/>
                      <a:lumOff val="35000"/>
                    </a:schemeClr>
                  </a:solidFill>
                  <a:latin typeface="Calibri"/>
                  <a:ea typeface="微软雅黑"/>
                  <a:cs typeface="+mn-ea"/>
                  <a:sym typeface="Calibri"/>
                </a:rPr>
                <a:t>A wonderful serenity has taken possession of my entire soul.</a:t>
              </a:r>
            </a:p>
          </p:txBody>
        </p:sp>
      </p:grpSp>
      <p:grpSp>
        <p:nvGrpSpPr>
          <p:cNvPr id="53" name="Group 5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2202307" y="4754706"/>
            <a:ext cx="2011324" cy="862304"/>
            <a:chOff x="950659" y="4174725"/>
            <a:chExt cx="2324952" cy="862304"/>
          </a:xfrm>
        </p:grpSpPr>
        <p:sp>
          <p:nvSpPr>
            <p:cNvPr id="54" name="TextBox 53"/>
            <p:cNvSpPr txBox="1"/>
            <p:nvPr/>
          </p:nvSpPr>
          <p:spPr>
            <a:xfrm>
              <a:off x="1399186" y="4174725"/>
              <a:ext cx="1876425" cy="276999"/>
            </a:xfrm>
            <a:prstGeom prst="rect">
              <a:avLst/>
            </a:prstGeom>
            <a:noFill/>
          </p:spPr>
          <p:txBody>
            <a:bodyPr wrap="square" rtlCol="0">
              <a:spAutoFit/>
            </a:bodyPr>
            <a:lstStyle/>
            <a:p>
              <a:pPr algn="r"/>
              <a:r>
                <a:rPr lang="en-US" sz="1200" dirty="0">
                  <a:solidFill>
                    <a:schemeClr val="tx1">
                      <a:lumMod val="85000"/>
                      <a:lumOff val="15000"/>
                    </a:schemeClr>
                  </a:solidFill>
                  <a:latin typeface="Calibri"/>
                  <a:ea typeface="微软雅黑"/>
                  <a:cs typeface="+mn-ea"/>
                  <a:sym typeface="Calibri"/>
                </a:rPr>
                <a:t>Description </a:t>
              </a:r>
            </a:p>
          </p:txBody>
        </p:sp>
        <p:sp>
          <p:nvSpPr>
            <p:cNvPr id="55" name="TextBox 54"/>
            <p:cNvSpPr txBox="1"/>
            <p:nvPr/>
          </p:nvSpPr>
          <p:spPr>
            <a:xfrm>
              <a:off x="950659" y="4506884"/>
              <a:ext cx="2324952" cy="530145"/>
            </a:xfrm>
            <a:prstGeom prst="rect">
              <a:avLst/>
            </a:prstGeom>
            <a:noFill/>
          </p:spPr>
          <p:txBody>
            <a:bodyPr wrap="square" rtlCol="0">
              <a:spAutoFit/>
            </a:bodyPr>
            <a:lstStyle/>
            <a:p>
              <a:pPr algn="r">
                <a:lnSpc>
                  <a:spcPct val="150000"/>
                </a:lnSpc>
              </a:pPr>
              <a:r>
                <a:rPr lang="en-US" sz="1000" dirty="0">
                  <a:solidFill>
                    <a:schemeClr val="tx1">
                      <a:lumMod val="65000"/>
                      <a:lumOff val="35000"/>
                    </a:schemeClr>
                  </a:solidFill>
                  <a:latin typeface="Calibri"/>
                  <a:ea typeface="微软雅黑"/>
                  <a:cs typeface="+mn-ea"/>
                  <a:sym typeface="Calibri"/>
                </a:rPr>
                <a:t>A wonderful serenity has taken possession of my entire soul.</a:t>
              </a:r>
            </a:p>
          </p:txBody>
        </p:sp>
      </p:grpSp>
      <p:pic>
        <p:nvPicPr>
          <p:cNvPr id="2" name="图片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3830" y="4771246"/>
            <a:ext cx="1004086" cy="735477"/>
          </a:xfrm>
          <a:prstGeom prst="rect">
            <a:avLst/>
          </a:prstGeom>
        </p:spPr>
      </p:pic>
      <p:pic>
        <p:nvPicPr>
          <p:cNvPr id="3" name="图片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969059" y="1191438"/>
            <a:ext cx="1029668" cy="1036063"/>
          </a:xfrm>
          <a:prstGeom prst="rect">
            <a:avLst/>
          </a:prstGeom>
        </p:spPr>
      </p:pic>
      <p:sp>
        <p:nvSpPr>
          <p:cNvPr id="4"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6282433" y="1700980"/>
            <a:ext cx="3793830" cy="3834581"/>
            <a:chOff x="2605961" y="2869189"/>
            <a:chExt cx="5178796" cy="5234424"/>
          </a:xfrm>
        </p:grpSpPr>
        <p:grpSp>
          <p:nvGrpSpPr>
            <p:cNvPr id="3" name="Group 2"/>
            <p:cNvGrpSpPr/>
            <p:nvPr/>
          </p:nvGrpSpPr>
          <p:grpSpPr>
            <a:xfrm>
              <a:off x="2605961" y="2869189"/>
              <a:ext cx="5178796" cy="5234424"/>
              <a:chOff x="7839247" y="4079691"/>
              <a:chExt cx="4327525" cy="4374010"/>
            </a:xfrm>
          </p:grpSpPr>
          <p:sp>
            <p:nvSpPr>
              <p:cNvPr id="7" name="Freeform 48"/>
              <p:cNvSpPr/>
              <p:nvPr/>
            </p:nvSpPr>
            <p:spPr bwMode="auto">
              <a:xfrm>
                <a:off x="8107056" y="5470825"/>
                <a:ext cx="1088044" cy="830320"/>
              </a:xfrm>
              <a:custGeom>
                <a:avLst/>
                <a:gdLst>
                  <a:gd name="T0" fmla="*/ 0 w 971"/>
                  <a:gd name="T1" fmla="*/ 74 h 741"/>
                  <a:gd name="T2" fmla="*/ 653 w 971"/>
                  <a:gd name="T3" fmla="*/ 0 h 741"/>
                  <a:gd name="T4" fmla="*/ 971 w 971"/>
                  <a:gd name="T5" fmla="*/ 384 h 741"/>
                  <a:gd name="T6" fmla="*/ 403 w 971"/>
                  <a:gd name="T7" fmla="*/ 741 h 741"/>
                  <a:gd name="T8" fmla="*/ 133 w 971"/>
                  <a:gd name="T9" fmla="*/ 566 h 741"/>
                  <a:gd name="T10" fmla="*/ 0 w 971"/>
                  <a:gd name="T11" fmla="*/ 74 h 741"/>
                </a:gdLst>
                <a:ahLst/>
                <a:cxnLst>
                  <a:cxn ang="0">
                    <a:pos x="T0" y="T1"/>
                  </a:cxn>
                  <a:cxn ang="0">
                    <a:pos x="T2" y="T3"/>
                  </a:cxn>
                  <a:cxn ang="0">
                    <a:pos x="T4" y="T5"/>
                  </a:cxn>
                  <a:cxn ang="0">
                    <a:pos x="T6" y="T7"/>
                  </a:cxn>
                  <a:cxn ang="0">
                    <a:pos x="T8" y="T9"/>
                  </a:cxn>
                  <a:cxn ang="0">
                    <a:pos x="T10" y="T11"/>
                  </a:cxn>
                </a:cxnLst>
                <a:rect l="0" t="0" r="r" b="b"/>
                <a:pathLst>
                  <a:path w="971" h="741">
                    <a:moveTo>
                      <a:pt x="0" y="74"/>
                    </a:moveTo>
                    <a:lnTo>
                      <a:pt x="653" y="0"/>
                    </a:lnTo>
                    <a:lnTo>
                      <a:pt x="971" y="384"/>
                    </a:lnTo>
                    <a:lnTo>
                      <a:pt x="403" y="741"/>
                    </a:lnTo>
                    <a:lnTo>
                      <a:pt x="133" y="566"/>
                    </a:lnTo>
                    <a:lnTo>
                      <a:pt x="0" y="74"/>
                    </a:lnTo>
                    <a:close/>
                  </a:path>
                </a:pathLst>
              </a:custGeom>
              <a:solidFill>
                <a:schemeClr val="accent1">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8" name="Freeform 49"/>
              <p:cNvSpPr/>
              <p:nvPr/>
            </p:nvSpPr>
            <p:spPr bwMode="auto">
              <a:xfrm>
                <a:off x="8396156" y="5532454"/>
                <a:ext cx="665601" cy="440372"/>
              </a:xfrm>
              <a:custGeom>
                <a:avLst/>
                <a:gdLst>
                  <a:gd name="T0" fmla="*/ 36 w 594"/>
                  <a:gd name="T1" fmla="*/ 393 h 393"/>
                  <a:gd name="T2" fmla="*/ 594 w 594"/>
                  <a:gd name="T3" fmla="*/ 331 h 393"/>
                  <a:gd name="T4" fmla="*/ 407 w 594"/>
                  <a:gd name="T5" fmla="*/ 80 h 393"/>
                  <a:gd name="T6" fmla="*/ 152 w 594"/>
                  <a:gd name="T7" fmla="*/ 0 h 393"/>
                  <a:gd name="T8" fmla="*/ 0 w 594"/>
                  <a:gd name="T9" fmla="*/ 42 h 393"/>
                  <a:gd name="T10" fmla="*/ 0 w 594"/>
                  <a:gd name="T11" fmla="*/ 246 h 393"/>
                  <a:gd name="T12" fmla="*/ 36 w 594"/>
                  <a:gd name="T13" fmla="*/ 393 h 393"/>
                </a:gdLst>
                <a:ahLst/>
                <a:cxnLst>
                  <a:cxn ang="0">
                    <a:pos x="T0" y="T1"/>
                  </a:cxn>
                  <a:cxn ang="0">
                    <a:pos x="T2" y="T3"/>
                  </a:cxn>
                  <a:cxn ang="0">
                    <a:pos x="T4" y="T5"/>
                  </a:cxn>
                  <a:cxn ang="0">
                    <a:pos x="T6" y="T7"/>
                  </a:cxn>
                  <a:cxn ang="0">
                    <a:pos x="T8" y="T9"/>
                  </a:cxn>
                  <a:cxn ang="0">
                    <a:pos x="T10" y="T11"/>
                  </a:cxn>
                  <a:cxn ang="0">
                    <a:pos x="T12" y="T13"/>
                  </a:cxn>
                </a:cxnLst>
                <a:rect l="0" t="0" r="r" b="b"/>
                <a:pathLst>
                  <a:path w="594" h="393">
                    <a:moveTo>
                      <a:pt x="36" y="393"/>
                    </a:moveTo>
                    <a:lnTo>
                      <a:pt x="594" y="331"/>
                    </a:lnTo>
                    <a:lnTo>
                      <a:pt x="407" y="80"/>
                    </a:lnTo>
                    <a:lnTo>
                      <a:pt x="152" y="0"/>
                    </a:lnTo>
                    <a:lnTo>
                      <a:pt x="0" y="42"/>
                    </a:lnTo>
                    <a:lnTo>
                      <a:pt x="0" y="246"/>
                    </a:lnTo>
                    <a:lnTo>
                      <a:pt x="36" y="393"/>
                    </a:lnTo>
                    <a:close/>
                  </a:path>
                </a:pathLst>
              </a:custGeom>
              <a:solidFill>
                <a:schemeClr val="bg1">
                  <a:lumMod val="50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9" name="Freeform 50"/>
              <p:cNvSpPr/>
              <p:nvPr/>
            </p:nvSpPr>
            <p:spPr bwMode="auto">
              <a:xfrm>
                <a:off x="8182132" y="6399752"/>
                <a:ext cx="596127" cy="930048"/>
              </a:xfrm>
              <a:custGeom>
                <a:avLst/>
                <a:gdLst>
                  <a:gd name="T0" fmla="*/ 55 w 225"/>
                  <a:gd name="T1" fmla="*/ 351 h 351"/>
                  <a:gd name="T2" fmla="*/ 210 w 225"/>
                  <a:gd name="T3" fmla="*/ 304 h 351"/>
                  <a:gd name="T4" fmla="*/ 225 w 225"/>
                  <a:gd name="T5" fmla="*/ 70 h 351"/>
                  <a:gd name="T6" fmla="*/ 163 w 225"/>
                  <a:gd name="T7" fmla="*/ 0 h 351"/>
                  <a:gd name="T8" fmla="*/ 36 w 225"/>
                  <a:gd name="T9" fmla="*/ 84 h 351"/>
                  <a:gd name="T10" fmla="*/ 0 w 225"/>
                  <a:gd name="T11" fmla="*/ 200 h 351"/>
                  <a:gd name="T12" fmla="*/ 55 w 225"/>
                  <a:gd name="T13" fmla="*/ 351 h 351"/>
                </a:gdLst>
                <a:ahLst/>
                <a:cxnLst>
                  <a:cxn ang="0">
                    <a:pos x="T0" y="T1"/>
                  </a:cxn>
                  <a:cxn ang="0">
                    <a:pos x="T2" y="T3"/>
                  </a:cxn>
                  <a:cxn ang="0">
                    <a:pos x="T4" y="T5"/>
                  </a:cxn>
                  <a:cxn ang="0">
                    <a:pos x="T6" y="T7"/>
                  </a:cxn>
                  <a:cxn ang="0">
                    <a:pos x="T8" y="T9"/>
                  </a:cxn>
                  <a:cxn ang="0">
                    <a:pos x="T10" y="T11"/>
                  </a:cxn>
                  <a:cxn ang="0">
                    <a:pos x="T12" y="T13"/>
                  </a:cxn>
                </a:cxnLst>
                <a:rect l="0" t="0" r="r" b="b"/>
                <a:pathLst>
                  <a:path w="225" h="351">
                    <a:moveTo>
                      <a:pt x="55" y="351"/>
                    </a:moveTo>
                    <a:cubicBezTo>
                      <a:pt x="210" y="304"/>
                      <a:pt x="210" y="304"/>
                      <a:pt x="210" y="304"/>
                    </a:cubicBezTo>
                    <a:cubicBezTo>
                      <a:pt x="225" y="70"/>
                      <a:pt x="225" y="70"/>
                      <a:pt x="225" y="70"/>
                    </a:cubicBezTo>
                    <a:cubicBezTo>
                      <a:pt x="163" y="0"/>
                      <a:pt x="163" y="0"/>
                      <a:pt x="163" y="0"/>
                    </a:cubicBezTo>
                    <a:cubicBezTo>
                      <a:pt x="163" y="0"/>
                      <a:pt x="38" y="82"/>
                      <a:pt x="36" y="84"/>
                    </a:cubicBezTo>
                    <a:cubicBezTo>
                      <a:pt x="35" y="85"/>
                      <a:pt x="0" y="200"/>
                      <a:pt x="0" y="200"/>
                    </a:cubicBezTo>
                    <a:lnTo>
                      <a:pt x="55" y="351"/>
                    </a:lnTo>
                    <a:close/>
                  </a:path>
                </a:pathLst>
              </a:custGeom>
              <a:solidFill>
                <a:schemeClr val="accent1">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0" name="Freeform 51"/>
              <p:cNvSpPr/>
              <p:nvPr/>
            </p:nvSpPr>
            <p:spPr bwMode="auto">
              <a:xfrm>
                <a:off x="8518294" y="6739276"/>
                <a:ext cx="867298" cy="633105"/>
              </a:xfrm>
              <a:custGeom>
                <a:avLst/>
                <a:gdLst>
                  <a:gd name="T0" fmla="*/ 6 w 327"/>
                  <a:gd name="T1" fmla="*/ 23 h 239"/>
                  <a:gd name="T2" fmla="*/ 327 w 327"/>
                  <a:gd name="T3" fmla="*/ 0 h 239"/>
                  <a:gd name="T4" fmla="*/ 249 w 327"/>
                  <a:gd name="T5" fmla="*/ 160 h 239"/>
                  <a:gd name="T6" fmla="*/ 108 w 327"/>
                  <a:gd name="T7" fmla="*/ 239 h 239"/>
                  <a:gd name="T8" fmla="*/ 1 w 327"/>
                  <a:gd name="T9" fmla="*/ 152 h 239"/>
                  <a:gd name="T10" fmla="*/ 6 w 327"/>
                  <a:gd name="T11" fmla="*/ 23 h 239"/>
                </a:gdLst>
                <a:ahLst/>
                <a:cxnLst>
                  <a:cxn ang="0">
                    <a:pos x="T0" y="T1"/>
                  </a:cxn>
                  <a:cxn ang="0">
                    <a:pos x="T2" y="T3"/>
                  </a:cxn>
                  <a:cxn ang="0">
                    <a:pos x="T4" y="T5"/>
                  </a:cxn>
                  <a:cxn ang="0">
                    <a:pos x="T6" y="T7"/>
                  </a:cxn>
                  <a:cxn ang="0">
                    <a:pos x="T8" y="T9"/>
                  </a:cxn>
                  <a:cxn ang="0">
                    <a:pos x="T10" y="T11"/>
                  </a:cxn>
                </a:cxnLst>
                <a:rect l="0" t="0" r="r" b="b"/>
                <a:pathLst>
                  <a:path w="327" h="239">
                    <a:moveTo>
                      <a:pt x="6" y="23"/>
                    </a:moveTo>
                    <a:cubicBezTo>
                      <a:pt x="327" y="0"/>
                      <a:pt x="327" y="0"/>
                      <a:pt x="327" y="0"/>
                    </a:cubicBezTo>
                    <a:cubicBezTo>
                      <a:pt x="249" y="160"/>
                      <a:pt x="249" y="160"/>
                      <a:pt x="249" y="160"/>
                    </a:cubicBezTo>
                    <a:cubicBezTo>
                      <a:pt x="249" y="160"/>
                      <a:pt x="113" y="239"/>
                      <a:pt x="108" y="239"/>
                    </a:cubicBezTo>
                    <a:cubicBezTo>
                      <a:pt x="103" y="238"/>
                      <a:pt x="3" y="152"/>
                      <a:pt x="1" y="152"/>
                    </a:cubicBezTo>
                    <a:cubicBezTo>
                      <a:pt x="0" y="151"/>
                      <a:pt x="6" y="23"/>
                      <a:pt x="6" y="23"/>
                    </a:cubicBezTo>
                    <a:close/>
                  </a:path>
                </a:pathLst>
              </a:custGeom>
              <a:solidFill>
                <a:schemeClr val="bg1">
                  <a:lumMod val="50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1" name="Freeform 52"/>
              <p:cNvSpPr/>
              <p:nvPr/>
            </p:nvSpPr>
            <p:spPr bwMode="auto">
              <a:xfrm>
                <a:off x="8667326" y="5744236"/>
                <a:ext cx="662239" cy="1158638"/>
              </a:xfrm>
              <a:custGeom>
                <a:avLst/>
                <a:gdLst>
                  <a:gd name="T0" fmla="*/ 94 w 591"/>
                  <a:gd name="T1" fmla="*/ 1034 h 1034"/>
                  <a:gd name="T2" fmla="*/ 579 w 591"/>
                  <a:gd name="T3" fmla="*/ 968 h 1034"/>
                  <a:gd name="T4" fmla="*/ 591 w 591"/>
                  <a:gd name="T5" fmla="*/ 497 h 1034"/>
                  <a:gd name="T6" fmla="*/ 402 w 591"/>
                  <a:gd name="T7" fmla="*/ 24 h 1034"/>
                  <a:gd name="T8" fmla="*/ 321 w 591"/>
                  <a:gd name="T9" fmla="*/ 0 h 1034"/>
                  <a:gd name="T10" fmla="*/ 0 w 591"/>
                  <a:gd name="T11" fmla="*/ 19 h 1034"/>
                  <a:gd name="T12" fmla="*/ 94 w 591"/>
                  <a:gd name="T13" fmla="*/ 1034 h 1034"/>
                </a:gdLst>
                <a:ahLst/>
                <a:cxnLst>
                  <a:cxn ang="0">
                    <a:pos x="T0" y="T1"/>
                  </a:cxn>
                  <a:cxn ang="0">
                    <a:pos x="T2" y="T3"/>
                  </a:cxn>
                  <a:cxn ang="0">
                    <a:pos x="T4" y="T5"/>
                  </a:cxn>
                  <a:cxn ang="0">
                    <a:pos x="T6" y="T7"/>
                  </a:cxn>
                  <a:cxn ang="0">
                    <a:pos x="T8" y="T9"/>
                  </a:cxn>
                  <a:cxn ang="0">
                    <a:pos x="T10" y="T11"/>
                  </a:cxn>
                  <a:cxn ang="0">
                    <a:pos x="T12" y="T13"/>
                  </a:cxn>
                </a:cxnLst>
                <a:rect l="0" t="0" r="r" b="b"/>
                <a:pathLst>
                  <a:path w="591" h="1034">
                    <a:moveTo>
                      <a:pt x="94" y="1034"/>
                    </a:moveTo>
                    <a:lnTo>
                      <a:pt x="579" y="968"/>
                    </a:lnTo>
                    <a:lnTo>
                      <a:pt x="591" y="497"/>
                    </a:lnTo>
                    <a:lnTo>
                      <a:pt x="402" y="24"/>
                    </a:lnTo>
                    <a:lnTo>
                      <a:pt x="321" y="0"/>
                    </a:lnTo>
                    <a:lnTo>
                      <a:pt x="0" y="19"/>
                    </a:lnTo>
                    <a:lnTo>
                      <a:pt x="94" y="1034"/>
                    </a:lnTo>
                    <a:close/>
                  </a:path>
                </a:pathLst>
              </a:custGeom>
              <a:solidFill>
                <a:schemeClr val="accent1">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2" name="Freeform 53"/>
              <p:cNvSpPr/>
              <p:nvPr/>
            </p:nvSpPr>
            <p:spPr bwMode="auto">
              <a:xfrm>
                <a:off x="9594943" y="4098741"/>
                <a:ext cx="782137" cy="789981"/>
              </a:xfrm>
              <a:custGeom>
                <a:avLst/>
                <a:gdLst>
                  <a:gd name="T0" fmla="*/ 168 w 698"/>
                  <a:gd name="T1" fmla="*/ 0 h 705"/>
                  <a:gd name="T2" fmla="*/ 0 w 698"/>
                  <a:gd name="T3" fmla="*/ 485 h 705"/>
                  <a:gd name="T4" fmla="*/ 457 w 698"/>
                  <a:gd name="T5" fmla="*/ 705 h 705"/>
                  <a:gd name="T6" fmla="*/ 698 w 698"/>
                  <a:gd name="T7" fmla="*/ 606 h 705"/>
                  <a:gd name="T8" fmla="*/ 660 w 698"/>
                  <a:gd name="T9" fmla="*/ 352 h 705"/>
                  <a:gd name="T10" fmla="*/ 168 w 698"/>
                  <a:gd name="T11" fmla="*/ 0 h 705"/>
                </a:gdLst>
                <a:ahLst/>
                <a:cxnLst>
                  <a:cxn ang="0">
                    <a:pos x="T0" y="T1"/>
                  </a:cxn>
                  <a:cxn ang="0">
                    <a:pos x="T2" y="T3"/>
                  </a:cxn>
                  <a:cxn ang="0">
                    <a:pos x="T4" y="T5"/>
                  </a:cxn>
                  <a:cxn ang="0">
                    <a:pos x="T6" y="T7"/>
                  </a:cxn>
                  <a:cxn ang="0">
                    <a:pos x="T8" y="T9"/>
                  </a:cxn>
                  <a:cxn ang="0">
                    <a:pos x="T10" y="T11"/>
                  </a:cxn>
                </a:cxnLst>
                <a:rect l="0" t="0" r="r" b="b"/>
                <a:pathLst>
                  <a:path w="698" h="705">
                    <a:moveTo>
                      <a:pt x="168" y="0"/>
                    </a:moveTo>
                    <a:lnTo>
                      <a:pt x="0" y="485"/>
                    </a:lnTo>
                    <a:lnTo>
                      <a:pt x="457" y="705"/>
                    </a:lnTo>
                    <a:lnTo>
                      <a:pt x="698" y="606"/>
                    </a:lnTo>
                    <a:lnTo>
                      <a:pt x="660" y="352"/>
                    </a:lnTo>
                    <a:lnTo>
                      <a:pt x="168" y="0"/>
                    </a:lnTo>
                    <a:close/>
                  </a:path>
                </a:pathLst>
              </a:custGeom>
              <a:solidFill>
                <a:schemeClr val="accent3">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3" name="Freeform 54"/>
              <p:cNvSpPr/>
              <p:nvPr/>
            </p:nvSpPr>
            <p:spPr bwMode="auto">
              <a:xfrm>
                <a:off x="9414726" y="4657313"/>
                <a:ext cx="580440" cy="774293"/>
              </a:xfrm>
              <a:custGeom>
                <a:avLst/>
                <a:gdLst>
                  <a:gd name="T0" fmla="*/ 518 w 518"/>
                  <a:gd name="T1" fmla="*/ 71 h 691"/>
                  <a:gd name="T2" fmla="*/ 303 w 518"/>
                  <a:gd name="T3" fmla="*/ 691 h 691"/>
                  <a:gd name="T4" fmla="*/ 45 w 518"/>
                  <a:gd name="T5" fmla="*/ 407 h 691"/>
                  <a:gd name="T6" fmla="*/ 0 w 518"/>
                  <a:gd name="T7" fmla="*/ 94 h 691"/>
                  <a:gd name="T8" fmla="*/ 166 w 518"/>
                  <a:gd name="T9" fmla="*/ 0 h 691"/>
                  <a:gd name="T10" fmla="*/ 518 w 518"/>
                  <a:gd name="T11" fmla="*/ 71 h 691"/>
                </a:gdLst>
                <a:ahLst/>
                <a:cxnLst>
                  <a:cxn ang="0">
                    <a:pos x="T0" y="T1"/>
                  </a:cxn>
                  <a:cxn ang="0">
                    <a:pos x="T2" y="T3"/>
                  </a:cxn>
                  <a:cxn ang="0">
                    <a:pos x="T4" y="T5"/>
                  </a:cxn>
                  <a:cxn ang="0">
                    <a:pos x="T6" y="T7"/>
                  </a:cxn>
                  <a:cxn ang="0">
                    <a:pos x="T8" y="T9"/>
                  </a:cxn>
                  <a:cxn ang="0">
                    <a:pos x="T10" y="T11"/>
                  </a:cxn>
                </a:cxnLst>
                <a:rect l="0" t="0" r="r" b="b"/>
                <a:pathLst>
                  <a:path w="518" h="691">
                    <a:moveTo>
                      <a:pt x="518" y="71"/>
                    </a:moveTo>
                    <a:lnTo>
                      <a:pt x="303" y="691"/>
                    </a:lnTo>
                    <a:lnTo>
                      <a:pt x="45" y="407"/>
                    </a:lnTo>
                    <a:lnTo>
                      <a:pt x="0" y="94"/>
                    </a:lnTo>
                    <a:lnTo>
                      <a:pt x="166" y="0"/>
                    </a:lnTo>
                    <a:lnTo>
                      <a:pt x="518" y="71"/>
                    </a:lnTo>
                    <a:close/>
                  </a:path>
                </a:pathLst>
              </a:custGeom>
              <a:solidFill>
                <a:schemeClr val="bg1">
                  <a:lumMod val="50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4" name="Freeform 55"/>
              <p:cNvSpPr/>
              <p:nvPr/>
            </p:nvSpPr>
            <p:spPr bwMode="auto">
              <a:xfrm>
                <a:off x="10456637" y="4682541"/>
                <a:ext cx="989437" cy="657757"/>
              </a:xfrm>
              <a:custGeom>
                <a:avLst/>
                <a:gdLst>
                  <a:gd name="T0" fmla="*/ 883 w 883"/>
                  <a:gd name="T1" fmla="*/ 78 h 587"/>
                  <a:gd name="T2" fmla="*/ 665 w 883"/>
                  <a:gd name="T3" fmla="*/ 587 h 587"/>
                  <a:gd name="T4" fmla="*/ 137 w 883"/>
                  <a:gd name="T5" fmla="*/ 411 h 587"/>
                  <a:gd name="T6" fmla="*/ 0 w 883"/>
                  <a:gd name="T7" fmla="*/ 142 h 587"/>
                  <a:gd name="T8" fmla="*/ 279 w 883"/>
                  <a:gd name="T9" fmla="*/ 0 h 587"/>
                  <a:gd name="T10" fmla="*/ 883 w 883"/>
                  <a:gd name="T11" fmla="*/ 78 h 587"/>
                </a:gdLst>
                <a:ahLst/>
                <a:cxnLst>
                  <a:cxn ang="0">
                    <a:pos x="T0" y="T1"/>
                  </a:cxn>
                  <a:cxn ang="0">
                    <a:pos x="T2" y="T3"/>
                  </a:cxn>
                  <a:cxn ang="0">
                    <a:pos x="T4" y="T5"/>
                  </a:cxn>
                  <a:cxn ang="0">
                    <a:pos x="T6" y="T7"/>
                  </a:cxn>
                  <a:cxn ang="0">
                    <a:pos x="T8" y="T9"/>
                  </a:cxn>
                  <a:cxn ang="0">
                    <a:pos x="T10" y="T11"/>
                  </a:cxn>
                </a:cxnLst>
                <a:rect l="0" t="0" r="r" b="b"/>
                <a:pathLst>
                  <a:path w="883" h="587">
                    <a:moveTo>
                      <a:pt x="883" y="78"/>
                    </a:moveTo>
                    <a:lnTo>
                      <a:pt x="665" y="587"/>
                    </a:lnTo>
                    <a:lnTo>
                      <a:pt x="137" y="411"/>
                    </a:lnTo>
                    <a:lnTo>
                      <a:pt x="0" y="142"/>
                    </a:lnTo>
                    <a:lnTo>
                      <a:pt x="279" y="0"/>
                    </a:lnTo>
                    <a:lnTo>
                      <a:pt x="883" y="78"/>
                    </a:lnTo>
                    <a:close/>
                  </a:path>
                </a:pathLst>
              </a:custGeom>
              <a:solidFill>
                <a:schemeClr val="accent3">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5" name="Freeform 56"/>
              <p:cNvSpPr/>
              <p:nvPr/>
            </p:nvSpPr>
            <p:spPr bwMode="auto">
              <a:xfrm>
                <a:off x="10546471" y="5055104"/>
                <a:ext cx="591645" cy="670083"/>
              </a:xfrm>
              <a:custGeom>
                <a:avLst/>
                <a:gdLst>
                  <a:gd name="T0" fmla="*/ 83 w 223"/>
                  <a:gd name="T1" fmla="*/ 0 h 253"/>
                  <a:gd name="T2" fmla="*/ 0 w 223"/>
                  <a:gd name="T3" fmla="*/ 241 h 253"/>
                  <a:gd name="T4" fmla="*/ 118 w 223"/>
                  <a:gd name="T5" fmla="*/ 253 h 253"/>
                  <a:gd name="T6" fmla="*/ 223 w 223"/>
                  <a:gd name="T7" fmla="*/ 193 h 253"/>
                  <a:gd name="T8" fmla="*/ 203 w 223"/>
                  <a:gd name="T9" fmla="*/ 75 h 253"/>
                  <a:gd name="T10" fmla="*/ 83 w 223"/>
                  <a:gd name="T11" fmla="*/ 0 h 253"/>
                </a:gdLst>
                <a:ahLst/>
                <a:cxnLst>
                  <a:cxn ang="0">
                    <a:pos x="T0" y="T1"/>
                  </a:cxn>
                  <a:cxn ang="0">
                    <a:pos x="T2" y="T3"/>
                  </a:cxn>
                  <a:cxn ang="0">
                    <a:pos x="T4" y="T5"/>
                  </a:cxn>
                  <a:cxn ang="0">
                    <a:pos x="T6" y="T7"/>
                  </a:cxn>
                  <a:cxn ang="0">
                    <a:pos x="T8" y="T9"/>
                  </a:cxn>
                  <a:cxn ang="0">
                    <a:pos x="T10" y="T11"/>
                  </a:cxn>
                </a:cxnLst>
                <a:rect l="0" t="0" r="r" b="b"/>
                <a:pathLst>
                  <a:path w="223" h="253">
                    <a:moveTo>
                      <a:pt x="83" y="0"/>
                    </a:moveTo>
                    <a:cubicBezTo>
                      <a:pt x="0" y="241"/>
                      <a:pt x="0" y="241"/>
                      <a:pt x="0" y="241"/>
                    </a:cubicBezTo>
                    <a:cubicBezTo>
                      <a:pt x="118" y="253"/>
                      <a:pt x="118" y="253"/>
                      <a:pt x="118" y="253"/>
                    </a:cubicBezTo>
                    <a:cubicBezTo>
                      <a:pt x="118" y="253"/>
                      <a:pt x="223" y="198"/>
                      <a:pt x="223" y="193"/>
                    </a:cubicBezTo>
                    <a:cubicBezTo>
                      <a:pt x="223" y="188"/>
                      <a:pt x="203" y="75"/>
                      <a:pt x="203" y="75"/>
                    </a:cubicBezTo>
                    <a:lnTo>
                      <a:pt x="83" y="0"/>
                    </a:lnTo>
                    <a:close/>
                  </a:path>
                </a:pathLst>
              </a:custGeom>
              <a:solidFill>
                <a:schemeClr val="bg1">
                  <a:lumMod val="50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6" name="Freeform 57"/>
              <p:cNvSpPr/>
              <p:nvPr/>
            </p:nvSpPr>
            <p:spPr bwMode="auto">
              <a:xfrm>
                <a:off x="9672259" y="4711675"/>
                <a:ext cx="1195616" cy="869539"/>
              </a:xfrm>
              <a:custGeom>
                <a:avLst/>
                <a:gdLst>
                  <a:gd name="T0" fmla="*/ 451 w 451"/>
                  <a:gd name="T1" fmla="*/ 138 h 328"/>
                  <a:gd name="T2" fmla="*/ 400 w 451"/>
                  <a:gd name="T3" fmla="*/ 327 h 328"/>
                  <a:gd name="T4" fmla="*/ 22 w 451"/>
                  <a:gd name="T5" fmla="*/ 247 h 328"/>
                  <a:gd name="T6" fmla="*/ 0 w 451"/>
                  <a:gd name="T7" fmla="*/ 169 h 328"/>
                  <a:gd name="T8" fmla="*/ 42 w 451"/>
                  <a:gd name="T9" fmla="*/ 0 h 328"/>
                  <a:gd name="T10" fmla="*/ 451 w 451"/>
                  <a:gd name="T11" fmla="*/ 138 h 328"/>
                </a:gdLst>
                <a:ahLst/>
                <a:cxnLst>
                  <a:cxn ang="0">
                    <a:pos x="T0" y="T1"/>
                  </a:cxn>
                  <a:cxn ang="0">
                    <a:pos x="T2" y="T3"/>
                  </a:cxn>
                  <a:cxn ang="0">
                    <a:pos x="T4" y="T5"/>
                  </a:cxn>
                  <a:cxn ang="0">
                    <a:pos x="T6" y="T7"/>
                  </a:cxn>
                  <a:cxn ang="0">
                    <a:pos x="T8" y="T9"/>
                  </a:cxn>
                  <a:cxn ang="0">
                    <a:pos x="T10" y="T11"/>
                  </a:cxn>
                </a:cxnLst>
                <a:rect l="0" t="0" r="r" b="b"/>
                <a:pathLst>
                  <a:path w="451" h="328">
                    <a:moveTo>
                      <a:pt x="451" y="138"/>
                    </a:moveTo>
                    <a:cubicBezTo>
                      <a:pt x="451" y="138"/>
                      <a:pt x="395" y="328"/>
                      <a:pt x="400" y="327"/>
                    </a:cubicBezTo>
                    <a:cubicBezTo>
                      <a:pt x="405" y="326"/>
                      <a:pt x="22" y="247"/>
                      <a:pt x="22" y="247"/>
                    </a:cubicBezTo>
                    <a:cubicBezTo>
                      <a:pt x="0" y="169"/>
                      <a:pt x="0" y="169"/>
                      <a:pt x="0" y="169"/>
                    </a:cubicBezTo>
                    <a:cubicBezTo>
                      <a:pt x="42" y="0"/>
                      <a:pt x="42" y="0"/>
                      <a:pt x="42" y="0"/>
                    </a:cubicBezTo>
                    <a:lnTo>
                      <a:pt x="451" y="138"/>
                    </a:lnTo>
                    <a:close/>
                  </a:path>
                </a:pathLst>
              </a:custGeom>
              <a:solidFill>
                <a:schemeClr val="accent3">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7" name="Freeform 58"/>
              <p:cNvSpPr/>
              <p:nvPr/>
            </p:nvSpPr>
            <p:spPr bwMode="auto">
              <a:xfrm>
                <a:off x="9843648" y="7472108"/>
                <a:ext cx="1067875" cy="981593"/>
              </a:xfrm>
              <a:custGeom>
                <a:avLst/>
                <a:gdLst>
                  <a:gd name="T0" fmla="*/ 473 w 953"/>
                  <a:gd name="T1" fmla="*/ 876 h 876"/>
                  <a:gd name="T2" fmla="*/ 0 w 953"/>
                  <a:gd name="T3" fmla="*/ 261 h 876"/>
                  <a:gd name="T4" fmla="*/ 236 w 953"/>
                  <a:gd name="T5" fmla="*/ 0 h 876"/>
                  <a:gd name="T6" fmla="*/ 953 w 953"/>
                  <a:gd name="T7" fmla="*/ 0 h 876"/>
                  <a:gd name="T8" fmla="*/ 773 w 953"/>
                  <a:gd name="T9" fmla="*/ 348 h 876"/>
                  <a:gd name="T10" fmla="*/ 473 w 953"/>
                  <a:gd name="T11" fmla="*/ 876 h 876"/>
                </a:gdLst>
                <a:ahLst/>
                <a:cxnLst>
                  <a:cxn ang="0">
                    <a:pos x="T0" y="T1"/>
                  </a:cxn>
                  <a:cxn ang="0">
                    <a:pos x="T2" y="T3"/>
                  </a:cxn>
                  <a:cxn ang="0">
                    <a:pos x="T4" y="T5"/>
                  </a:cxn>
                  <a:cxn ang="0">
                    <a:pos x="T6" y="T7"/>
                  </a:cxn>
                  <a:cxn ang="0">
                    <a:pos x="T8" y="T9"/>
                  </a:cxn>
                  <a:cxn ang="0">
                    <a:pos x="T10" y="T11"/>
                  </a:cxn>
                </a:cxnLst>
                <a:rect l="0" t="0" r="r" b="b"/>
                <a:pathLst>
                  <a:path w="953" h="876">
                    <a:moveTo>
                      <a:pt x="473" y="876"/>
                    </a:moveTo>
                    <a:lnTo>
                      <a:pt x="0" y="261"/>
                    </a:lnTo>
                    <a:lnTo>
                      <a:pt x="236" y="0"/>
                    </a:lnTo>
                    <a:lnTo>
                      <a:pt x="953" y="0"/>
                    </a:lnTo>
                    <a:lnTo>
                      <a:pt x="773" y="348"/>
                    </a:lnTo>
                    <a:lnTo>
                      <a:pt x="473" y="876"/>
                    </a:lnTo>
                    <a:close/>
                  </a:path>
                </a:pathLst>
              </a:custGeom>
              <a:solidFill>
                <a:schemeClr val="accent2">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8" name="Freeform 59"/>
              <p:cNvSpPr/>
              <p:nvPr/>
            </p:nvSpPr>
            <p:spPr bwMode="auto">
              <a:xfrm>
                <a:off x="9478597" y="6725829"/>
                <a:ext cx="906517" cy="1034259"/>
              </a:xfrm>
              <a:custGeom>
                <a:avLst/>
                <a:gdLst>
                  <a:gd name="T0" fmla="*/ 342 w 342"/>
                  <a:gd name="T1" fmla="*/ 309 h 390"/>
                  <a:gd name="T2" fmla="*/ 112 w 342"/>
                  <a:gd name="T3" fmla="*/ 0 h 390"/>
                  <a:gd name="T4" fmla="*/ 2 w 342"/>
                  <a:gd name="T5" fmla="*/ 198 h 390"/>
                  <a:gd name="T6" fmla="*/ 102 w 342"/>
                  <a:gd name="T7" fmla="*/ 340 h 390"/>
                  <a:gd name="T8" fmla="*/ 252 w 342"/>
                  <a:gd name="T9" fmla="*/ 390 h 390"/>
                  <a:gd name="T10" fmla="*/ 342 w 342"/>
                  <a:gd name="T11" fmla="*/ 309 h 390"/>
                </a:gdLst>
                <a:ahLst/>
                <a:cxnLst>
                  <a:cxn ang="0">
                    <a:pos x="T0" y="T1"/>
                  </a:cxn>
                  <a:cxn ang="0">
                    <a:pos x="T2" y="T3"/>
                  </a:cxn>
                  <a:cxn ang="0">
                    <a:pos x="T4" y="T5"/>
                  </a:cxn>
                  <a:cxn ang="0">
                    <a:pos x="T6" y="T7"/>
                  </a:cxn>
                  <a:cxn ang="0">
                    <a:pos x="T8" y="T9"/>
                  </a:cxn>
                  <a:cxn ang="0">
                    <a:pos x="T10" y="T11"/>
                  </a:cxn>
                </a:cxnLst>
                <a:rect l="0" t="0" r="r" b="b"/>
                <a:pathLst>
                  <a:path w="342" h="390">
                    <a:moveTo>
                      <a:pt x="342" y="309"/>
                    </a:moveTo>
                    <a:cubicBezTo>
                      <a:pt x="112" y="0"/>
                      <a:pt x="112" y="0"/>
                      <a:pt x="112" y="0"/>
                    </a:cubicBezTo>
                    <a:cubicBezTo>
                      <a:pt x="112" y="0"/>
                      <a:pt x="0" y="185"/>
                      <a:pt x="2" y="198"/>
                    </a:cubicBezTo>
                    <a:cubicBezTo>
                      <a:pt x="4" y="211"/>
                      <a:pt x="102" y="340"/>
                      <a:pt x="102" y="340"/>
                    </a:cubicBezTo>
                    <a:cubicBezTo>
                      <a:pt x="252" y="390"/>
                      <a:pt x="252" y="390"/>
                      <a:pt x="252" y="390"/>
                    </a:cubicBezTo>
                    <a:lnTo>
                      <a:pt x="342" y="309"/>
                    </a:lnTo>
                    <a:close/>
                  </a:path>
                </a:pathLst>
              </a:custGeom>
              <a:solidFill>
                <a:schemeClr val="bg1">
                  <a:lumMod val="50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19" name="Freeform 60"/>
              <p:cNvSpPr/>
              <p:nvPr/>
            </p:nvSpPr>
            <p:spPr bwMode="auto">
              <a:xfrm>
                <a:off x="10532780" y="6621619"/>
                <a:ext cx="1283018" cy="811271"/>
              </a:xfrm>
              <a:custGeom>
                <a:avLst/>
                <a:gdLst>
                  <a:gd name="T0" fmla="*/ 1145 w 1145"/>
                  <a:gd name="T1" fmla="*/ 648 h 724"/>
                  <a:gd name="T2" fmla="*/ 722 w 1145"/>
                  <a:gd name="T3" fmla="*/ 0 h 724"/>
                  <a:gd name="T4" fmla="*/ 0 w 1145"/>
                  <a:gd name="T5" fmla="*/ 35 h 724"/>
                  <a:gd name="T6" fmla="*/ 532 w 1145"/>
                  <a:gd name="T7" fmla="*/ 724 h 724"/>
                  <a:gd name="T8" fmla="*/ 1145 w 1145"/>
                  <a:gd name="T9" fmla="*/ 648 h 724"/>
                </a:gdLst>
                <a:ahLst/>
                <a:cxnLst>
                  <a:cxn ang="0">
                    <a:pos x="T0" y="T1"/>
                  </a:cxn>
                  <a:cxn ang="0">
                    <a:pos x="T2" y="T3"/>
                  </a:cxn>
                  <a:cxn ang="0">
                    <a:pos x="T4" y="T5"/>
                  </a:cxn>
                  <a:cxn ang="0">
                    <a:pos x="T6" y="T7"/>
                  </a:cxn>
                  <a:cxn ang="0">
                    <a:pos x="T8" y="T9"/>
                  </a:cxn>
                </a:cxnLst>
                <a:rect l="0" t="0" r="r" b="b"/>
                <a:pathLst>
                  <a:path w="1145" h="724">
                    <a:moveTo>
                      <a:pt x="1145" y="648"/>
                    </a:moveTo>
                    <a:lnTo>
                      <a:pt x="722" y="0"/>
                    </a:lnTo>
                    <a:lnTo>
                      <a:pt x="0" y="35"/>
                    </a:lnTo>
                    <a:lnTo>
                      <a:pt x="532" y="724"/>
                    </a:lnTo>
                    <a:lnTo>
                      <a:pt x="1145" y="648"/>
                    </a:lnTo>
                    <a:close/>
                  </a:path>
                </a:pathLst>
              </a:custGeom>
              <a:solidFill>
                <a:schemeClr val="accent2">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0" name="Freeform 61"/>
              <p:cNvSpPr/>
              <p:nvPr/>
            </p:nvSpPr>
            <p:spPr bwMode="auto">
              <a:xfrm>
                <a:off x="10589051" y="6301144"/>
                <a:ext cx="965905" cy="737315"/>
              </a:xfrm>
              <a:custGeom>
                <a:avLst/>
                <a:gdLst>
                  <a:gd name="T0" fmla="*/ 177 w 364"/>
                  <a:gd name="T1" fmla="*/ 278 h 278"/>
                  <a:gd name="T2" fmla="*/ 0 w 364"/>
                  <a:gd name="T3" fmla="*/ 22 h 278"/>
                  <a:gd name="T4" fmla="*/ 163 w 364"/>
                  <a:gd name="T5" fmla="*/ 0 h 278"/>
                  <a:gd name="T6" fmla="*/ 344 w 364"/>
                  <a:gd name="T7" fmla="*/ 71 h 278"/>
                  <a:gd name="T8" fmla="*/ 357 w 364"/>
                  <a:gd name="T9" fmla="*/ 198 h 278"/>
                  <a:gd name="T10" fmla="*/ 177 w 364"/>
                  <a:gd name="T11" fmla="*/ 278 h 278"/>
                </a:gdLst>
                <a:ahLst/>
                <a:cxnLst>
                  <a:cxn ang="0">
                    <a:pos x="T0" y="T1"/>
                  </a:cxn>
                  <a:cxn ang="0">
                    <a:pos x="T2" y="T3"/>
                  </a:cxn>
                  <a:cxn ang="0">
                    <a:pos x="T4" y="T5"/>
                  </a:cxn>
                  <a:cxn ang="0">
                    <a:pos x="T6" y="T7"/>
                  </a:cxn>
                  <a:cxn ang="0">
                    <a:pos x="T8" y="T9"/>
                  </a:cxn>
                  <a:cxn ang="0">
                    <a:pos x="T10" y="T11"/>
                  </a:cxn>
                </a:cxnLst>
                <a:rect l="0" t="0" r="r" b="b"/>
                <a:pathLst>
                  <a:path w="364" h="278">
                    <a:moveTo>
                      <a:pt x="177" y="278"/>
                    </a:moveTo>
                    <a:cubicBezTo>
                      <a:pt x="0" y="22"/>
                      <a:pt x="0" y="22"/>
                      <a:pt x="0" y="22"/>
                    </a:cubicBezTo>
                    <a:cubicBezTo>
                      <a:pt x="163" y="0"/>
                      <a:pt x="163" y="0"/>
                      <a:pt x="163" y="0"/>
                    </a:cubicBezTo>
                    <a:cubicBezTo>
                      <a:pt x="163" y="0"/>
                      <a:pt x="342" y="60"/>
                      <a:pt x="344" y="71"/>
                    </a:cubicBezTo>
                    <a:cubicBezTo>
                      <a:pt x="345" y="82"/>
                      <a:pt x="364" y="190"/>
                      <a:pt x="357" y="198"/>
                    </a:cubicBezTo>
                    <a:cubicBezTo>
                      <a:pt x="349" y="205"/>
                      <a:pt x="177" y="278"/>
                      <a:pt x="177" y="278"/>
                    </a:cubicBezTo>
                    <a:close/>
                  </a:path>
                </a:pathLst>
              </a:custGeom>
              <a:solidFill>
                <a:schemeClr val="bg1">
                  <a:lumMod val="50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1" name="Freeform 62"/>
              <p:cNvSpPr/>
              <p:nvPr/>
            </p:nvSpPr>
            <p:spPr bwMode="auto">
              <a:xfrm>
                <a:off x="9898554" y="6507324"/>
                <a:ext cx="1272933" cy="1195616"/>
              </a:xfrm>
              <a:custGeom>
                <a:avLst/>
                <a:gdLst>
                  <a:gd name="T0" fmla="*/ 480 w 480"/>
                  <a:gd name="T1" fmla="*/ 205 h 451"/>
                  <a:gd name="T2" fmla="*/ 334 w 480"/>
                  <a:gd name="T3" fmla="*/ 0 h 451"/>
                  <a:gd name="T4" fmla="*/ 143 w 480"/>
                  <a:gd name="T5" fmla="*/ 47 h 451"/>
                  <a:gd name="T6" fmla="*/ 0 w 480"/>
                  <a:gd name="T7" fmla="*/ 235 h 451"/>
                  <a:gd name="T8" fmla="*/ 122 w 480"/>
                  <a:gd name="T9" fmla="*/ 451 h 451"/>
                  <a:gd name="T10" fmla="*/ 480 w 480"/>
                  <a:gd name="T11" fmla="*/ 205 h 451"/>
                </a:gdLst>
                <a:ahLst/>
                <a:cxnLst>
                  <a:cxn ang="0">
                    <a:pos x="T0" y="T1"/>
                  </a:cxn>
                  <a:cxn ang="0">
                    <a:pos x="T2" y="T3"/>
                  </a:cxn>
                  <a:cxn ang="0">
                    <a:pos x="T4" y="T5"/>
                  </a:cxn>
                  <a:cxn ang="0">
                    <a:pos x="T6" y="T7"/>
                  </a:cxn>
                  <a:cxn ang="0">
                    <a:pos x="T8" y="T9"/>
                  </a:cxn>
                  <a:cxn ang="0">
                    <a:pos x="T10" y="T11"/>
                  </a:cxn>
                </a:cxnLst>
                <a:rect l="0" t="0" r="r" b="b"/>
                <a:pathLst>
                  <a:path w="480" h="451">
                    <a:moveTo>
                      <a:pt x="480" y="205"/>
                    </a:moveTo>
                    <a:cubicBezTo>
                      <a:pt x="334" y="0"/>
                      <a:pt x="334" y="0"/>
                      <a:pt x="334" y="0"/>
                    </a:cubicBezTo>
                    <a:cubicBezTo>
                      <a:pt x="143" y="47"/>
                      <a:pt x="143" y="47"/>
                      <a:pt x="143" y="47"/>
                    </a:cubicBezTo>
                    <a:cubicBezTo>
                      <a:pt x="143" y="47"/>
                      <a:pt x="0" y="226"/>
                      <a:pt x="0" y="235"/>
                    </a:cubicBezTo>
                    <a:cubicBezTo>
                      <a:pt x="0" y="245"/>
                      <a:pt x="122" y="451"/>
                      <a:pt x="122" y="451"/>
                    </a:cubicBezTo>
                    <a:lnTo>
                      <a:pt x="480" y="205"/>
                    </a:lnTo>
                    <a:close/>
                  </a:path>
                </a:pathLst>
              </a:custGeom>
              <a:solidFill>
                <a:schemeClr val="accent2">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2" name="Freeform 63"/>
              <p:cNvSpPr/>
              <p:nvPr/>
            </p:nvSpPr>
            <p:spPr bwMode="auto">
              <a:xfrm>
                <a:off x="8122744" y="4333476"/>
                <a:ext cx="1591166" cy="3993604"/>
              </a:xfrm>
              <a:custGeom>
                <a:avLst/>
                <a:gdLst>
                  <a:gd name="T0" fmla="*/ 121 w 600"/>
                  <a:gd name="T1" fmla="*/ 0 h 1506"/>
                  <a:gd name="T2" fmla="*/ 0 w 600"/>
                  <a:gd name="T3" fmla="*/ 438 h 1506"/>
                  <a:gd name="T4" fmla="*/ 118 w 600"/>
                  <a:gd name="T5" fmla="*/ 618 h 1506"/>
                  <a:gd name="T6" fmla="*/ 119 w 600"/>
                  <a:gd name="T7" fmla="*/ 615 h 1506"/>
                  <a:gd name="T8" fmla="*/ 120 w 600"/>
                  <a:gd name="T9" fmla="*/ 612 h 1506"/>
                  <a:gd name="T10" fmla="*/ 121 w 600"/>
                  <a:gd name="T11" fmla="*/ 610 h 1506"/>
                  <a:gd name="T12" fmla="*/ 121 w 600"/>
                  <a:gd name="T13" fmla="*/ 607 h 1506"/>
                  <a:gd name="T14" fmla="*/ 151 w 600"/>
                  <a:gd name="T15" fmla="*/ 544 h 1506"/>
                  <a:gd name="T16" fmla="*/ 190 w 600"/>
                  <a:gd name="T17" fmla="*/ 514 h 1506"/>
                  <a:gd name="T18" fmla="*/ 235 w 600"/>
                  <a:gd name="T19" fmla="*/ 519 h 1506"/>
                  <a:gd name="T20" fmla="*/ 280 w 600"/>
                  <a:gd name="T21" fmla="*/ 561 h 1506"/>
                  <a:gd name="T22" fmla="*/ 316 w 600"/>
                  <a:gd name="T23" fmla="*/ 636 h 1506"/>
                  <a:gd name="T24" fmla="*/ 336 w 600"/>
                  <a:gd name="T25" fmla="*/ 728 h 1506"/>
                  <a:gd name="T26" fmla="*/ 339 w 600"/>
                  <a:gd name="T27" fmla="*/ 824 h 1506"/>
                  <a:gd name="T28" fmla="*/ 322 w 600"/>
                  <a:gd name="T29" fmla="*/ 912 h 1506"/>
                  <a:gd name="T30" fmla="*/ 290 w 600"/>
                  <a:gd name="T31" fmla="*/ 973 h 1506"/>
                  <a:gd name="T32" fmla="*/ 249 w 600"/>
                  <a:gd name="T33" fmla="*/ 998 h 1506"/>
                  <a:gd name="T34" fmla="*/ 204 w 600"/>
                  <a:gd name="T35" fmla="*/ 987 h 1506"/>
                  <a:gd name="T36" fmla="*/ 162 w 600"/>
                  <a:gd name="T37" fmla="*/ 942 h 1506"/>
                  <a:gd name="T38" fmla="*/ 160 w 600"/>
                  <a:gd name="T39" fmla="*/ 939 h 1506"/>
                  <a:gd name="T40" fmla="*/ 158 w 600"/>
                  <a:gd name="T41" fmla="*/ 936 h 1506"/>
                  <a:gd name="T42" fmla="*/ 157 w 600"/>
                  <a:gd name="T43" fmla="*/ 933 h 1506"/>
                  <a:gd name="T44" fmla="*/ 155 w 600"/>
                  <a:gd name="T45" fmla="*/ 930 h 1506"/>
                  <a:gd name="T46" fmla="*/ 88 w 600"/>
                  <a:gd name="T47" fmla="*/ 1148 h 1506"/>
                  <a:gd name="T48" fmla="*/ 303 w 600"/>
                  <a:gd name="T49" fmla="*/ 1506 h 1506"/>
                  <a:gd name="T50" fmla="*/ 600 w 600"/>
                  <a:gd name="T51" fmla="*/ 655 h 1506"/>
                  <a:gd name="T52" fmla="*/ 121 w 600"/>
                  <a:gd name="T53" fmla="*/ 0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0" h="1506">
                    <a:moveTo>
                      <a:pt x="121" y="0"/>
                    </a:moveTo>
                    <a:cubicBezTo>
                      <a:pt x="0" y="438"/>
                      <a:pt x="0" y="438"/>
                      <a:pt x="0" y="438"/>
                    </a:cubicBezTo>
                    <a:cubicBezTo>
                      <a:pt x="118" y="618"/>
                      <a:pt x="118" y="618"/>
                      <a:pt x="118" y="618"/>
                    </a:cubicBezTo>
                    <a:cubicBezTo>
                      <a:pt x="119" y="617"/>
                      <a:pt x="119" y="616"/>
                      <a:pt x="119" y="615"/>
                    </a:cubicBezTo>
                    <a:cubicBezTo>
                      <a:pt x="119" y="614"/>
                      <a:pt x="120" y="613"/>
                      <a:pt x="120" y="612"/>
                    </a:cubicBezTo>
                    <a:cubicBezTo>
                      <a:pt x="120" y="612"/>
                      <a:pt x="120" y="611"/>
                      <a:pt x="121" y="610"/>
                    </a:cubicBezTo>
                    <a:cubicBezTo>
                      <a:pt x="121" y="609"/>
                      <a:pt x="121" y="608"/>
                      <a:pt x="121" y="607"/>
                    </a:cubicBezTo>
                    <a:cubicBezTo>
                      <a:pt x="129" y="581"/>
                      <a:pt x="139" y="560"/>
                      <a:pt x="151" y="544"/>
                    </a:cubicBezTo>
                    <a:cubicBezTo>
                      <a:pt x="163" y="529"/>
                      <a:pt x="176" y="518"/>
                      <a:pt x="190" y="514"/>
                    </a:cubicBezTo>
                    <a:cubicBezTo>
                      <a:pt x="205" y="510"/>
                      <a:pt x="220" y="511"/>
                      <a:pt x="235" y="519"/>
                    </a:cubicBezTo>
                    <a:cubicBezTo>
                      <a:pt x="250" y="527"/>
                      <a:pt x="266" y="541"/>
                      <a:pt x="280" y="561"/>
                    </a:cubicBezTo>
                    <a:cubicBezTo>
                      <a:pt x="294" y="582"/>
                      <a:pt x="306" y="608"/>
                      <a:pt x="316" y="636"/>
                    </a:cubicBezTo>
                    <a:cubicBezTo>
                      <a:pt x="325" y="665"/>
                      <a:pt x="332" y="696"/>
                      <a:pt x="336" y="728"/>
                    </a:cubicBezTo>
                    <a:cubicBezTo>
                      <a:pt x="340" y="760"/>
                      <a:pt x="341" y="793"/>
                      <a:pt x="339" y="824"/>
                    </a:cubicBezTo>
                    <a:cubicBezTo>
                      <a:pt x="336" y="855"/>
                      <a:pt x="331" y="885"/>
                      <a:pt x="322" y="912"/>
                    </a:cubicBezTo>
                    <a:cubicBezTo>
                      <a:pt x="314" y="938"/>
                      <a:pt x="303" y="958"/>
                      <a:pt x="290" y="973"/>
                    </a:cubicBezTo>
                    <a:cubicBezTo>
                      <a:pt x="277" y="987"/>
                      <a:pt x="263" y="996"/>
                      <a:pt x="249" y="998"/>
                    </a:cubicBezTo>
                    <a:cubicBezTo>
                      <a:pt x="234" y="1000"/>
                      <a:pt x="219" y="997"/>
                      <a:pt x="204" y="987"/>
                    </a:cubicBezTo>
                    <a:cubicBezTo>
                      <a:pt x="189" y="978"/>
                      <a:pt x="175" y="963"/>
                      <a:pt x="162" y="942"/>
                    </a:cubicBezTo>
                    <a:cubicBezTo>
                      <a:pt x="161" y="941"/>
                      <a:pt x="160" y="940"/>
                      <a:pt x="160" y="939"/>
                    </a:cubicBezTo>
                    <a:cubicBezTo>
                      <a:pt x="159" y="938"/>
                      <a:pt x="159" y="937"/>
                      <a:pt x="158" y="936"/>
                    </a:cubicBezTo>
                    <a:cubicBezTo>
                      <a:pt x="158" y="935"/>
                      <a:pt x="157" y="934"/>
                      <a:pt x="157" y="933"/>
                    </a:cubicBezTo>
                    <a:cubicBezTo>
                      <a:pt x="156" y="932"/>
                      <a:pt x="155" y="931"/>
                      <a:pt x="155" y="930"/>
                    </a:cubicBezTo>
                    <a:cubicBezTo>
                      <a:pt x="88" y="1148"/>
                      <a:pt x="88" y="1148"/>
                      <a:pt x="88" y="1148"/>
                    </a:cubicBezTo>
                    <a:cubicBezTo>
                      <a:pt x="303" y="1506"/>
                      <a:pt x="303" y="1506"/>
                      <a:pt x="303" y="1506"/>
                    </a:cubicBezTo>
                    <a:cubicBezTo>
                      <a:pt x="600" y="655"/>
                      <a:pt x="600" y="655"/>
                      <a:pt x="600" y="655"/>
                    </a:cubicBezTo>
                    <a:cubicBezTo>
                      <a:pt x="121" y="0"/>
                      <a:pt x="121" y="0"/>
                      <a:pt x="121" y="0"/>
                    </a:cubicBezTo>
                    <a:close/>
                  </a:path>
                </a:pathLst>
              </a:custGeom>
              <a:solidFill>
                <a:schemeClr val="bg1">
                  <a:lumMod val="8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3" name="Freeform 64"/>
              <p:cNvSpPr/>
              <p:nvPr/>
            </p:nvSpPr>
            <p:spPr bwMode="auto">
              <a:xfrm>
                <a:off x="7839247" y="5553745"/>
                <a:ext cx="1148554" cy="1776056"/>
              </a:xfrm>
              <a:custGeom>
                <a:avLst/>
                <a:gdLst>
                  <a:gd name="T0" fmla="*/ 101 w 433"/>
                  <a:gd name="T1" fmla="*/ 0 h 670"/>
                  <a:gd name="T2" fmla="*/ 220 w 433"/>
                  <a:gd name="T3" fmla="*/ 182 h 670"/>
                  <a:gd name="T4" fmla="*/ 232 w 433"/>
                  <a:gd name="T5" fmla="*/ 200 h 670"/>
                  <a:gd name="T6" fmla="*/ 233 w 433"/>
                  <a:gd name="T7" fmla="*/ 193 h 670"/>
                  <a:gd name="T8" fmla="*/ 234 w 433"/>
                  <a:gd name="T9" fmla="*/ 187 h 670"/>
                  <a:gd name="T10" fmla="*/ 235 w 433"/>
                  <a:gd name="T11" fmla="*/ 181 h 670"/>
                  <a:gd name="T12" fmla="*/ 237 w 433"/>
                  <a:gd name="T13" fmla="*/ 175 h 670"/>
                  <a:gd name="T14" fmla="*/ 237 w 433"/>
                  <a:gd name="T15" fmla="*/ 172 h 670"/>
                  <a:gd name="T16" fmla="*/ 238 w 433"/>
                  <a:gd name="T17" fmla="*/ 170 h 670"/>
                  <a:gd name="T18" fmla="*/ 239 w 433"/>
                  <a:gd name="T19" fmla="*/ 167 h 670"/>
                  <a:gd name="T20" fmla="*/ 240 w 433"/>
                  <a:gd name="T21" fmla="*/ 164 h 670"/>
                  <a:gd name="T22" fmla="*/ 266 w 433"/>
                  <a:gd name="T23" fmla="*/ 109 h 670"/>
                  <a:gd name="T24" fmla="*/ 301 w 433"/>
                  <a:gd name="T25" fmla="*/ 82 h 670"/>
                  <a:gd name="T26" fmla="*/ 340 w 433"/>
                  <a:gd name="T27" fmla="*/ 87 h 670"/>
                  <a:gd name="T28" fmla="*/ 380 w 433"/>
                  <a:gd name="T29" fmla="*/ 125 h 670"/>
                  <a:gd name="T30" fmla="*/ 411 w 433"/>
                  <a:gd name="T31" fmla="*/ 191 h 670"/>
                  <a:gd name="T32" fmla="*/ 429 w 433"/>
                  <a:gd name="T33" fmla="*/ 271 h 670"/>
                  <a:gd name="T34" fmla="*/ 431 w 433"/>
                  <a:gd name="T35" fmla="*/ 356 h 670"/>
                  <a:gd name="T36" fmla="*/ 417 w 433"/>
                  <a:gd name="T37" fmla="*/ 433 h 670"/>
                  <a:gd name="T38" fmla="*/ 389 w 433"/>
                  <a:gd name="T39" fmla="*/ 487 h 670"/>
                  <a:gd name="T40" fmla="*/ 352 w 433"/>
                  <a:gd name="T41" fmla="*/ 509 h 670"/>
                  <a:gd name="T42" fmla="*/ 313 w 433"/>
                  <a:gd name="T43" fmla="*/ 500 h 670"/>
                  <a:gd name="T44" fmla="*/ 275 w 433"/>
                  <a:gd name="T45" fmla="*/ 460 h 670"/>
                  <a:gd name="T46" fmla="*/ 274 w 433"/>
                  <a:gd name="T47" fmla="*/ 457 h 670"/>
                  <a:gd name="T48" fmla="*/ 272 w 433"/>
                  <a:gd name="T49" fmla="*/ 455 h 670"/>
                  <a:gd name="T50" fmla="*/ 270 w 433"/>
                  <a:gd name="T51" fmla="*/ 452 h 670"/>
                  <a:gd name="T52" fmla="*/ 269 w 433"/>
                  <a:gd name="T53" fmla="*/ 449 h 670"/>
                  <a:gd name="T54" fmla="*/ 266 w 433"/>
                  <a:gd name="T55" fmla="*/ 444 h 670"/>
                  <a:gd name="T56" fmla="*/ 263 w 433"/>
                  <a:gd name="T57" fmla="*/ 438 h 670"/>
                  <a:gd name="T58" fmla="*/ 261 w 433"/>
                  <a:gd name="T59" fmla="*/ 433 h 670"/>
                  <a:gd name="T60" fmla="*/ 258 w 433"/>
                  <a:gd name="T61" fmla="*/ 428 h 670"/>
                  <a:gd name="T62" fmla="*/ 251 w 433"/>
                  <a:gd name="T63" fmla="*/ 450 h 670"/>
                  <a:gd name="T64" fmla="*/ 184 w 433"/>
                  <a:gd name="T65" fmla="*/ 670 h 670"/>
                  <a:gd name="T66" fmla="*/ 0 w 433"/>
                  <a:gd name="T67" fmla="*/ 364 h 670"/>
                  <a:gd name="T68" fmla="*/ 101 w 433"/>
                  <a:gd name="T69"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3" h="670">
                    <a:moveTo>
                      <a:pt x="101" y="0"/>
                    </a:moveTo>
                    <a:cubicBezTo>
                      <a:pt x="220" y="182"/>
                      <a:pt x="220" y="182"/>
                      <a:pt x="220" y="182"/>
                    </a:cubicBezTo>
                    <a:cubicBezTo>
                      <a:pt x="232" y="200"/>
                      <a:pt x="232" y="200"/>
                      <a:pt x="232" y="200"/>
                    </a:cubicBezTo>
                    <a:cubicBezTo>
                      <a:pt x="232" y="198"/>
                      <a:pt x="232" y="196"/>
                      <a:pt x="233" y="193"/>
                    </a:cubicBezTo>
                    <a:cubicBezTo>
                      <a:pt x="233" y="191"/>
                      <a:pt x="233" y="189"/>
                      <a:pt x="234" y="187"/>
                    </a:cubicBezTo>
                    <a:cubicBezTo>
                      <a:pt x="234" y="185"/>
                      <a:pt x="235" y="183"/>
                      <a:pt x="235" y="181"/>
                    </a:cubicBezTo>
                    <a:cubicBezTo>
                      <a:pt x="236" y="179"/>
                      <a:pt x="236" y="177"/>
                      <a:pt x="237" y="175"/>
                    </a:cubicBezTo>
                    <a:cubicBezTo>
                      <a:pt x="237" y="174"/>
                      <a:pt x="237" y="173"/>
                      <a:pt x="237" y="172"/>
                    </a:cubicBezTo>
                    <a:cubicBezTo>
                      <a:pt x="238" y="171"/>
                      <a:pt x="238" y="171"/>
                      <a:pt x="238" y="170"/>
                    </a:cubicBezTo>
                    <a:cubicBezTo>
                      <a:pt x="238" y="169"/>
                      <a:pt x="239" y="168"/>
                      <a:pt x="239" y="167"/>
                    </a:cubicBezTo>
                    <a:cubicBezTo>
                      <a:pt x="239" y="166"/>
                      <a:pt x="239" y="165"/>
                      <a:pt x="240" y="164"/>
                    </a:cubicBezTo>
                    <a:cubicBezTo>
                      <a:pt x="247" y="141"/>
                      <a:pt x="255" y="122"/>
                      <a:pt x="266" y="109"/>
                    </a:cubicBezTo>
                    <a:cubicBezTo>
                      <a:pt x="276" y="95"/>
                      <a:pt x="288" y="86"/>
                      <a:pt x="301" y="82"/>
                    </a:cubicBezTo>
                    <a:cubicBezTo>
                      <a:pt x="313" y="79"/>
                      <a:pt x="327" y="80"/>
                      <a:pt x="340" y="87"/>
                    </a:cubicBezTo>
                    <a:cubicBezTo>
                      <a:pt x="354" y="94"/>
                      <a:pt x="367" y="106"/>
                      <a:pt x="380" y="125"/>
                    </a:cubicBezTo>
                    <a:cubicBezTo>
                      <a:pt x="392" y="143"/>
                      <a:pt x="403" y="166"/>
                      <a:pt x="411" y="191"/>
                    </a:cubicBezTo>
                    <a:cubicBezTo>
                      <a:pt x="419" y="216"/>
                      <a:pt x="425" y="243"/>
                      <a:pt x="429" y="271"/>
                    </a:cubicBezTo>
                    <a:cubicBezTo>
                      <a:pt x="432" y="299"/>
                      <a:pt x="433" y="328"/>
                      <a:pt x="431" y="356"/>
                    </a:cubicBezTo>
                    <a:cubicBezTo>
                      <a:pt x="429" y="383"/>
                      <a:pt x="425" y="409"/>
                      <a:pt x="417" y="433"/>
                    </a:cubicBezTo>
                    <a:cubicBezTo>
                      <a:pt x="409" y="456"/>
                      <a:pt x="400" y="474"/>
                      <a:pt x="389" y="487"/>
                    </a:cubicBezTo>
                    <a:cubicBezTo>
                      <a:pt x="378" y="500"/>
                      <a:pt x="365" y="507"/>
                      <a:pt x="352" y="509"/>
                    </a:cubicBezTo>
                    <a:cubicBezTo>
                      <a:pt x="339" y="512"/>
                      <a:pt x="326" y="509"/>
                      <a:pt x="313" y="500"/>
                    </a:cubicBezTo>
                    <a:cubicBezTo>
                      <a:pt x="300" y="492"/>
                      <a:pt x="287" y="479"/>
                      <a:pt x="275" y="460"/>
                    </a:cubicBezTo>
                    <a:cubicBezTo>
                      <a:pt x="275" y="459"/>
                      <a:pt x="274" y="458"/>
                      <a:pt x="274" y="457"/>
                    </a:cubicBezTo>
                    <a:cubicBezTo>
                      <a:pt x="273" y="456"/>
                      <a:pt x="272" y="455"/>
                      <a:pt x="272" y="455"/>
                    </a:cubicBezTo>
                    <a:cubicBezTo>
                      <a:pt x="271" y="454"/>
                      <a:pt x="271" y="453"/>
                      <a:pt x="270" y="452"/>
                    </a:cubicBezTo>
                    <a:cubicBezTo>
                      <a:pt x="270" y="451"/>
                      <a:pt x="269" y="450"/>
                      <a:pt x="269" y="449"/>
                    </a:cubicBezTo>
                    <a:cubicBezTo>
                      <a:pt x="268" y="447"/>
                      <a:pt x="267" y="445"/>
                      <a:pt x="266" y="444"/>
                    </a:cubicBezTo>
                    <a:cubicBezTo>
                      <a:pt x="265" y="442"/>
                      <a:pt x="264" y="440"/>
                      <a:pt x="263" y="438"/>
                    </a:cubicBezTo>
                    <a:cubicBezTo>
                      <a:pt x="262" y="437"/>
                      <a:pt x="261" y="435"/>
                      <a:pt x="261" y="433"/>
                    </a:cubicBezTo>
                    <a:cubicBezTo>
                      <a:pt x="260" y="431"/>
                      <a:pt x="259" y="429"/>
                      <a:pt x="258" y="428"/>
                    </a:cubicBezTo>
                    <a:cubicBezTo>
                      <a:pt x="251" y="450"/>
                      <a:pt x="251" y="450"/>
                      <a:pt x="251" y="450"/>
                    </a:cubicBezTo>
                    <a:cubicBezTo>
                      <a:pt x="184" y="670"/>
                      <a:pt x="184" y="670"/>
                      <a:pt x="184" y="670"/>
                    </a:cubicBezTo>
                    <a:cubicBezTo>
                      <a:pt x="0" y="364"/>
                      <a:pt x="0" y="364"/>
                      <a:pt x="0" y="364"/>
                    </a:cubicBezTo>
                    <a:lnTo>
                      <a:pt x="101" y="0"/>
                    </a:lnTo>
                    <a:close/>
                  </a:path>
                </a:pathLst>
              </a:custGeom>
              <a:solidFill>
                <a:schemeClr val="accent1"/>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4" name="Freeform 65"/>
              <p:cNvSpPr/>
              <p:nvPr/>
            </p:nvSpPr>
            <p:spPr bwMode="auto">
              <a:xfrm>
                <a:off x="7863897" y="5606410"/>
                <a:ext cx="1102611" cy="1670725"/>
              </a:xfrm>
              <a:custGeom>
                <a:avLst/>
                <a:gdLst>
                  <a:gd name="T0" fmla="*/ 0 w 416"/>
                  <a:gd name="T1" fmla="*/ 343 h 630"/>
                  <a:gd name="T2" fmla="*/ 95 w 416"/>
                  <a:gd name="T3" fmla="*/ 0 h 630"/>
                  <a:gd name="T4" fmla="*/ 227 w 416"/>
                  <a:gd name="T5" fmla="*/ 202 h 630"/>
                  <a:gd name="T6" fmla="*/ 231 w 416"/>
                  <a:gd name="T7" fmla="*/ 181 h 630"/>
                  <a:gd name="T8" fmla="*/ 232 w 416"/>
                  <a:gd name="T9" fmla="*/ 175 h 630"/>
                  <a:gd name="T10" fmla="*/ 233 w 416"/>
                  <a:gd name="T11" fmla="*/ 169 h 630"/>
                  <a:gd name="T12" fmla="*/ 234 w 416"/>
                  <a:gd name="T13" fmla="*/ 163 h 630"/>
                  <a:gd name="T14" fmla="*/ 237 w 416"/>
                  <a:gd name="T15" fmla="*/ 153 h 630"/>
                  <a:gd name="T16" fmla="*/ 238 w 416"/>
                  <a:gd name="T17" fmla="*/ 149 h 630"/>
                  <a:gd name="T18" fmla="*/ 238 w 416"/>
                  <a:gd name="T19" fmla="*/ 146 h 630"/>
                  <a:gd name="T20" fmla="*/ 263 w 416"/>
                  <a:gd name="T21" fmla="*/ 94 h 630"/>
                  <a:gd name="T22" fmla="*/ 294 w 416"/>
                  <a:gd name="T23" fmla="*/ 70 h 630"/>
                  <a:gd name="T24" fmla="*/ 306 w 416"/>
                  <a:gd name="T25" fmla="*/ 68 h 630"/>
                  <a:gd name="T26" fmla="*/ 327 w 416"/>
                  <a:gd name="T27" fmla="*/ 74 h 630"/>
                  <a:gd name="T28" fmla="*/ 364 w 416"/>
                  <a:gd name="T29" fmla="*/ 109 h 630"/>
                  <a:gd name="T30" fmla="*/ 394 w 416"/>
                  <a:gd name="T31" fmla="*/ 173 h 630"/>
                  <a:gd name="T32" fmla="*/ 412 w 416"/>
                  <a:gd name="T33" fmla="*/ 252 h 630"/>
                  <a:gd name="T34" fmla="*/ 414 w 416"/>
                  <a:gd name="T35" fmla="*/ 335 h 630"/>
                  <a:gd name="T36" fmla="*/ 400 w 416"/>
                  <a:gd name="T37" fmla="*/ 410 h 630"/>
                  <a:gd name="T38" fmla="*/ 373 w 416"/>
                  <a:gd name="T39" fmla="*/ 462 h 630"/>
                  <a:gd name="T40" fmla="*/ 342 w 416"/>
                  <a:gd name="T41" fmla="*/ 481 h 630"/>
                  <a:gd name="T42" fmla="*/ 335 w 416"/>
                  <a:gd name="T43" fmla="*/ 482 h 630"/>
                  <a:gd name="T44" fmla="*/ 308 w 416"/>
                  <a:gd name="T45" fmla="*/ 474 h 630"/>
                  <a:gd name="T46" fmla="*/ 273 w 416"/>
                  <a:gd name="T47" fmla="*/ 436 h 630"/>
                  <a:gd name="T48" fmla="*/ 271 w 416"/>
                  <a:gd name="T49" fmla="*/ 433 h 630"/>
                  <a:gd name="T50" fmla="*/ 268 w 416"/>
                  <a:gd name="T51" fmla="*/ 428 h 630"/>
                  <a:gd name="T52" fmla="*/ 267 w 416"/>
                  <a:gd name="T53" fmla="*/ 425 h 630"/>
                  <a:gd name="T54" fmla="*/ 264 w 416"/>
                  <a:gd name="T55" fmla="*/ 420 h 630"/>
                  <a:gd name="T56" fmla="*/ 262 w 416"/>
                  <a:gd name="T57" fmla="*/ 416 h 630"/>
                  <a:gd name="T58" fmla="*/ 259 w 416"/>
                  <a:gd name="T59" fmla="*/ 410 h 630"/>
                  <a:gd name="T60" fmla="*/ 257 w 416"/>
                  <a:gd name="T61" fmla="*/ 404 h 630"/>
                  <a:gd name="T62" fmla="*/ 248 w 416"/>
                  <a:gd name="T63" fmla="*/ 384 h 630"/>
                  <a:gd name="T64" fmla="*/ 172 w 416"/>
                  <a:gd name="T65" fmla="*/ 630 h 630"/>
                  <a:gd name="T66" fmla="*/ 0 w 416"/>
                  <a:gd name="T67" fmla="*/ 34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6" h="630">
                    <a:moveTo>
                      <a:pt x="0" y="343"/>
                    </a:moveTo>
                    <a:cubicBezTo>
                      <a:pt x="95" y="0"/>
                      <a:pt x="95" y="0"/>
                      <a:pt x="95" y="0"/>
                    </a:cubicBezTo>
                    <a:cubicBezTo>
                      <a:pt x="227" y="202"/>
                      <a:pt x="227" y="202"/>
                      <a:pt x="227" y="202"/>
                    </a:cubicBezTo>
                    <a:cubicBezTo>
                      <a:pt x="231" y="181"/>
                      <a:pt x="231" y="181"/>
                      <a:pt x="231" y="181"/>
                    </a:cubicBezTo>
                    <a:cubicBezTo>
                      <a:pt x="231" y="179"/>
                      <a:pt x="231" y="177"/>
                      <a:pt x="232" y="175"/>
                    </a:cubicBezTo>
                    <a:cubicBezTo>
                      <a:pt x="232" y="173"/>
                      <a:pt x="232" y="171"/>
                      <a:pt x="233" y="169"/>
                    </a:cubicBezTo>
                    <a:cubicBezTo>
                      <a:pt x="233" y="167"/>
                      <a:pt x="234" y="165"/>
                      <a:pt x="234" y="163"/>
                    </a:cubicBezTo>
                    <a:cubicBezTo>
                      <a:pt x="235" y="161"/>
                      <a:pt x="237" y="153"/>
                      <a:pt x="237" y="153"/>
                    </a:cubicBezTo>
                    <a:cubicBezTo>
                      <a:pt x="238" y="149"/>
                      <a:pt x="238" y="149"/>
                      <a:pt x="238" y="149"/>
                    </a:cubicBezTo>
                    <a:cubicBezTo>
                      <a:pt x="238" y="146"/>
                      <a:pt x="238" y="146"/>
                      <a:pt x="238" y="146"/>
                    </a:cubicBezTo>
                    <a:cubicBezTo>
                      <a:pt x="245" y="125"/>
                      <a:pt x="253" y="107"/>
                      <a:pt x="263" y="94"/>
                    </a:cubicBezTo>
                    <a:cubicBezTo>
                      <a:pt x="273" y="81"/>
                      <a:pt x="283" y="73"/>
                      <a:pt x="294" y="70"/>
                    </a:cubicBezTo>
                    <a:cubicBezTo>
                      <a:pt x="298" y="69"/>
                      <a:pt x="302" y="68"/>
                      <a:pt x="306" y="68"/>
                    </a:cubicBezTo>
                    <a:cubicBezTo>
                      <a:pt x="313" y="68"/>
                      <a:pt x="320" y="70"/>
                      <a:pt x="327" y="74"/>
                    </a:cubicBezTo>
                    <a:cubicBezTo>
                      <a:pt x="340" y="81"/>
                      <a:pt x="352" y="92"/>
                      <a:pt x="364" y="109"/>
                    </a:cubicBezTo>
                    <a:cubicBezTo>
                      <a:pt x="376" y="127"/>
                      <a:pt x="386" y="148"/>
                      <a:pt x="394" y="173"/>
                    </a:cubicBezTo>
                    <a:cubicBezTo>
                      <a:pt x="402" y="198"/>
                      <a:pt x="408" y="224"/>
                      <a:pt x="412" y="252"/>
                    </a:cubicBezTo>
                    <a:cubicBezTo>
                      <a:pt x="415" y="280"/>
                      <a:pt x="416" y="308"/>
                      <a:pt x="414" y="335"/>
                    </a:cubicBezTo>
                    <a:cubicBezTo>
                      <a:pt x="412" y="363"/>
                      <a:pt x="408" y="388"/>
                      <a:pt x="400" y="410"/>
                    </a:cubicBezTo>
                    <a:cubicBezTo>
                      <a:pt x="393" y="432"/>
                      <a:pt x="384" y="449"/>
                      <a:pt x="373" y="462"/>
                    </a:cubicBezTo>
                    <a:cubicBezTo>
                      <a:pt x="364" y="473"/>
                      <a:pt x="353" y="479"/>
                      <a:pt x="342" y="481"/>
                    </a:cubicBezTo>
                    <a:cubicBezTo>
                      <a:pt x="340" y="482"/>
                      <a:pt x="337" y="482"/>
                      <a:pt x="335" y="482"/>
                    </a:cubicBezTo>
                    <a:cubicBezTo>
                      <a:pt x="326" y="482"/>
                      <a:pt x="317" y="479"/>
                      <a:pt x="308" y="474"/>
                    </a:cubicBezTo>
                    <a:cubicBezTo>
                      <a:pt x="296" y="466"/>
                      <a:pt x="284" y="453"/>
                      <a:pt x="273" y="436"/>
                    </a:cubicBezTo>
                    <a:cubicBezTo>
                      <a:pt x="271" y="433"/>
                      <a:pt x="271" y="433"/>
                      <a:pt x="271" y="433"/>
                    </a:cubicBezTo>
                    <a:cubicBezTo>
                      <a:pt x="268" y="428"/>
                      <a:pt x="268" y="428"/>
                      <a:pt x="268" y="428"/>
                    </a:cubicBezTo>
                    <a:cubicBezTo>
                      <a:pt x="268" y="427"/>
                      <a:pt x="267" y="426"/>
                      <a:pt x="267" y="425"/>
                    </a:cubicBezTo>
                    <a:cubicBezTo>
                      <a:pt x="266" y="423"/>
                      <a:pt x="265" y="422"/>
                      <a:pt x="264" y="420"/>
                    </a:cubicBezTo>
                    <a:cubicBezTo>
                      <a:pt x="263" y="418"/>
                      <a:pt x="263" y="417"/>
                      <a:pt x="262" y="416"/>
                    </a:cubicBezTo>
                    <a:cubicBezTo>
                      <a:pt x="262" y="416"/>
                      <a:pt x="260" y="411"/>
                      <a:pt x="259" y="410"/>
                    </a:cubicBezTo>
                    <a:cubicBezTo>
                      <a:pt x="258" y="408"/>
                      <a:pt x="257" y="406"/>
                      <a:pt x="257" y="404"/>
                    </a:cubicBezTo>
                    <a:cubicBezTo>
                      <a:pt x="248" y="384"/>
                      <a:pt x="248" y="384"/>
                      <a:pt x="248" y="384"/>
                    </a:cubicBezTo>
                    <a:cubicBezTo>
                      <a:pt x="172" y="630"/>
                      <a:pt x="172" y="630"/>
                      <a:pt x="172" y="630"/>
                    </a:cubicBezTo>
                    <a:lnTo>
                      <a:pt x="0" y="343"/>
                    </a:lnTo>
                    <a:close/>
                  </a:path>
                </a:pathLst>
              </a:custGeom>
              <a:solidFill>
                <a:schemeClr val="accent1"/>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5" name="Freeform 66"/>
              <p:cNvSpPr/>
              <p:nvPr/>
            </p:nvSpPr>
            <p:spPr bwMode="auto">
              <a:xfrm>
                <a:off x="8444338" y="4312187"/>
                <a:ext cx="3722433" cy="1758127"/>
              </a:xfrm>
              <a:custGeom>
                <a:avLst/>
                <a:gdLst>
                  <a:gd name="T0" fmla="*/ 455 w 1404"/>
                  <a:gd name="T1" fmla="*/ 0 h 663"/>
                  <a:gd name="T2" fmla="*/ 0 w 1404"/>
                  <a:gd name="T3" fmla="*/ 8 h 663"/>
                  <a:gd name="T4" fmla="*/ 479 w 1404"/>
                  <a:gd name="T5" fmla="*/ 663 h 663"/>
                  <a:gd name="T6" fmla="*/ 1404 w 1404"/>
                  <a:gd name="T7" fmla="*/ 587 h 663"/>
                  <a:gd name="T8" fmla="*/ 1120 w 1404"/>
                  <a:gd name="T9" fmla="*/ 269 h 663"/>
                  <a:gd name="T10" fmla="*/ 876 w 1404"/>
                  <a:gd name="T11" fmla="*/ 280 h 663"/>
                  <a:gd name="T12" fmla="*/ 877 w 1404"/>
                  <a:gd name="T13" fmla="*/ 282 h 663"/>
                  <a:gd name="T14" fmla="*/ 879 w 1404"/>
                  <a:gd name="T15" fmla="*/ 284 h 663"/>
                  <a:gd name="T16" fmla="*/ 881 w 1404"/>
                  <a:gd name="T17" fmla="*/ 286 h 663"/>
                  <a:gd name="T18" fmla="*/ 883 w 1404"/>
                  <a:gd name="T19" fmla="*/ 289 h 663"/>
                  <a:gd name="T20" fmla="*/ 913 w 1404"/>
                  <a:gd name="T21" fmla="*/ 344 h 663"/>
                  <a:gd name="T22" fmla="*/ 909 w 1404"/>
                  <a:gd name="T23" fmla="*/ 391 h 663"/>
                  <a:gd name="T24" fmla="*/ 871 w 1404"/>
                  <a:gd name="T25" fmla="*/ 426 h 663"/>
                  <a:gd name="T26" fmla="*/ 801 w 1404"/>
                  <a:gd name="T27" fmla="*/ 443 h 663"/>
                  <a:gd name="T28" fmla="*/ 710 w 1404"/>
                  <a:gd name="T29" fmla="*/ 436 h 663"/>
                  <a:gd name="T30" fmla="*/ 618 w 1404"/>
                  <a:gd name="T31" fmla="*/ 408 h 663"/>
                  <a:gd name="T32" fmla="*/ 536 w 1404"/>
                  <a:gd name="T33" fmla="*/ 364 h 663"/>
                  <a:gd name="T34" fmla="*/ 475 w 1404"/>
                  <a:gd name="T35" fmla="*/ 308 h 663"/>
                  <a:gd name="T36" fmla="*/ 448 w 1404"/>
                  <a:gd name="T37" fmla="*/ 251 h 663"/>
                  <a:gd name="T38" fmla="*/ 458 w 1404"/>
                  <a:gd name="T39" fmla="*/ 205 h 663"/>
                  <a:gd name="T40" fmla="*/ 500 w 1404"/>
                  <a:gd name="T41" fmla="*/ 173 h 663"/>
                  <a:gd name="T42" fmla="*/ 571 w 1404"/>
                  <a:gd name="T43" fmla="*/ 160 h 663"/>
                  <a:gd name="T44" fmla="*/ 574 w 1404"/>
                  <a:gd name="T45" fmla="*/ 160 h 663"/>
                  <a:gd name="T46" fmla="*/ 578 w 1404"/>
                  <a:gd name="T47" fmla="*/ 160 h 663"/>
                  <a:gd name="T48" fmla="*/ 582 w 1404"/>
                  <a:gd name="T49" fmla="*/ 160 h 663"/>
                  <a:gd name="T50" fmla="*/ 585 w 1404"/>
                  <a:gd name="T51" fmla="*/ 160 h 663"/>
                  <a:gd name="T52" fmla="*/ 455 w 1404"/>
                  <a:gd name="T53" fmla="*/ 0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4" h="663">
                    <a:moveTo>
                      <a:pt x="455" y="0"/>
                    </a:moveTo>
                    <a:cubicBezTo>
                      <a:pt x="0" y="8"/>
                      <a:pt x="0" y="8"/>
                      <a:pt x="0" y="8"/>
                    </a:cubicBezTo>
                    <a:cubicBezTo>
                      <a:pt x="479" y="663"/>
                      <a:pt x="479" y="663"/>
                      <a:pt x="479" y="663"/>
                    </a:cubicBezTo>
                    <a:cubicBezTo>
                      <a:pt x="1404" y="587"/>
                      <a:pt x="1404" y="587"/>
                      <a:pt x="1404" y="587"/>
                    </a:cubicBezTo>
                    <a:cubicBezTo>
                      <a:pt x="1120" y="269"/>
                      <a:pt x="1120" y="269"/>
                      <a:pt x="1120" y="269"/>
                    </a:cubicBezTo>
                    <a:cubicBezTo>
                      <a:pt x="876" y="280"/>
                      <a:pt x="876" y="280"/>
                      <a:pt x="876" y="280"/>
                    </a:cubicBezTo>
                    <a:cubicBezTo>
                      <a:pt x="876" y="281"/>
                      <a:pt x="877" y="282"/>
                      <a:pt x="877" y="282"/>
                    </a:cubicBezTo>
                    <a:cubicBezTo>
                      <a:pt x="878" y="283"/>
                      <a:pt x="879" y="284"/>
                      <a:pt x="879" y="284"/>
                    </a:cubicBezTo>
                    <a:cubicBezTo>
                      <a:pt x="880" y="285"/>
                      <a:pt x="881" y="286"/>
                      <a:pt x="881" y="286"/>
                    </a:cubicBezTo>
                    <a:cubicBezTo>
                      <a:pt x="882" y="287"/>
                      <a:pt x="882" y="288"/>
                      <a:pt x="883" y="289"/>
                    </a:cubicBezTo>
                    <a:cubicBezTo>
                      <a:pt x="899" y="308"/>
                      <a:pt x="909" y="326"/>
                      <a:pt x="913" y="344"/>
                    </a:cubicBezTo>
                    <a:cubicBezTo>
                      <a:pt x="918" y="361"/>
                      <a:pt x="916" y="377"/>
                      <a:pt x="909" y="391"/>
                    </a:cubicBezTo>
                    <a:cubicBezTo>
                      <a:pt x="902" y="405"/>
                      <a:pt x="889" y="417"/>
                      <a:pt x="871" y="426"/>
                    </a:cubicBezTo>
                    <a:cubicBezTo>
                      <a:pt x="853" y="435"/>
                      <a:pt x="829" y="441"/>
                      <a:pt x="801" y="443"/>
                    </a:cubicBezTo>
                    <a:cubicBezTo>
                      <a:pt x="772" y="445"/>
                      <a:pt x="741" y="442"/>
                      <a:pt x="710" y="436"/>
                    </a:cubicBezTo>
                    <a:cubicBezTo>
                      <a:pt x="679" y="430"/>
                      <a:pt x="648" y="420"/>
                      <a:pt x="618" y="408"/>
                    </a:cubicBezTo>
                    <a:cubicBezTo>
                      <a:pt x="588" y="396"/>
                      <a:pt x="560" y="381"/>
                      <a:pt x="536" y="364"/>
                    </a:cubicBezTo>
                    <a:cubicBezTo>
                      <a:pt x="511" y="347"/>
                      <a:pt x="490" y="328"/>
                      <a:pt x="475" y="308"/>
                    </a:cubicBezTo>
                    <a:cubicBezTo>
                      <a:pt x="459" y="288"/>
                      <a:pt x="451" y="269"/>
                      <a:pt x="448" y="251"/>
                    </a:cubicBezTo>
                    <a:cubicBezTo>
                      <a:pt x="446" y="234"/>
                      <a:pt x="449" y="219"/>
                      <a:pt x="458" y="205"/>
                    </a:cubicBezTo>
                    <a:cubicBezTo>
                      <a:pt x="467" y="192"/>
                      <a:pt x="481" y="181"/>
                      <a:pt x="500" y="173"/>
                    </a:cubicBezTo>
                    <a:cubicBezTo>
                      <a:pt x="519" y="166"/>
                      <a:pt x="543" y="161"/>
                      <a:pt x="571" y="160"/>
                    </a:cubicBezTo>
                    <a:cubicBezTo>
                      <a:pt x="572" y="160"/>
                      <a:pt x="573" y="160"/>
                      <a:pt x="574" y="160"/>
                    </a:cubicBezTo>
                    <a:cubicBezTo>
                      <a:pt x="576" y="160"/>
                      <a:pt x="577" y="160"/>
                      <a:pt x="578" y="160"/>
                    </a:cubicBezTo>
                    <a:cubicBezTo>
                      <a:pt x="579" y="160"/>
                      <a:pt x="580" y="160"/>
                      <a:pt x="582" y="160"/>
                    </a:cubicBezTo>
                    <a:cubicBezTo>
                      <a:pt x="583" y="160"/>
                      <a:pt x="584" y="160"/>
                      <a:pt x="585" y="160"/>
                    </a:cubicBezTo>
                    <a:cubicBezTo>
                      <a:pt x="455" y="0"/>
                      <a:pt x="455" y="0"/>
                      <a:pt x="455" y="0"/>
                    </a:cubicBezTo>
                    <a:close/>
                  </a:path>
                </a:pathLst>
              </a:custGeom>
              <a:solidFill>
                <a:schemeClr val="bg1">
                  <a:lumMod val="8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6" name="Freeform 67"/>
              <p:cNvSpPr/>
              <p:nvPr/>
            </p:nvSpPr>
            <p:spPr bwMode="auto">
              <a:xfrm>
                <a:off x="9773108" y="4079691"/>
                <a:ext cx="1672966" cy="1150795"/>
              </a:xfrm>
              <a:custGeom>
                <a:avLst/>
                <a:gdLst>
                  <a:gd name="T0" fmla="*/ 399 w 631"/>
                  <a:gd name="T1" fmla="*/ 0 h 434"/>
                  <a:gd name="T2" fmla="*/ 4 w 631"/>
                  <a:gd name="T3" fmla="*/ 7 h 434"/>
                  <a:gd name="T4" fmla="*/ 137 w 631"/>
                  <a:gd name="T5" fmla="*/ 168 h 434"/>
                  <a:gd name="T6" fmla="*/ 150 w 631"/>
                  <a:gd name="T7" fmla="*/ 184 h 434"/>
                  <a:gd name="T8" fmla="*/ 143 w 631"/>
                  <a:gd name="T9" fmla="*/ 184 h 434"/>
                  <a:gd name="T10" fmla="*/ 137 w 631"/>
                  <a:gd name="T11" fmla="*/ 183 h 434"/>
                  <a:gd name="T12" fmla="*/ 131 w 631"/>
                  <a:gd name="T13" fmla="*/ 183 h 434"/>
                  <a:gd name="T14" fmla="*/ 124 w 631"/>
                  <a:gd name="T15" fmla="*/ 183 h 434"/>
                  <a:gd name="T16" fmla="*/ 121 w 631"/>
                  <a:gd name="T17" fmla="*/ 183 h 434"/>
                  <a:gd name="T18" fmla="*/ 117 w 631"/>
                  <a:gd name="T19" fmla="*/ 183 h 434"/>
                  <a:gd name="T20" fmla="*/ 113 w 631"/>
                  <a:gd name="T21" fmla="*/ 183 h 434"/>
                  <a:gd name="T22" fmla="*/ 110 w 631"/>
                  <a:gd name="T23" fmla="*/ 183 h 434"/>
                  <a:gd name="T24" fmla="*/ 48 w 631"/>
                  <a:gd name="T25" fmla="*/ 195 h 434"/>
                  <a:gd name="T26" fmla="*/ 11 w 631"/>
                  <a:gd name="T27" fmla="*/ 223 h 434"/>
                  <a:gd name="T28" fmla="*/ 2 w 631"/>
                  <a:gd name="T29" fmla="*/ 264 h 434"/>
                  <a:gd name="T30" fmla="*/ 26 w 631"/>
                  <a:gd name="T31" fmla="*/ 314 h 434"/>
                  <a:gd name="T32" fmla="*/ 79 w 631"/>
                  <a:gd name="T33" fmla="*/ 363 h 434"/>
                  <a:gd name="T34" fmla="*/ 152 w 631"/>
                  <a:gd name="T35" fmla="*/ 402 h 434"/>
                  <a:gd name="T36" fmla="*/ 233 w 631"/>
                  <a:gd name="T37" fmla="*/ 426 h 434"/>
                  <a:gd name="T38" fmla="*/ 313 w 631"/>
                  <a:gd name="T39" fmla="*/ 432 h 434"/>
                  <a:gd name="T40" fmla="*/ 375 w 631"/>
                  <a:gd name="T41" fmla="*/ 418 h 434"/>
                  <a:gd name="T42" fmla="*/ 408 w 631"/>
                  <a:gd name="T43" fmla="*/ 387 h 434"/>
                  <a:gd name="T44" fmla="*/ 413 w 631"/>
                  <a:gd name="T45" fmla="*/ 345 h 434"/>
                  <a:gd name="T46" fmla="*/ 386 w 631"/>
                  <a:gd name="T47" fmla="*/ 297 h 434"/>
                  <a:gd name="T48" fmla="*/ 384 w 631"/>
                  <a:gd name="T49" fmla="*/ 295 h 434"/>
                  <a:gd name="T50" fmla="*/ 382 w 631"/>
                  <a:gd name="T51" fmla="*/ 293 h 434"/>
                  <a:gd name="T52" fmla="*/ 380 w 631"/>
                  <a:gd name="T53" fmla="*/ 291 h 434"/>
                  <a:gd name="T54" fmla="*/ 379 w 631"/>
                  <a:gd name="T55" fmla="*/ 289 h 434"/>
                  <a:gd name="T56" fmla="*/ 375 w 631"/>
                  <a:gd name="T57" fmla="*/ 284 h 434"/>
                  <a:gd name="T58" fmla="*/ 370 w 631"/>
                  <a:gd name="T59" fmla="*/ 280 h 434"/>
                  <a:gd name="T60" fmla="*/ 366 w 631"/>
                  <a:gd name="T61" fmla="*/ 276 h 434"/>
                  <a:gd name="T62" fmla="*/ 362 w 631"/>
                  <a:gd name="T63" fmla="*/ 272 h 434"/>
                  <a:gd name="T64" fmla="*/ 385 w 631"/>
                  <a:gd name="T65" fmla="*/ 271 h 434"/>
                  <a:gd name="T66" fmla="*/ 631 w 631"/>
                  <a:gd name="T67" fmla="*/ 260 h 434"/>
                  <a:gd name="T68" fmla="*/ 399 w 631"/>
                  <a:gd name="T69"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1" h="434">
                    <a:moveTo>
                      <a:pt x="399" y="0"/>
                    </a:moveTo>
                    <a:cubicBezTo>
                      <a:pt x="4" y="7"/>
                      <a:pt x="4" y="7"/>
                      <a:pt x="4" y="7"/>
                    </a:cubicBezTo>
                    <a:cubicBezTo>
                      <a:pt x="137" y="168"/>
                      <a:pt x="137" y="168"/>
                      <a:pt x="137" y="168"/>
                    </a:cubicBezTo>
                    <a:cubicBezTo>
                      <a:pt x="150" y="184"/>
                      <a:pt x="150" y="184"/>
                      <a:pt x="150" y="184"/>
                    </a:cubicBezTo>
                    <a:cubicBezTo>
                      <a:pt x="148" y="184"/>
                      <a:pt x="145" y="184"/>
                      <a:pt x="143" y="184"/>
                    </a:cubicBezTo>
                    <a:cubicBezTo>
                      <a:pt x="141" y="184"/>
                      <a:pt x="139" y="184"/>
                      <a:pt x="137" y="183"/>
                    </a:cubicBezTo>
                    <a:cubicBezTo>
                      <a:pt x="135" y="183"/>
                      <a:pt x="133" y="183"/>
                      <a:pt x="131" y="183"/>
                    </a:cubicBezTo>
                    <a:cubicBezTo>
                      <a:pt x="128" y="183"/>
                      <a:pt x="126" y="183"/>
                      <a:pt x="124" y="183"/>
                    </a:cubicBezTo>
                    <a:cubicBezTo>
                      <a:pt x="123" y="183"/>
                      <a:pt x="122" y="183"/>
                      <a:pt x="121" y="183"/>
                    </a:cubicBezTo>
                    <a:cubicBezTo>
                      <a:pt x="119" y="183"/>
                      <a:pt x="118" y="183"/>
                      <a:pt x="117" y="183"/>
                    </a:cubicBezTo>
                    <a:cubicBezTo>
                      <a:pt x="116" y="183"/>
                      <a:pt x="115" y="183"/>
                      <a:pt x="113" y="183"/>
                    </a:cubicBezTo>
                    <a:cubicBezTo>
                      <a:pt x="112" y="183"/>
                      <a:pt x="111" y="183"/>
                      <a:pt x="110" y="183"/>
                    </a:cubicBezTo>
                    <a:cubicBezTo>
                      <a:pt x="85" y="184"/>
                      <a:pt x="64" y="188"/>
                      <a:pt x="48" y="195"/>
                    </a:cubicBezTo>
                    <a:cubicBezTo>
                      <a:pt x="31" y="202"/>
                      <a:pt x="18" y="211"/>
                      <a:pt x="11" y="223"/>
                    </a:cubicBezTo>
                    <a:cubicBezTo>
                      <a:pt x="3" y="235"/>
                      <a:pt x="0" y="249"/>
                      <a:pt x="2" y="264"/>
                    </a:cubicBezTo>
                    <a:cubicBezTo>
                      <a:pt x="4" y="279"/>
                      <a:pt x="12" y="296"/>
                      <a:pt x="26" y="314"/>
                    </a:cubicBezTo>
                    <a:cubicBezTo>
                      <a:pt x="39" y="331"/>
                      <a:pt x="58" y="348"/>
                      <a:pt x="79" y="363"/>
                    </a:cubicBezTo>
                    <a:cubicBezTo>
                      <a:pt x="101" y="378"/>
                      <a:pt x="126" y="391"/>
                      <a:pt x="152" y="402"/>
                    </a:cubicBezTo>
                    <a:cubicBezTo>
                      <a:pt x="178" y="413"/>
                      <a:pt x="206" y="421"/>
                      <a:pt x="233" y="426"/>
                    </a:cubicBezTo>
                    <a:cubicBezTo>
                      <a:pt x="260" y="432"/>
                      <a:pt x="287" y="434"/>
                      <a:pt x="313" y="432"/>
                    </a:cubicBezTo>
                    <a:cubicBezTo>
                      <a:pt x="338" y="431"/>
                      <a:pt x="358" y="426"/>
                      <a:pt x="375" y="418"/>
                    </a:cubicBezTo>
                    <a:cubicBezTo>
                      <a:pt x="391" y="410"/>
                      <a:pt x="402" y="400"/>
                      <a:pt x="408" y="387"/>
                    </a:cubicBezTo>
                    <a:cubicBezTo>
                      <a:pt x="415" y="375"/>
                      <a:pt x="416" y="361"/>
                      <a:pt x="413" y="345"/>
                    </a:cubicBezTo>
                    <a:cubicBezTo>
                      <a:pt x="409" y="330"/>
                      <a:pt x="400" y="314"/>
                      <a:pt x="386" y="297"/>
                    </a:cubicBezTo>
                    <a:cubicBezTo>
                      <a:pt x="385" y="296"/>
                      <a:pt x="385" y="295"/>
                      <a:pt x="384" y="295"/>
                    </a:cubicBezTo>
                    <a:cubicBezTo>
                      <a:pt x="383" y="294"/>
                      <a:pt x="383" y="293"/>
                      <a:pt x="382" y="293"/>
                    </a:cubicBezTo>
                    <a:cubicBezTo>
                      <a:pt x="382" y="292"/>
                      <a:pt x="381" y="291"/>
                      <a:pt x="380" y="291"/>
                    </a:cubicBezTo>
                    <a:cubicBezTo>
                      <a:pt x="380" y="290"/>
                      <a:pt x="379" y="289"/>
                      <a:pt x="379" y="289"/>
                    </a:cubicBezTo>
                    <a:cubicBezTo>
                      <a:pt x="377" y="287"/>
                      <a:pt x="376" y="286"/>
                      <a:pt x="375" y="284"/>
                    </a:cubicBezTo>
                    <a:cubicBezTo>
                      <a:pt x="373" y="283"/>
                      <a:pt x="372" y="282"/>
                      <a:pt x="370" y="280"/>
                    </a:cubicBezTo>
                    <a:cubicBezTo>
                      <a:pt x="369" y="279"/>
                      <a:pt x="368" y="278"/>
                      <a:pt x="366" y="276"/>
                    </a:cubicBezTo>
                    <a:cubicBezTo>
                      <a:pt x="365" y="275"/>
                      <a:pt x="363" y="274"/>
                      <a:pt x="362" y="272"/>
                    </a:cubicBezTo>
                    <a:cubicBezTo>
                      <a:pt x="385" y="271"/>
                      <a:pt x="385" y="271"/>
                      <a:pt x="385" y="271"/>
                    </a:cubicBezTo>
                    <a:cubicBezTo>
                      <a:pt x="631" y="260"/>
                      <a:pt x="631" y="260"/>
                      <a:pt x="631" y="260"/>
                    </a:cubicBezTo>
                    <a:cubicBezTo>
                      <a:pt x="399" y="0"/>
                      <a:pt x="399" y="0"/>
                      <a:pt x="399" y="0"/>
                    </a:cubicBezTo>
                    <a:close/>
                  </a:path>
                </a:pathLst>
              </a:custGeom>
              <a:solidFill>
                <a:schemeClr val="accent3">
                  <a:lumMod val="7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7" name="Freeform 68"/>
              <p:cNvSpPr/>
              <p:nvPr/>
            </p:nvSpPr>
            <p:spPr bwMode="auto">
              <a:xfrm>
                <a:off x="9793278" y="4100982"/>
                <a:ext cx="1606854" cy="1105973"/>
              </a:xfrm>
              <a:custGeom>
                <a:avLst/>
                <a:gdLst>
                  <a:gd name="T0" fmla="*/ 289 w 606"/>
                  <a:gd name="T1" fmla="*/ 417 h 417"/>
                  <a:gd name="T2" fmla="*/ 227 w 606"/>
                  <a:gd name="T3" fmla="*/ 410 h 417"/>
                  <a:gd name="T4" fmla="*/ 147 w 606"/>
                  <a:gd name="T5" fmla="*/ 386 h 417"/>
                  <a:gd name="T6" fmla="*/ 76 w 606"/>
                  <a:gd name="T7" fmla="*/ 348 h 417"/>
                  <a:gd name="T8" fmla="*/ 24 w 606"/>
                  <a:gd name="T9" fmla="*/ 301 h 417"/>
                  <a:gd name="T10" fmla="*/ 2 w 606"/>
                  <a:gd name="T11" fmla="*/ 255 h 417"/>
                  <a:gd name="T12" fmla="*/ 9 w 606"/>
                  <a:gd name="T13" fmla="*/ 220 h 417"/>
                  <a:gd name="T14" fmla="*/ 43 w 606"/>
                  <a:gd name="T15" fmla="*/ 194 h 417"/>
                  <a:gd name="T16" fmla="*/ 102 w 606"/>
                  <a:gd name="T17" fmla="*/ 183 h 417"/>
                  <a:gd name="T18" fmla="*/ 111 w 606"/>
                  <a:gd name="T19" fmla="*/ 183 h 417"/>
                  <a:gd name="T20" fmla="*/ 116 w 606"/>
                  <a:gd name="T21" fmla="*/ 183 h 417"/>
                  <a:gd name="T22" fmla="*/ 122 w 606"/>
                  <a:gd name="T23" fmla="*/ 183 h 417"/>
                  <a:gd name="T24" fmla="*/ 128 w 606"/>
                  <a:gd name="T25" fmla="*/ 184 h 417"/>
                  <a:gd name="T26" fmla="*/ 134 w 606"/>
                  <a:gd name="T27" fmla="*/ 184 h 417"/>
                  <a:gd name="T28" fmla="*/ 141 w 606"/>
                  <a:gd name="T29" fmla="*/ 185 h 417"/>
                  <a:gd name="T30" fmla="*/ 161 w 606"/>
                  <a:gd name="T31" fmla="*/ 187 h 417"/>
                  <a:gd name="T32" fmla="*/ 135 w 606"/>
                  <a:gd name="T33" fmla="*/ 155 h 417"/>
                  <a:gd name="T34" fmla="*/ 13 w 606"/>
                  <a:gd name="T35" fmla="*/ 7 h 417"/>
                  <a:gd name="T36" fmla="*/ 387 w 606"/>
                  <a:gd name="T37" fmla="*/ 0 h 417"/>
                  <a:gd name="T38" fmla="*/ 606 w 606"/>
                  <a:gd name="T39" fmla="*/ 245 h 417"/>
                  <a:gd name="T40" fmla="*/ 333 w 606"/>
                  <a:gd name="T41" fmla="*/ 257 h 417"/>
                  <a:gd name="T42" fmla="*/ 348 w 606"/>
                  <a:gd name="T43" fmla="*/ 271 h 417"/>
                  <a:gd name="T44" fmla="*/ 353 w 606"/>
                  <a:gd name="T45" fmla="*/ 274 h 417"/>
                  <a:gd name="T46" fmla="*/ 357 w 606"/>
                  <a:gd name="T47" fmla="*/ 278 h 417"/>
                  <a:gd name="T48" fmla="*/ 361 w 606"/>
                  <a:gd name="T49" fmla="*/ 282 h 417"/>
                  <a:gd name="T50" fmla="*/ 365 w 606"/>
                  <a:gd name="T51" fmla="*/ 287 h 417"/>
                  <a:gd name="T52" fmla="*/ 370 w 606"/>
                  <a:gd name="T53" fmla="*/ 292 h 417"/>
                  <a:gd name="T54" fmla="*/ 372 w 606"/>
                  <a:gd name="T55" fmla="*/ 294 h 417"/>
                  <a:gd name="T56" fmla="*/ 397 w 606"/>
                  <a:gd name="T57" fmla="*/ 339 h 417"/>
                  <a:gd name="T58" fmla="*/ 393 w 606"/>
                  <a:gd name="T59" fmla="*/ 376 h 417"/>
                  <a:gd name="T60" fmla="*/ 363 w 606"/>
                  <a:gd name="T61" fmla="*/ 403 h 417"/>
                  <a:gd name="T62" fmla="*/ 304 w 606"/>
                  <a:gd name="T63" fmla="*/ 416 h 417"/>
                  <a:gd name="T64" fmla="*/ 289 w 606"/>
                  <a:gd name="T65"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6" h="417">
                    <a:moveTo>
                      <a:pt x="289" y="417"/>
                    </a:moveTo>
                    <a:cubicBezTo>
                      <a:pt x="269" y="417"/>
                      <a:pt x="248" y="415"/>
                      <a:pt x="227" y="410"/>
                    </a:cubicBezTo>
                    <a:cubicBezTo>
                      <a:pt x="200" y="405"/>
                      <a:pt x="173" y="397"/>
                      <a:pt x="147" y="386"/>
                    </a:cubicBezTo>
                    <a:cubicBezTo>
                      <a:pt x="121" y="375"/>
                      <a:pt x="97" y="363"/>
                      <a:pt x="76" y="348"/>
                    </a:cubicBezTo>
                    <a:cubicBezTo>
                      <a:pt x="54" y="333"/>
                      <a:pt x="37" y="317"/>
                      <a:pt x="24" y="301"/>
                    </a:cubicBezTo>
                    <a:cubicBezTo>
                      <a:pt x="12" y="285"/>
                      <a:pt x="4" y="269"/>
                      <a:pt x="2" y="255"/>
                    </a:cubicBezTo>
                    <a:cubicBezTo>
                      <a:pt x="0" y="242"/>
                      <a:pt x="3" y="230"/>
                      <a:pt x="9" y="220"/>
                    </a:cubicBezTo>
                    <a:cubicBezTo>
                      <a:pt x="16" y="209"/>
                      <a:pt x="28" y="201"/>
                      <a:pt x="43" y="194"/>
                    </a:cubicBezTo>
                    <a:cubicBezTo>
                      <a:pt x="59" y="188"/>
                      <a:pt x="79" y="184"/>
                      <a:pt x="102" y="183"/>
                    </a:cubicBezTo>
                    <a:cubicBezTo>
                      <a:pt x="111" y="183"/>
                      <a:pt x="111" y="183"/>
                      <a:pt x="111" y="183"/>
                    </a:cubicBezTo>
                    <a:cubicBezTo>
                      <a:pt x="111" y="183"/>
                      <a:pt x="115" y="183"/>
                      <a:pt x="116" y="183"/>
                    </a:cubicBezTo>
                    <a:cubicBezTo>
                      <a:pt x="118" y="183"/>
                      <a:pt x="120" y="183"/>
                      <a:pt x="122" y="183"/>
                    </a:cubicBezTo>
                    <a:cubicBezTo>
                      <a:pt x="124" y="183"/>
                      <a:pt x="126" y="183"/>
                      <a:pt x="128" y="184"/>
                    </a:cubicBezTo>
                    <a:cubicBezTo>
                      <a:pt x="134" y="184"/>
                      <a:pt x="134" y="184"/>
                      <a:pt x="134" y="184"/>
                    </a:cubicBezTo>
                    <a:cubicBezTo>
                      <a:pt x="137" y="184"/>
                      <a:pt x="139" y="184"/>
                      <a:pt x="141" y="185"/>
                    </a:cubicBezTo>
                    <a:cubicBezTo>
                      <a:pt x="161" y="187"/>
                      <a:pt x="161" y="187"/>
                      <a:pt x="161" y="187"/>
                    </a:cubicBezTo>
                    <a:cubicBezTo>
                      <a:pt x="135" y="155"/>
                      <a:pt x="135" y="155"/>
                      <a:pt x="135" y="155"/>
                    </a:cubicBezTo>
                    <a:cubicBezTo>
                      <a:pt x="13" y="7"/>
                      <a:pt x="13" y="7"/>
                      <a:pt x="13" y="7"/>
                    </a:cubicBezTo>
                    <a:cubicBezTo>
                      <a:pt x="387" y="0"/>
                      <a:pt x="387" y="0"/>
                      <a:pt x="387" y="0"/>
                    </a:cubicBezTo>
                    <a:cubicBezTo>
                      <a:pt x="606" y="245"/>
                      <a:pt x="606" y="245"/>
                      <a:pt x="606" y="245"/>
                    </a:cubicBezTo>
                    <a:cubicBezTo>
                      <a:pt x="333" y="257"/>
                      <a:pt x="333" y="257"/>
                      <a:pt x="333" y="257"/>
                    </a:cubicBezTo>
                    <a:cubicBezTo>
                      <a:pt x="348" y="271"/>
                      <a:pt x="348" y="271"/>
                      <a:pt x="348" y="271"/>
                    </a:cubicBezTo>
                    <a:cubicBezTo>
                      <a:pt x="350" y="272"/>
                      <a:pt x="351" y="273"/>
                      <a:pt x="353" y="274"/>
                    </a:cubicBezTo>
                    <a:cubicBezTo>
                      <a:pt x="357" y="278"/>
                      <a:pt x="357" y="278"/>
                      <a:pt x="357" y="278"/>
                    </a:cubicBezTo>
                    <a:cubicBezTo>
                      <a:pt x="361" y="282"/>
                      <a:pt x="361" y="282"/>
                      <a:pt x="361" y="282"/>
                    </a:cubicBezTo>
                    <a:cubicBezTo>
                      <a:pt x="362" y="283"/>
                      <a:pt x="365" y="287"/>
                      <a:pt x="365" y="287"/>
                    </a:cubicBezTo>
                    <a:cubicBezTo>
                      <a:pt x="370" y="292"/>
                      <a:pt x="370" y="292"/>
                      <a:pt x="370" y="292"/>
                    </a:cubicBezTo>
                    <a:cubicBezTo>
                      <a:pt x="372" y="294"/>
                      <a:pt x="372" y="294"/>
                      <a:pt x="372" y="294"/>
                    </a:cubicBezTo>
                    <a:cubicBezTo>
                      <a:pt x="385" y="309"/>
                      <a:pt x="393" y="325"/>
                      <a:pt x="397" y="339"/>
                    </a:cubicBezTo>
                    <a:cubicBezTo>
                      <a:pt x="400" y="353"/>
                      <a:pt x="399" y="365"/>
                      <a:pt x="393" y="376"/>
                    </a:cubicBezTo>
                    <a:cubicBezTo>
                      <a:pt x="387" y="387"/>
                      <a:pt x="377" y="396"/>
                      <a:pt x="363" y="403"/>
                    </a:cubicBezTo>
                    <a:cubicBezTo>
                      <a:pt x="347" y="410"/>
                      <a:pt x="328" y="415"/>
                      <a:pt x="304" y="416"/>
                    </a:cubicBezTo>
                    <a:cubicBezTo>
                      <a:pt x="299" y="417"/>
                      <a:pt x="294" y="417"/>
                      <a:pt x="289" y="417"/>
                    </a:cubicBezTo>
                    <a:close/>
                  </a:path>
                </a:pathLst>
              </a:custGeom>
              <a:solidFill>
                <a:schemeClr val="accent3"/>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8" name="Freeform 69"/>
              <p:cNvSpPr/>
              <p:nvPr/>
            </p:nvSpPr>
            <p:spPr bwMode="auto">
              <a:xfrm>
                <a:off x="8927291" y="5868616"/>
                <a:ext cx="3239481" cy="2458465"/>
              </a:xfrm>
              <a:custGeom>
                <a:avLst/>
                <a:gdLst>
                  <a:gd name="T0" fmla="*/ 1222 w 1222"/>
                  <a:gd name="T1" fmla="*/ 0 h 927"/>
                  <a:gd name="T2" fmla="*/ 1037 w 1222"/>
                  <a:gd name="T3" fmla="*/ 412 h 927"/>
                  <a:gd name="T4" fmla="*/ 804 w 1222"/>
                  <a:gd name="T5" fmla="*/ 441 h 927"/>
                  <a:gd name="T6" fmla="*/ 806 w 1222"/>
                  <a:gd name="T7" fmla="*/ 437 h 927"/>
                  <a:gd name="T8" fmla="*/ 808 w 1222"/>
                  <a:gd name="T9" fmla="*/ 434 h 927"/>
                  <a:gd name="T10" fmla="*/ 809 w 1222"/>
                  <a:gd name="T11" fmla="*/ 431 h 927"/>
                  <a:gd name="T12" fmla="*/ 810 w 1222"/>
                  <a:gd name="T13" fmla="*/ 428 h 927"/>
                  <a:gd name="T14" fmla="*/ 825 w 1222"/>
                  <a:gd name="T15" fmla="*/ 358 h 927"/>
                  <a:gd name="T16" fmla="*/ 808 w 1222"/>
                  <a:gd name="T17" fmla="*/ 303 h 927"/>
                  <a:gd name="T18" fmla="*/ 761 w 1222"/>
                  <a:gd name="T19" fmla="*/ 269 h 927"/>
                  <a:gd name="T20" fmla="*/ 687 w 1222"/>
                  <a:gd name="T21" fmla="*/ 262 h 927"/>
                  <a:gd name="T22" fmla="*/ 601 w 1222"/>
                  <a:gd name="T23" fmla="*/ 286 h 927"/>
                  <a:gd name="T24" fmla="*/ 518 w 1222"/>
                  <a:gd name="T25" fmla="*/ 335 h 927"/>
                  <a:gd name="T26" fmla="*/ 449 w 1222"/>
                  <a:gd name="T27" fmla="*/ 401 h 927"/>
                  <a:gd name="T28" fmla="*/ 404 w 1222"/>
                  <a:gd name="T29" fmla="*/ 477 h 927"/>
                  <a:gd name="T30" fmla="*/ 393 w 1222"/>
                  <a:gd name="T31" fmla="*/ 548 h 927"/>
                  <a:gd name="T32" fmla="*/ 415 w 1222"/>
                  <a:gd name="T33" fmla="*/ 601 h 927"/>
                  <a:gd name="T34" fmla="*/ 465 w 1222"/>
                  <a:gd name="T35" fmla="*/ 631 h 927"/>
                  <a:gd name="T36" fmla="*/ 538 w 1222"/>
                  <a:gd name="T37" fmla="*/ 634 h 927"/>
                  <a:gd name="T38" fmla="*/ 541 w 1222"/>
                  <a:gd name="T39" fmla="*/ 634 h 927"/>
                  <a:gd name="T40" fmla="*/ 544 w 1222"/>
                  <a:gd name="T41" fmla="*/ 633 h 927"/>
                  <a:gd name="T42" fmla="*/ 547 w 1222"/>
                  <a:gd name="T43" fmla="*/ 633 h 927"/>
                  <a:gd name="T44" fmla="*/ 550 w 1222"/>
                  <a:gd name="T45" fmla="*/ 632 h 927"/>
                  <a:gd name="T46" fmla="*/ 461 w 1222"/>
                  <a:gd name="T47" fmla="*/ 853 h 927"/>
                  <a:gd name="T48" fmla="*/ 0 w 1222"/>
                  <a:gd name="T49" fmla="*/ 927 h 927"/>
                  <a:gd name="T50" fmla="*/ 297 w 1222"/>
                  <a:gd name="T51" fmla="*/ 76 h 927"/>
                  <a:gd name="T52" fmla="*/ 1222 w 1222"/>
                  <a:gd name="T53" fmla="*/ 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22" h="927">
                    <a:moveTo>
                      <a:pt x="1222" y="0"/>
                    </a:moveTo>
                    <a:cubicBezTo>
                      <a:pt x="1037" y="412"/>
                      <a:pt x="1037" y="412"/>
                      <a:pt x="1037" y="412"/>
                    </a:cubicBezTo>
                    <a:cubicBezTo>
                      <a:pt x="804" y="441"/>
                      <a:pt x="804" y="441"/>
                      <a:pt x="804" y="441"/>
                    </a:cubicBezTo>
                    <a:cubicBezTo>
                      <a:pt x="805" y="440"/>
                      <a:pt x="805" y="439"/>
                      <a:pt x="806" y="437"/>
                    </a:cubicBezTo>
                    <a:cubicBezTo>
                      <a:pt x="807" y="436"/>
                      <a:pt x="807" y="435"/>
                      <a:pt x="808" y="434"/>
                    </a:cubicBezTo>
                    <a:cubicBezTo>
                      <a:pt x="808" y="433"/>
                      <a:pt x="809" y="432"/>
                      <a:pt x="809" y="431"/>
                    </a:cubicBezTo>
                    <a:cubicBezTo>
                      <a:pt x="810" y="430"/>
                      <a:pt x="810" y="429"/>
                      <a:pt x="810" y="428"/>
                    </a:cubicBezTo>
                    <a:cubicBezTo>
                      <a:pt x="821" y="402"/>
                      <a:pt x="826" y="379"/>
                      <a:pt x="825" y="358"/>
                    </a:cubicBezTo>
                    <a:cubicBezTo>
                      <a:pt x="825" y="337"/>
                      <a:pt x="819" y="318"/>
                      <a:pt x="808" y="303"/>
                    </a:cubicBezTo>
                    <a:cubicBezTo>
                      <a:pt x="797" y="288"/>
                      <a:pt x="781" y="276"/>
                      <a:pt x="761" y="269"/>
                    </a:cubicBezTo>
                    <a:cubicBezTo>
                      <a:pt x="740" y="262"/>
                      <a:pt x="716" y="259"/>
                      <a:pt x="687" y="262"/>
                    </a:cubicBezTo>
                    <a:cubicBezTo>
                      <a:pt x="659" y="265"/>
                      <a:pt x="630" y="273"/>
                      <a:pt x="601" y="286"/>
                    </a:cubicBezTo>
                    <a:cubicBezTo>
                      <a:pt x="572" y="298"/>
                      <a:pt x="544" y="315"/>
                      <a:pt x="518" y="335"/>
                    </a:cubicBezTo>
                    <a:cubicBezTo>
                      <a:pt x="492" y="354"/>
                      <a:pt x="468" y="377"/>
                      <a:pt x="449" y="401"/>
                    </a:cubicBezTo>
                    <a:cubicBezTo>
                      <a:pt x="429" y="425"/>
                      <a:pt x="414" y="451"/>
                      <a:pt x="404" y="477"/>
                    </a:cubicBezTo>
                    <a:cubicBezTo>
                      <a:pt x="394" y="503"/>
                      <a:pt x="391" y="527"/>
                      <a:pt x="393" y="548"/>
                    </a:cubicBezTo>
                    <a:cubicBezTo>
                      <a:pt x="395" y="569"/>
                      <a:pt x="403" y="587"/>
                      <a:pt x="415" y="601"/>
                    </a:cubicBezTo>
                    <a:cubicBezTo>
                      <a:pt x="428" y="615"/>
                      <a:pt x="445" y="625"/>
                      <a:pt x="465" y="631"/>
                    </a:cubicBezTo>
                    <a:cubicBezTo>
                      <a:pt x="486" y="637"/>
                      <a:pt x="511" y="638"/>
                      <a:pt x="538" y="634"/>
                    </a:cubicBezTo>
                    <a:cubicBezTo>
                      <a:pt x="539" y="634"/>
                      <a:pt x="540" y="634"/>
                      <a:pt x="541" y="634"/>
                    </a:cubicBezTo>
                    <a:cubicBezTo>
                      <a:pt x="542" y="633"/>
                      <a:pt x="543" y="633"/>
                      <a:pt x="544" y="633"/>
                    </a:cubicBezTo>
                    <a:cubicBezTo>
                      <a:pt x="545" y="633"/>
                      <a:pt x="546" y="633"/>
                      <a:pt x="547" y="633"/>
                    </a:cubicBezTo>
                    <a:cubicBezTo>
                      <a:pt x="548" y="632"/>
                      <a:pt x="549" y="632"/>
                      <a:pt x="550" y="632"/>
                    </a:cubicBezTo>
                    <a:cubicBezTo>
                      <a:pt x="461" y="853"/>
                      <a:pt x="461" y="853"/>
                      <a:pt x="461" y="853"/>
                    </a:cubicBezTo>
                    <a:cubicBezTo>
                      <a:pt x="0" y="927"/>
                      <a:pt x="0" y="927"/>
                      <a:pt x="0" y="927"/>
                    </a:cubicBezTo>
                    <a:cubicBezTo>
                      <a:pt x="297" y="76"/>
                      <a:pt x="297" y="76"/>
                      <a:pt x="297" y="76"/>
                    </a:cubicBezTo>
                    <a:lnTo>
                      <a:pt x="1222" y="0"/>
                    </a:lnTo>
                    <a:close/>
                  </a:path>
                </a:pathLst>
              </a:custGeom>
              <a:solidFill>
                <a:schemeClr val="bg1">
                  <a:lumMod val="95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29" name="Freeform 70"/>
              <p:cNvSpPr/>
              <p:nvPr/>
            </p:nvSpPr>
            <p:spPr bwMode="auto">
              <a:xfrm>
                <a:off x="10195498" y="6947695"/>
                <a:ext cx="1620300" cy="1506005"/>
              </a:xfrm>
              <a:custGeom>
                <a:avLst/>
                <a:gdLst>
                  <a:gd name="T0" fmla="*/ 261 w 611"/>
                  <a:gd name="T1" fmla="*/ 3 h 568"/>
                  <a:gd name="T2" fmla="*/ 185 w 611"/>
                  <a:gd name="T3" fmla="*/ 24 h 568"/>
                  <a:gd name="T4" fmla="*/ 112 w 611"/>
                  <a:gd name="T5" fmla="*/ 67 h 568"/>
                  <a:gd name="T6" fmla="*/ 51 w 611"/>
                  <a:gd name="T7" fmla="*/ 125 h 568"/>
                  <a:gd name="T8" fmla="*/ 12 w 611"/>
                  <a:gd name="T9" fmla="*/ 192 h 568"/>
                  <a:gd name="T10" fmla="*/ 2 w 611"/>
                  <a:gd name="T11" fmla="*/ 255 h 568"/>
                  <a:gd name="T12" fmla="*/ 21 w 611"/>
                  <a:gd name="T13" fmla="*/ 301 h 568"/>
                  <a:gd name="T14" fmla="*/ 65 w 611"/>
                  <a:gd name="T15" fmla="*/ 328 h 568"/>
                  <a:gd name="T16" fmla="*/ 130 w 611"/>
                  <a:gd name="T17" fmla="*/ 331 h 568"/>
                  <a:gd name="T18" fmla="*/ 133 w 611"/>
                  <a:gd name="T19" fmla="*/ 331 h 568"/>
                  <a:gd name="T20" fmla="*/ 136 w 611"/>
                  <a:gd name="T21" fmla="*/ 330 h 568"/>
                  <a:gd name="T22" fmla="*/ 139 w 611"/>
                  <a:gd name="T23" fmla="*/ 330 h 568"/>
                  <a:gd name="T24" fmla="*/ 142 w 611"/>
                  <a:gd name="T25" fmla="*/ 329 h 568"/>
                  <a:gd name="T26" fmla="*/ 148 w 611"/>
                  <a:gd name="T27" fmla="*/ 328 h 568"/>
                  <a:gd name="T28" fmla="*/ 154 w 611"/>
                  <a:gd name="T29" fmla="*/ 326 h 568"/>
                  <a:gd name="T30" fmla="*/ 160 w 611"/>
                  <a:gd name="T31" fmla="*/ 325 h 568"/>
                  <a:gd name="T32" fmla="*/ 166 w 611"/>
                  <a:gd name="T33" fmla="*/ 323 h 568"/>
                  <a:gd name="T34" fmla="*/ 158 w 611"/>
                  <a:gd name="T35" fmla="*/ 344 h 568"/>
                  <a:gd name="T36" fmla="*/ 67 w 611"/>
                  <a:gd name="T37" fmla="*/ 568 h 568"/>
                  <a:gd name="T38" fmla="*/ 452 w 611"/>
                  <a:gd name="T39" fmla="*/ 506 h 568"/>
                  <a:gd name="T40" fmla="*/ 611 w 611"/>
                  <a:gd name="T41" fmla="*/ 151 h 568"/>
                  <a:gd name="T42" fmla="*/ 375 w 611"/>
                  <a:gd name="T43" fmla="*/ 180 h 568"/>
                  <a:gd name="T44" fmla="*/ 352 w 611"/>
                  <a:gd name="T45" fmla="*/ 183 h 568"/>
                  <a:gd name="T46" fmla="*/ 355 w 611"/>
                  <a:gd name="T47" fmla="*/ 178 h 568"/>
                  <a:gd name="T48" fmla="*/ 359 w 611"/>
                  <a:gd name="T49" fmla="*/ 173 h 568"/>
                  <a:gd name="T50" fmla="*/ 362 w 611"/>
                  <a:gd name="T51" fmla="*/ 167 h 568"/>
                  <a:gd name="T52" fmla="*/ 364 w 611"/>
                  <a:gd name="T53" fmla="*/ 162 h 568"/>
                  <a:gd name="T54" fmla="*/ 366 w 611"/>
                  <a:gd name="T55" fmla="*/ 158 h 568"/>
                  <a:gd name="T56" fmla="*/ 368 w 611"/>
                  <a:gd name="T57" fmla="*/ 155 h 568"/>
                  <a:gd name="T58" fmla="*/ 369 w 611"/>
                  <a:gd name="T59" fmla="*/ 152 h 568"/>
                  <a:gd name="T60" fmla="*/ 370 w 611"/>
                  <a:gd name="T61" fmla="*/ 149 h 568"/>
                  <a:gd name="T62" fmla="*/ 383 w 611"/>
                  <a:gd name="T63" fmla="*/ 87 h 568"/>
                  <a:gd name="T64" fmla="*/ 368 w 611"/>
                  <a:gd name="T65" fmla="*/ 39 h 568"/>
                  <a:gd name="T66" fmla="*/ 326 w 611"/>
                  <a:gd name="T67" fmla="*/ 9 h 568"/>
                  <a:gd name="T68" fmla="*/ 261 w 611"/>
                  <a:gd name="T69" fmla="*/ 3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1" h="568">
                    <a:moveTo>
                      <a:pt x="261" y="3"/>
                    </a:moveTo>
                    <a:cubicBezTo>
                      <a:pt x="236" y="5"/>
                      <a:pt x="210" y="13"/>
                      <a:pt x="185" y="24"/>
                    </a:cubicBezTo>
                    <a:cubicBezTo>
                      <a:pt x="160" y="35"/>
                      <a:pt x="135" y="50"/>
                      <a:pt x="112" y="67"/>
                    </a:cubicBezTo>
                    <a:cubicBezTo>
                      <a:pt x="89" y="84"/>
                      <a:pt x="68" y="104"/>
                      <a:pt x="51" y="125"/>
                    </a:cubicBezTo>
                    <a:cubicBezTo>
                      <a:pt x="34" y="147"/>
                      <a:pt x="21" y="169"/>
                      <a:pt x="12" y="192"/>
                    </a:cubicBezTo>
                    <a:cubicBezTo>
                      <a:pt x="3" y="215"/>
                      <a:pt x="0" y="236"/>
                      <a:pt x="2" y="255"/>
                    </a:cubicBezTo>
                    <a:cubicBezTo>
                      <a:pt x="4" y="273"/>
                      <a:pt x="10" y="289"/>
                      <a:pt x="21" y="301"/>
                    </a:cubicBezTo>
                    <a:cubicBezTo>
                      <a:pt x="32" y="314"/>
                      <a:pt x="47" y="323"/>
                      <a:pt x="65" y="328"/>
                    </a:cubicBezTo>
                    <a:cubicBezTo>
                      <a:pt x="84" y="333"/>
                      <a:pt x="105" y="334"/>
                      <a:pt x="130" y="331"/>
                    </a:cubicBezTo>
                    <a:cubicBezTo>
                      <a:pt x="131" y="331"/>
                      <a:pt x="132" y="331"/>
                      <a:pt x="133" y="331"/>
                    </a:cubicBezTo>
                    <a:cubicBezTo>
                      <a:pt x="134" y="330"/>
                      <a:pt x="135" y="330"/>
                      <a:pt x="136" y="330"/>
                    </a:cubicBezTo>
                    <a:cubicBezTo>
                      <a:pt x="137" y="330"/>
                      <a:pt x="138" y="330"/>
                      <a:pt x="139" y="330"/>
                    </a:cubicBezTo>
                    <a:cubicBezTo>
                      <a:pt x="140" y="329"/>
                      <a:pt x="141" y="329"/>
                      <a:pt x="142" y="329"/>
                    </a:cubicBezTo>
                    <a:cubicBezTo>
                      <a:pt x="144" y="329"/>
                      <a:pt x="146" y="328"/>
                      <a:pt x="148" y="328"/>
                    </a:cubicBezTo>
                    <a:cubicBezTo>
                      <a:pt x="150" y="327"/>
                      <a:pt x="152" y="327"/>
                      <a:pt x="154" y="326"/>
                    </a:cubicBezTo>
                    <a:cubicBezTo>
                      <a:pt x="156" y="326"/>
                      <a:pt x="158" y="325"/>
                      <a:pt x="160" y="325"/>
                    </a:cubicBezTo>
                    <a:cubicBezTo>
                      <a:pt x="162" y="324"/>
                      <a:pt x="164" y="324"/>
                      <a:pt x="166" y="323"/>
                    </a:cubicBezTo>
                    <a:cubicBezTo>
                      <a:pt x="158" y="344"/>
                      <a:pt x="158" y="344"/>
                      <a:pt x="158" y="344"/>
                    </a:cubicBezTo>
                    <a:cubicBezTo>
                      <a:pt x="67" y="568"/>
                      <a:pt x="67" y="568"/>
                      <a:pt x="67" y="568"/>
                    </a:cubicBezTo>
                    <a:cubicBezTo>
                      <a:pt x="452" y="506"/>
                      <a:pt x="452" y="506"/>
                      <a:pt x="452" y="506"/>
                    </a:cubicBezTo>
                    <a:cubicBezTo>
                      <a:pt x="611" y="151"/>
                      <a:pt x="611" y="151"/>
                      <a:pt x="611" y="151"/>
                    </a:cubicBezTo>
                    <a:cubicBezTo>
                      <a:pt x="375" y="180"/>
                      <a:pt x="375" y="180"/>
                      <a:pt x="375" y="180"/>
                    </a:cubicBezTo>
                    <a:cubicBezTo>
                      <a:pt x="352" y="183"/>
                      <a:pt x="352" y="183"/>
                      <a:pt x="352" y="183"/>
                    </a:cubicBezTo>
                    <a:cubicBezTo>
                      <a:pt x="353" y="182"/>
                      <a:pt x="354" y="180"/>
                      <a:pt x="355" y="178"/>
                    </a:cubicBezTo>
                    <a:cubicBezTo>
                      <a:pt x="356" y="176"/>
                      <a:pt x="358" y="174"/>
                      <a:pt x="359" y="173"/>
                    </a:cubicBezTo>
                    <a:cubicBezTo>
                      <a:pt x="360" y="171"/>
                      <a:pt x="361" y="169"/>
                      <a:pt x="362" y="167"/>
                    </a:cubicBezTo>
                    <a:cubicBezTo>
                      <a:pt x="363" y="165"/>
                      <a:pt x="364" y="163"/>
                      <a:pt x="364" y="162"/>
                    </a:cubicBezTo>
                    <a:cubicBezTo>
                      <a:pt x="365" y="160"/>
                      <a:pt x="366" y="159"/>
                      <a:pt x="366" y="158"/>
                    </a:cubicBezTo>
                    <a:cubicBezTo>
                      <a:pt x="367" y="157"/>
                      <a:pt x="367" y="156"/>
                      <a:pt x="368" y="155"/>
                    </a:cubicBezTo>
                    <a:cubicBezTo>
                      <a:pt x="368" y="154"/>
                      <a:pt x="369" y="153"/>
                      <a:pt x="369" y="152"/>
                    </a:cubicBezTo>
                    <a:cubicBezTo>
                      <a:pt x="369" y="151"/>
                      <a:pt x="370" y="150"/>
                      <a:pt x="370" y="149"/>
                    </a:cubicBezTo>
                    <a:cubicBezTo>
                      <a:pt x="380" y="126"/>
                      <a:pt x="384" y="105"/>
                      <a:pt x="383" y="87"/>
                    </a:cubicBezTo>
                    <a:cubicBezTo>
                      <a:pt x="383" y="68"/>
                      <a:pt x="377" y="52"/>
                      <a:pt x="368" y="39"/>
                    </a:cubicBezTo>
                    <a:cubicBezTo>
                      <a:pt x="358" y="25"/>
                      <a:pt x="344" y="15"/>
                      <a:pt x="326" y="9"/>
                    </a:cubicBezTo>
                    <a:cubicBezTo>
                      <a:pt x="308" y="2"/>
                      <a:pt x="286" y="0"/>
                      <a:pt x="261" y="3"/>
                    </a:cubicBezTo>
                    <a:close/>
                  </a:path>
                </a:pathLst>
              </a:custGeom>
              <a:solidFill>
                <a:schemeClr val="accent2"/>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30" name="Freeform 71"/>
              <p:cNvSpPr/>
              <p:nvPr/>
            </p:nvSpPr>
            <p:spPr bwMode="auto">
              <a:xfrm>
                <a:off x="10216787" y="6973468"/>
                <a:ext cx="1564273" cy="1451099"/>
              </a:xfrm>
              <a:custGeom>
                <a:avLst/>
                <a:gdLst>
                  <a:gd name="T0" fmla="*/ 172 w 590"/>
                  <a:gd name="T1" fmla="*/ 301 h 547"/>
                  <a:gd name="T2" fmla="*/ 156 w 590"/>
                  <a:gd name="T3" fmla="*/ 305 h 547"/>
                  <a:gd name="T4" fmla="*/ 150 w 590"/>
                  <a:gd name="T5" fmla="*/ 307 h 547"/>
                  <a:gd name="T6" fmla="*/ 144 w 590"/>
                  <a:gd name="T7" fmla="*/ 308 h 547"/>
                  <a:gd name="T8" fmla="*/ 138 w 590"/>
                  <a:gd name="T9" fmla="*/ 310 h 547"/>
                  <a:gd name="T10" fmla="*/ 132 w 590"/>
                  <a:gd name="T11" fmla="*/ 311 h 547"/>
                  <a:gd name="T12" fmla="*/ 123 w 590"/>
                  <a:gd name="T13" fmla="*/ 313 h 547"/>
                  <a:gd name="T14" fmla="*/ 121 w 590"/>
                  <a:gd name="T15" fmla="*/ 313 h 547"/>
                  <a:gd name="T16" fmla="*/ 95 w 590"/>
                  <a:gd name="T17" fmla="*/ 315 h 547"/>
                  <a:gd name="T18" fmla="*/ 60 w 590"/>
                  <a:gd name="T19" fmla="*/ 310 h 547"/>
                  <a:gd name="T20" fmla="*/ 19 w 590"/>
                  <a:gd name="T21" fmla="*/ 286 h 547"/>
                  <a:gd name="T22" fmla="*/ 2 w 590"/>
                  <a:gd name="T23" fmla="*/ 244 h 547"/>
                  <a:gd name="T24" fmla="*/ 11 w 590"/>
                  <a:gd name="T25" fmla="*/ 185 h 547"/>
                  <a:gd name="T26" fmla="*/ 50 w 590"/>
                  <a:gd name="T27" fmla="*/ 120 h 547"/>
                  <a:gd name="T28" fmla="*/ 109 w 590"/>
                  <a:gd name="T29" fmla="*/ 63 h 547"/>
                  <a:gd name="T30" fmla="*/ 180 w 590"/>
                  <a:gd name="T31" fmla="*/ 21 h 547"/>
                  <a:gd name="T32" fmla="*/ 254 w 590"/>
                  <a:gd name="T33" fmla="*/ 1 h 547"/>
                  <a:gd name="T34" fmla="*/ 273 w 590"/>
                  <a:gd name="T35" fmla="*/ 0 h 547"/>
                  <a:gd name="T36" fmla="*/ 315 w 590"/>
                  <a:gd name="T37" fmla="*/ 6 h 547"/>
                  <a:gd name="T38" fmla="*/ 353 w 590"/>
                  <a:gd name="T39" fmla="*/ 33 h 547"/>
                  <a:gd name="T40" fmla="*/ 367 w 590"/>
                  <a:gd name="T41" fmla="*/ 77 h 547"/>
                  <a:gd name="T42" fmla="*/ 355 w 590"/>
                  <a:gd name="T43" fmla="*/ 135 h 547"/>
                  <a:gd name="T44" fmla="*/ 354 w 590"/>
                  <a:gd name="T45" fmla="*/ 139 h 547"/>
                  <a:gd name="T46" fmla="*/ 351 w 590"/>
                  <a:gd name="T47" fmla="*/ 145 h 547"/>
                  <a:gd name="T48" fmla="*/ 349 w 590"/>
                  <a:gd name="T49" fmla="*/ 148 h 547"/>
                  <a:gd name="T50" fmla="*/ 346 w 590"/>
                  <a:gd name="T51" fmla="*/ 153 h 547"/>
                  <a:gd name="T52" fmla="*/ 344 w 590"/>
                  <a:gd name="T53" fmla="*/ 158 h 547"/>
                  <a:gd name="T54" fmla="*/ 341 w 590"/>
                  <a:gd name="T55" fmla="*/ 162 h 547"/>
                  <a:gd name="T56" fmla="*/ 340 w 590"/>
                  <a:gd name="T57" fmla="*/ 164 h 547"/>
                  <a:gd name="T58" fmla="*/ 337 w 590"/>
                  <a:gd name="T59" fmla="*/ 169 h 547"/>
                  <a:gd name="T60" fmla="*/ 328 w 590"/>
                  <a:gd name="T61" fmla="*/ 184 h 547"/>
                  <a:gd name="T62" fmla="*/ 590 w 590"/>
                  <a:gd name="T63" fmla="*/ 151 h 547"/>
                  <a:gd name="T64" fmla="*/ 438 w 590"/>
                  <a:gd name="T65" fmla="*/ 489 h 547"/>
                  <a:gd name="T66" fmla="*/ 72 w 590"/>
                  <a:gd name="T67" fmla="*/ 547 h 547"/>
                  <a:gd name="T68" fmla="*/ 172 w 590"/>
                  <a:gd name="T69" fmla="*/ 301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0" h="547">
                    <a:moveTo>
                      <a:pt x="172" y="301"/>
                    </a:moveTo>
                    <a:cubicBezTo>
                      <a:pt x="156" y="305"/>
                      <a:pt x="156" y="305"/>
                      <a:pt x="156" y="305"/>
                    </a:cubicBezTo>
                    <a:cubicBezTo>
                      <a:pt x="154" y="306"/>
                      <a:pt x="152" y="306"/>
                      <a:pt x="150" y="307"/>
                    </a:cubicBezTo>
                    <a:cubicBezTo>
                      <a:pt x="148" y="307"/>
                      <a:pt x="146" y="308"/>
                      <a:pt x="144" y="308"/>
                    </a:cubicBezTo>
                    <a:cubicBezTo>
                      <a:pt x="138" y="310"/>
                      <a:pt x="138" y="310"/>
                      <a:pt x="138" y="310"/>
                    </a:cubicBezTo>
                    <a:cubicBezTo>
                      <a:pt x="136" y="310"/>
                      <a:pt x="134" y="311"/>
                      <a:pt x="132" y="311"/>
                    </a:cubicBezTo>
                    <a:cubicBezTo>
                      <a:pt x="132" y="311"/>
                      <a:pt x="124" y="312"/>
                      <a:pt x="123" y="313"/>
                    </a:cubicBezTo>
                    <a:cubicBezTo>
                      <a:pt x="121" y="313"/>
                      <a:pt x="121" y="313"/>
                      <a:pt x="121" y="313"/>
                    </a:cubicBezTo>
                    <a:cubicBezTo>
                      <a:pt x="112" y="314"/>
                      <a:pt x="103" y="315"/>
                      <a:pt x="95" y="315"/>
                    </a:cubicBezTo>
                    <a:cubicBezTo>
                      <a:pt x="82" y="315"/>
                      <a:pt x="70" y="313"/>
                      <a:pt x="60" y="310"/>
                    </a:cubicBezTo>
                    <a:cubicBezTo>
                      <a:pt x="43" y="305"/>
                      <a:pt x="29" y="297"/>
                      <a:pt x="19" y="286"/>
                    </a:cubicBezTo>
                    <a:cubicBezTo>
                      <a:pt x="9" y="275"/>
                      <a:pt x="4" y="260"/>
                      <a:pt x="2" y="244"/>
                    </a:cubicBezTo>
                    <a:cubicBezTo>
                      <a:pt x="0" y="226"/>
                      <a:pt x="3" y="206"/>
                      <a:pt x="11" y="185"/>
                    </a:cubicBezTo>
                    <a:cubicBezTo>
                      <a:pt x="20" y="163"/>
                      <a:pt x="33" y="142"/>
                      <a:pt x="50" y="120"/>
                    </a:cubicBezTo>
                    <a:cubicBezTo>
                      <a:pt x="66" y="100"/>
                      <a:pt x="86" y="80"/>
                      <a:pt x="109" y="63"/>
                    </a:cubicBezTo>
                    <a:cubicBezTo>
                      <a:pt x="131" y="46"/>
                      <a:pt x="155" y="32"/>
                      <a:pt x="180" y="21"/>
                    </a:cubicBezTo>
                    <a:cubicBezTo>
                      <a:pt x="206" y="10"/>
                      <a:pt x="231" y="3"/>
                      <a:pt x="254" y="1"/>
                    </a:cubicBezTo>
                    <a:cubicBezTo>
                      <a:pt x="261" y="0"/>
                      <a:pt x="267" y="0"/>
                      <a:pt x="273" y="0"/>
                    </a:cubicBezTo>
                    <a:cubicBezTo>
                      <a:pt x="289" y="0"/>
                      <a:pt x="303" y="2"/>
                      <a:pt x="315" y="6"/>
                    </a:cubicBezTo>
                    <a:cubicBezTo>
                      <a:pt x="331" y="12"/>
                      <a:pt x="344" y="21"/>
                      <a:pt x="353" y="33"/>
                    </a:cubicBezTo>
                    <a:cubicBezTo>
                      <a:pt x="362" y="45"/>
                      <a:pt x="367" y="60"/>
                      <a:pt x="367" y="77"/>
                    </a:cubicBezTo>
                    <a:cubicBezTo>
                      <a:pt x="368" y="95"/>
                      <a:pt x="364" y="115"/>
                      <a:pt x="355" y="135"/>
                    </a:cubicBezTo>
                    <a:cubicBezTo>
                      <a:pt x="355" y="136"/>
                      <a:pt x="354" y="139"/>
                      <a:pt x="354" y="139"/>
                    </a:cubicBezTo>
                    <a:cubicBezTo>
                      <a:pt x="351" y="145"/>
                      <a:pt x="351" y="145"/>
                      <a:pt x="351" y="145"/>
                    </a:cubicBezTo>
                    <a:cubicBezTo>
                      <a:pt x="349" y="148"/>
                      <a:pt x="349" y="148"/>
                      <a:pt x="349" y="148"/>
                    </a:cubicBezTo>
                    <a:cubicBezTo>
                      <a:pt x="346" y="153"/>
                      <a:pt x="346" y="153"/>
                      <a:pt x="346" y="153"/>
                    </a:cubicBezTo>
                    <a:cubicBezTo>
                      <a:pt x="346" y="155"/>
                      <a:pt x="345" y="157"/>
                      <a:pt x="344" y="158"/>
                    </a:cubicBezTo>
                    <a:cubicBezTo>
                      <a:pt x="343" y="160"/>
                      <a:pt x="342" y="161"/>
                      <a:pt x="341" y="162"/>
                    </a:cubicBezTo>
                    <a:cubicBezTo>
                      <a:pt x="340" y="164"/>
                      <a:pt x="340" y="164"/>
                      <a:pt x="340" y="164"/>
                    </a:cubicBezTo>
                    <a:cubicBezTo>
                      <a:pt x="339" y="165"/>
                      <a:pt x="338" y="167"/>
                      <a:pt x="337" y="169"/>
                    </a:cubicBezTo>
                    <a:cubicBezTo>
                      <a:pt x="328" y="184"/>
                      <a:pt x="328" y="184"/>
                      <a:pt x="328" y="184"/>
                    </a:cubicBezTo>
                    <a:cubicBezTo>
                      <a:pt x="590" y="151"/>
                      <a:pt x="590" y="151"/>
                      <a:pt x="590" y="151"/>
                    </a:cubicBezTo>
                    <a:cubicBezTo>
                      <a:pt x="438" y="489"/>
                      <a:pt x="438" y="489"/>
                      <a:pt x="438" y="489"/>
                    </a:cubicBezTo>
                    <a:cubicBezTo>
                      <a:pt x="72" y="547"/>
                      <a:pt x="72" y="547"/>
                      <a:pt x="72" y="547"/>
                    </a:cubicBezTo>
                    <a:lnTo>
                      <a:pt x="172" y="301"/>
                    </a:lnTo>
                    <a:close/>
                  </a:path>
                </a:pathLst>
              </a:custGeom>
              <a:solidFill>
                <a:schemeClr val="accent2"/>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sp>
            <p:nvSpPr>
              <p:cNvPr id="31" name="Freeform 72"/>
              <p:cNvSpPr/>
              <p:nvPr/>
            </p:nvSpPr>
            <p:spPr bwMode="auto">
              <a:xfrm>
                <a:off x="8440977" y="4333476"/>
                <a:ext cx="3725795" cy="3993604"/>
              </a:xfrm>
              <a:custGeom>
                <a:avLst/>
                <a:gdLst>
                  <a:gd name="T0" fmla="*/ 3318 w 3325"/>
                  <a:gd name="T1" fmla="*/ 1363 h 3564"/>
                  <a:gd name="T2" fmla="*/ 1141 w 3325"/>
                  <a:gd name="T3" fmla="*/ 1541 h 3564"/>
                  <a:gd name="T4" fmla="*/ 15 w 3325"/>
                  <a:gd name="T5" fmla="*/ 0 h 3564"/>
                  <a:gd name="T6" fmla="*/ 3 w 3325"/>
                  <a:gd name="T7" fmla="*/ 0 h 3564"/>
                  <a:gd name="T8" fmla="*/ 0 w 3325"/>
                  <a:gd name="T9" fmla="*/ 12 h 3564"/>
                  <a:gd name="T10" fmla="*/ 1127 w 3325"/>
                  <a:gd name="T11" fmla="*/ 1550 h 3564"/>
                  <a:gd name="T12" fmla="*/ 426 w 3325"/>
                  <a:gd name="T13" fmla="*/ 3555 h 3564"/>
                  <a:gd name="T14" fmla="*/ 434 w 3325"/>
                  <a:gd name="T15" fmla="*/ 3564 h 3564"/>
                  <a:gd name="T16" fmla="*/ 443 w 3325"/>
                  <a:gd name="T17" fmla="*/ 3564 h 3564"/>
                  <a:gd name="T18" fmla="*/ 1143 w 3325"/>
                  <a:gd name="T19" fmla="*/ 1557 h 3564"/>
                  <a:gd name="T20" fmla="*/ 3321 w 3325"/>
                  <a:gd name="T21" fmla="*/ 1380 h 3564"/>
                  <a:gd name="T22" fmla="*/ 3325 w 3325"/>
                  <a:gd name="T23" fmla="*/ 1370 h 3564"/>
                  <a:gd name="T24" fmla="*/ 3318 w 3325"/>
                  <a:gd name="T25" fmla="*/ 1363 h 3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5" h="3564">
                    <a:moveTo>
                      <a:pt x="3318" y="1363"/>
                    </a:moveTo>
                    <a:lnTo>
                      <a:pt x="1141" y="1541"/>
                    </a:lnTo>
                    <a:lnTo>
                      <a:pt x="15" y="0"/>
                    </a:lnTo>
                    <a:lnTo>
                      <a:pt x="3" y="0"/>
                    </a:lnTo>
                    <a:lnTo>
                      <a:pt x="0" y="12"/>
                    </a:lnTo>
                    <a:lnTo>
                      <a:pt x="1127" y="1550"/>
                    </a:lnTo>
                    <a:lnTo>
                      <a:pt x="426" y="3555"/>
                    </a:lnTo>
                    <a:lnTo>
                      <a:pt x="434" y="3564"/>
                    </a:lnTo>
                    <a:lnTo>
                      <a:pt x="443" y="3564"/>
                    </a:lnTo>
                    <a:lnTo>
                      <a:pt x="1143" y="1557"/>
                    </a:lnTo>
                    <a:lnTo>
                      <a:pt x="3321" y="1380"/>
                    </a:lnTo>
                    <a:lnTo>
                      <a:pt x="3325" y="1370"/>
                    </a:lnTo>
                    <a:lnTo>
                      <a:pt x="3318" y="1363"/>
                    </a:lnTo>
                    <a:close/>
                  </a:path>
                </a:pathLst>
              </a:custGeom>
              <a:solidFill>
                <a:schemeClr val="bg1">
                  <a:alpha val="20000"/>
                </a:schemeClr>
              </a:solidFill>
              <a:ln>
                <a:noFill/>
              </a:ln>
            </p:spPr>
            <p:txBody>
              <a:bodyPr vert="horz" wrap="square" lIns="57150" tIns="28575" rIns="57150" bIns="28575" numCol="1" anchor="t" anchorCtr="0" compatLnSpc="1"/>
              <a:lstStyle/>
              <a:p>
                <a:endParaRPr lang="id-ID" sz="1125">
                  <a:latin typeface="Calibri"/>
                  <a:ea typeface="微软雅黑"/>
                  <a:cs typeface="+mn-ea"/>
                  <a:sym typeface="Calibri"/>
                </a:endParaRPr>
              </a:p>
            </p:txBody>
          </p:sp>
        </p:grpSp>
        <p:sp>
          <p:nvSpPr>
            <p:cNvPr id="4" name="Freeform 29"/>
            <p:cNvSpPr>
              <a:spLocks noChangeArrowheads="1"/>
            </p:cNvSpPr>
            <p:nvPr/>
          </p:nvSpPr>
          <p:spPr bwMode="auto">
            <a:xfrm>
              <a:off x="6320395" y="7180540"/>
              <a:ext cx="466716" cy="481530"/>
            </a:xfrm>
            <a:custGeom>
              <a:avLst/>
              <a:gdLst>
                <a:gd name="T0" fmla="*/ 111726 w 444"/>
                <a:gd name="T1" fmla="*/ 150538 h 462"/>
                <a:gd name="T2" fmla="*/ 111726 w 444"/>
                <a:gd name="T3" fmla="*/ 150538 h 462"/>
                <a:gd name="T4" fmla="*/ 144162 w 444"/>
                <a:gd name="T5" fmla="*/ 114802 h 462"/>
                <a:gd name="T6" fmla="*/ 199574 w 444"/>
                <a:gd name="T7" fmla="*/ 31716 h 462"/>
                <a:gd name="T8" fmla="*/ 191916 w 444"/>
                <a:gd name="T9" fmla="*/ 23675 h 462"/>
                <a:gd name="T10" fmla="*/ 155875 w 444"/>
                <a:gd name="T11" fmla="*/ 23675 h 462"/>
                <a:gd name="T12" fmla="*/ 100013 w 444"/>
                <a:gd name="T13" fmla="*/ 0 h 462"/>
                <a:gd name="T14" fmla="*/ 44150 w 444"/>
                <a:gd name="T15" fmla="*/ 23675 h 462"/>
                <a:gd name="T16" fmla="*/ 8109 w 444"/>
                <a:gd name="T17" fmla="*/ 23675 h 462"/>
                <a:gd name="T18" fmla="*/ 0 w 444"/>
                <a:gd name="T19" fmla="*/ 31716 h 462"/>
                <a:gd name="T20" fmla="*/ 55863 w 444"/>
                <a:gd name="T21" fmla="*/ 114802 h 462"/>
                <a:gd name="T22" fmla="*/ 87849 w 444"/>
                <a:gd name="T23" fmla="*/ 150538 h 462"/>
                <a:gd name="T24" fmla="*/ 87849 w 444"/>
                <a:gd name="T25" fmla="*/ 166172 h 462"/>
                <a:gd name="T26" fmla="*/ 48204 w 444"/>
                <a:gd name="T27" fmla="*/ 185827 h 462"/>
                <a:gd name="T28" fmla="*/ 100013 w 444"/>
                <a:gd name="T29" fmla="*/ 205928 h 462"/>
                <a:gd name="T30" fmla="*/ 147766 w 444"/>
                <a:gd name="T31" fmla="*/ 185827 h 462"/>
                <a:gd name="T32" fmla="*/ 111726 w 444"/>
                <a:gd name="T33" fmla="*/ 166172 h 462"/>
                <a:gd name="T34" fmla="*/ 111726 w 444"/>
                <a:gd name="T35" fmla="*/ 150538 h 462"/>
                <a:gd name="T36" fmla="*/ 144162 w 444"/>
                <a:gd name="T37" fmla="*/ 94700 h 462"/>
                <a:gd name="T38" fmla="*/ 144162 w 444"/>
                <a:gd name="T39" fmla="*/ 94700 h 462"/>
                <a:gd name="T40" fmla="*/ 155875 w 444"/>
                <a:gd name="T41" fmla="*/ 39756 h 462"/>
                <a:gd name="T42" fmla="*/ 183807 w 444"/>
                <a:gd name="T43" fmla="*/ 39756 h 462"/>
                <a:gd name="T44" fmla="*/ 144162 w 444"/>
                <a:gd name="T45" fmla="*/ 94700 h 462"/>
                <a:gd name="T46" fmla="*/ 100013 w 444"/>
                <a:gd name="T47" fmla="*/ 16081 h 462"/>
                <a:gd name="T48" fmla="*/ 100013 w 444"/>
                <a:gd name="T49" fmla="*/ 16081 h 462"/>
                <a:gd name="T50" fmla="*/ 144162 w 444"/>
                <a:gd name="T51" fmla="*/ 31716 h 462"/>
                <a:gd name="T52" fmla="*/ 100013 w 444"/>
                <a:gd name="T53" fmla="*/ 51370 h 462"/>
                <a:gd name="T54" fmla="*/ 55863 w 444"/>
                <a:gd name="T55" fmla="*/ 31716 h 462"/>
                <a:gd name="T56" fmla="*/ 100013 w 444"/>
                <a:gd name="T57" fmla="*/ 16081 h 462"/>
                <a:gd name="T58" fmla="*/ 16218 w 444"/>
                <a:gd name="T59" fmla="*/ 39756 h 462"/>
                <a:gd name="T60" fmla="*/ 16218 w 444"/>
                <a:gd name="T61" fmla="*/ 39756 h 462"/>
                <a:gd name="T62" fmla="*/ 44150 w 444"/>
                <a:gd name="T63" fmla="*/ 39756 h 462"/>
                <a:gd name="T64" fmla="*/ 55863 w 444"/>
                <a:gd name="T65" fmla="*/ 94700 h 462"/>
                <a:gd name="T66" fmla="*/ 16218 w 444"/>
                <a:gd name="T67" fmla="*/ 39756 h 4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44" h="462">
                  <a:moveTo>
                    <a:pt x="248" y="337"/>
                  </a:moveTo>
                  <a:lnTo>
                    <a:pt x="248" y="337"/>
                  </a:lnTo>
                  <a:cubicBezTo>
                    <a:pt x="248" y="302"/>
                    <a:pt x="275" y="283"/>
                    <a:pt x="320" y="257"/>
                  </a:cubicBezTo>
                  <a:cubicBezTo>
                    <a:pt x="373" y="221"/>
                    <a:pt x="443" y="177"/>
                    <a:pt x="443" y="71"/>
                  </a:cubicBezTo>
                  <a:cubicBezTo>
                    <a:pt x="443" y="62"/>
                    <a:pt x="434" y="53"/>
                    <a:pt x="426" y="53"/>
                  </a:cubicBezTo>
                  <a:cubicBezTo>
                    <a:pt x="346" y="53"/>
                    <a:pt x="346" y="53"/>
                    <a:pt x="346" y="53"/>
                  </a:cubicBezTo>
                  <a:cubicBezTo>
                    <a:pt x="328" y="27"/>
                    <a:pt x="293" y="0"/>
                    <a:pt x="222" y="0"/>
                  </a:cubicBezTo>
                  <a:cubicBezTo>
                    <a:pt x="151" y="0"/>
                    <a:pt x="116" y="27"/>
                    <a:pt x="98" y="53"/>
                  </a:cubicBezTo>
                  <a:cubicBezTo>
                    <a:pt x="18" y="53"/>
                    <a:pt x="18" y="53"/>
                    <a:pt x="18" y="53"/>
                  </a:cubicBezTo>
                  <a:cubicBezTo>
                    <a:pt x="9" y="53"/>
                    <a:pt x="0" y="62"/>
                    <a:pt x="0" y="71"/>
                  </a:cubicBezTo>
                  <a:cubicBezTo>
                    <a:pt x="0" y="177"/>
                    <a:pt x="62" y="221"/>
                    <a:pt x="124" y="257"/>
                  </a:cubicBezTo>
                  <a:cubicBezTo>
                    <a:pt x="169" y="283"/>
                    <a:pt x="195" y="302"/>
                    <a:pt x="195" y="337"/>
                  </a:cubicBezTo>
                  <a:cubicBezTo>
                    <a:pt x="195" y="372"/>
                    <a:pt x="195" y="372"/>
                    <a:pt x="195" y="372"/>
                  </a:cubicBezTo>
                  <a:cubicBezTo>
                    <a:pt x="142" y="381"/>
                    <a:pt x="107" y="399"/>
                    <a:pt x="107" y="416"/>
                  </a:cubicBezTo>
                  <a:cubicBezTo>
                    <a:pt x="107" y="443"/>
                    <a:pt x="160" y="461"/>
                    <a:pt x="222" y="461"/>
                  </a:cubicBezTo>
                  <a:cubicBezTo>
                    <a:pt x="283" y="461"/>
                    <a:pt x="328" y="443"/>
                    <a:pt x="328" y="416"/>
                  </a:cubicBezTo>
                  <a:cubicBezTo>
                    <a:pt x="328" y="399"/>
                    <a:pt x="302" y="381"/>
                    <a:pt x="248" y="372"/>
                  </a:cubicBezTo>
                  <a:lnTo>
                    <a:pt x="248" y="337"/>
                  </a:lnTo>
                  <a:close/>
                  <a:moveTo>
                    <a:pt x="320" y="212"/>
                  </a:moveTo>
                  <a:lnTo>
                    <a:pt x="320" y="212"/>
                  </a:lnTo>
                  <a:cubicBezTo>
                    <a:pt x="337" y="186"/>
                    <a:pt x="346" y="142"/>
                    <a:pt x="346" y="89"/>
                  </a:cubicBezTo>
                  <a:cubicBezTo>
                    <a:pt x="408" y="89"/>
                    <a:pt x="408" y="89"/>
                    <a:pt x="408" y="89"/>
                  </a:cubicBezTo>
                  <a:cubicBezTo>
                    <a:pt x="399" y="151"/>
                    <a:pt x="364" y="186"/>
                    <a:pt x="320" y="212"/>
                  </a:cubicBezTo>
                  <a:close/>
                  <a:moveTo>
                    <a:pt x="222" y="36"/>
                  </a:moveTo>
                  <a:lnTo>
                    <a:pt x="222" y="36"/>
                  </a:lnTo>
                  <a:cubicBezTo>
                    <a:pt x="293" y="36"/>
                    <a:pt x="320" y="62"/>
                    <a:pt x="320" y="71"/>
                  </a:cubicBezTo>
                  <a:cubicBezTo>
                    <a:pt x="320" y="80"/>
                    <a:pt x="293" y="106"/>
                    <a:pt x="222" y="115"/>
                  </a:cubicBezTo>
                  <a:cubicBezTo>
                    <a:pt x="151" y="106"/>
                    <a:pt x="124" y="80"/>
                    <a:pt x="124" y="71"/>
                  </a:cubicBezTo>
                  <a:cubicBezTo>
                    <a:pt x="124" y="62"/>
                    <a:pt x="151" y="36"/>
                    <a:pt x="222" y="36"/>
                  </a:cubicBezTo>
                  <a:close/>
                  <a:moveTo>
                    <a:pt x="36" y="89"/>
                  </a:moveTo>
                  <a:lnTo>
                    <a:pt x="36" y="89"/>
                  </a:lnTo>
                  <a:cubicBezTo>
                    <a:pt x="98" y="89"/>
                    <a:pt x="98" y="89"/>
                    <a:pt x="98" y="89"/>
                  </a:cubicBezTo>
                  <a:cubicBezTo>
                    <a:pt x="98" y="142"/>
                    <a:pt x="107" y="186"/>
                    <a:pt x="124" y="212"/>
                  </a:cubicBezTo>
                  <a:cubicBezTo>
                    <a:pt x="80" y="186"/>
                    <a:pt x="36" y="151"/>
                    <a:pt x="36" y="89"/>
                  </a:cubicBezTo>
                  <a:close/>
                </a:path>
              </a:pathLst>
            </a:custGeom>
            <a:solidFill>
              <a:schemeClr val="bg1"/>
            </a:solidFill>
            <a:ln>
              <a:noFill/>
            </a:ln>
            <a:effectLst/>
            <a:scene3d>
              <a:camera prst="isometricOffAxis1Right"/>
              <a:lightRig rig="threePt" dir="t"/>
            </a:scene3d>
          </p:spPr>
          <p:txBody>
            <a:bodyPr wrap="none" lIns="21431" tIns="10716" rIns="21431" bIns="10716" anchor="ctr"/>
            <a:lstStyle/>
            <a:p>
              <a:endParaRPr lang="en-US" sz="1125" dirty="0">
                <a:latin typeface="Calibri"/>
                <a:ea typeface="微软雅黑"/>
                <a:cs typeface="+mn-ea"/>
                <a:sym typeface="Calibri"/>
              </a:endParaRPr>
            </a:p>
          </p:txBody>
        </p:sp>
        <p:sp>
          <p:nvSpPr>
            <p:cNvPr id="5" name="Freeform 102"/>
            <p:cNvSpPr>
              <a:spLocks noChangeArrowheads="1"/>
            </p:cNvSpPr>
            <p:nvPr/>
          </p:nvSpPr>
          <p:spPr bwMode="auto">
            <a:xfrm>
              <a:off x="5669445" y="3015305"/>
              <a:ext cx="518574" cy="466718"/>
            </a:xfrm>
            <a:custGeom>
              <a:avLst/>
              <a:gdLst>
                <a:gd name="T0" fmla="*/ 35703 w 498"/>
                <a:gd name="T1" fmla="*/ 67874 h 445"/>
                <a:gd name="T2" fmla="*/ 35703 w 498"/>
                <a:gd name="T3" fmla="*/ 67874 h 445"/>
                <a:gd name="T4" fmla="*/ 63372 w 498"/>
                <a:gd name="T5" fmla="*/ 75965 h 445"/>
                <a:gd name="T6" fmla="*/ 67389 w 498"/>
                <a:gd name="T7" fmla="*/ 75965 h 445"/>
                <a:gd name="T8" fmla="*/ 87026 w 498"/>
                <a:gd name="T9" fmla="*/ 60232 h 445"/>
                <a:gd name="T10" fmla="*/ 87026 w 498"/>
                <a:gd name="T11" fmla="*/ 56187 h 445"/>
                <a:gd name="T12" fmla="*/ 79439 w 498"/>
                <a:gd name="T13" fmla="*/ 48096 h 445"/>
                <a:gd name="T14" fmla="*/ 122728 w 498"/>
                <a:gd name="T15" fmla="*/ 4495 h 445"/>
                <a:gd name="T16" fmla="*/ 87026 w 498"/>
                <a:gd name="T17" fmla="*/ 0 h 445"/>
                <a:gd name="T18" fmla="*/ 47753 w 498"/>
                <a:gd name="T19" fmla="*/ 24273 h 445"/>
                <a:gd name="T20" fmla="*/ 32133 w 498"/>
                <a:gd name="T21" fmla="*/ 36409 h 445"/>
                <a:gd name="T22" fmla="*/ 23653 w 498"/>
                <a:gd name="T23" fmla="*/ 52141 h 445"/>
                <a:gd name="T24" fmla="*/ 8033 w 498"/>
                <a:gd name="T25" fmla="*/ 56187 h 445"/>
                <a:gd name="T26" fmla="*/ 0 w 498"/>
                <a:gd name="T27" fmla="*/ 64278 h 445"/>
                <a:gd name="T28" fmla="*/ 0 w 498"/>
                <a:gd name="T29" fmla="*/ 67874 h 445"/>
                <a:gd name="T30" fmla="*/ 16066 w 498"/>
                <a:gd name="T31" fmla="*/ 84055 h 445"/>
                <a:gd name="T32" fmla="*/ 23653 w 498"/>
                <a:gd name="T33" fmla="*/ 88101 h 445"/>
                <a:gd name="T34" fmla="*/ 32133 w 498"/>
                <a:gd name="T35" fmla="*/ 80010 h 445"/>
                <a:gd name="T36" fmla="*/ 35703 w 498"/>
                <a:gd name="T37" fmla="*/ 67874 h 445"/>
                <a:gd name="T38" fmla="*/ 99075 w 498"/>
                <a:gd name="T39" fmla="*/ 71919 h 445"/>
                <a:gd name="T40" fmla="*/ 99075 w 498"/>
                <a:gd name="T41" fmla="*/ 71919 h 445"/>
                <a:gd name="T42" fmla="*/ 95059 w 498"/>
                <a:gd name="T43" fmla="*/ 71919 h 445"/>
                <a:gd name="T44" fmla="*/ 79439 w 498"/>
                <a:gd name="T45" fmla="*/ 84055 h 445"/>
                <a:gd name="T46" fmla="*/ 75422 w 498"/>
                <a:gd name="T47" fmla="*/ 91697 h 445"/>
                <a:gd name="T48" fmla="*/ 170035 w 498"/>
                <a:gd name="T49" fmla="*/ 195530 h 445"/>
                <a:gd name="T50" fmla="*/ 178068 w 498"/>
                <a:gd name="T51" fmla="*/ 195530 h 445"/>
                <a:gd name="T52" fmla="*/ 190117 w 498"/>
                <a:gd name="T53" fmla="*/ 187439 h 445"/>
                <a:gd name="T54" fmla="*/ 190117 w 498"/>
                <a:gd name="T55" fmla="*/ 179798 h 445"/>
                <a:gd name="T56" fmla="*/ 99075 w 498"/>
                <a:gd name="T57" fmla="*/ 71919 h 445"/>
                <a:gd name="T58" fmla="*/ 221804 w 498"/>
                <a:gd name="T59" fmla="*/ 28318 h 445"/>
                <a:gd name="T60" fmla="*/ 221804 w 498"/>
                <a:gd name="T61" fmla="*/ 28318 h 445"/>
                <a:gd name="T62" fmla="*/ 213771 w 498"/>
                <a:gd name="T63" fmla="*/ 24273 h 445"/>
                <a:gd name="T64" fmla="*/ 205737 w 498"/>
                <a:gd name="T65" fmla="*/ 40005 h 445"/>
                <a:gd name="T66" fmla="*/ 182084 w 498"/>
                <a:gd name="T67" fmla="*/ 48096 h 445"/>
                <a:gd name="T68" fmla="*/ 178068 w 498"/>
                <a:gd name="T69" fmla="*/ 28318 h 445"/>
                <a:gd name="T70" fmla="*/ 186101 w 498"/>
                <a:gd name="T71" fmla="*/ 8540 h 445"/>
                <a:gd name="T72" fmla="*/ 182084 w 498"/>
                <a:gd name="T73" fmla="*/ 4495 h 445"/>
                <a:gd name="T74" fmla="*/ 150398 w 498"/>
                <a:gd name="T75" fmla="*/ 32364 h 445"/>
                <a:gd name="T76" fmla="*/ 142365 w 498"/>
                <a:gd name="T77" fmla="*/ 67874 h 445"/>
                <a:gd name="T78" fmla="*/ 126745 w 498"/>
                <a:gd name="T79" fmla="*/ 84055 h 445"/>
                <a:gd name="T80" fmla="*/ 142365 w 498"/>
                <a:gd name="T81" fmla="*/ 103833 h 445"/>
                <a:gd name="T82" fmla="*/ 162448 w 498"/>
                <a:gd name="T83" fmla="*/ 84055 h 445"/>
                <a:gd name="T84" fmla="*/ 182084 w 498"/>
                <a:gd name="T85" fmla="*/ 80010 h 445"/>
                <a:gd name="T86" fmla="*/ 217787 w 498"/>
                <a:gd name="T87" fmla="*/ 64278 h 445"/>
                <a:gd name="T88" fmla="*/ 221804 w 498"/>
                <a:gd name="T89" fmla="*/ 28318 h 445"/>
                <a:gd name="T90" fmla="*/ 32133 w 498"/>
                <a:gd name="T91" fmla="*/ 179798 h 445"/>
                <a:gd name="T92" fmla="*/ 32133 w 498"/>
                <a:gd name="T93" fmla="*/ 179798 h 445"/>
                <a:gd name="T94" fmla="*/ 32133 w 498"/>
                <a:gd name="T95" fmla="*/ 187439 h 445"/>
                <a:gd name="T96" fmla="*/ 39719 w 498"/>
                <a:gd name="T97" fmla="*/ 199576 h 445"/>
                <a:gd name="T98" fmla="*/ 47753 w 498"/>
                <a:gd name="T99" fmla="*/ 195530 h 445"/>
                <a:gd name="T100" fmla="*/ 103092 w 498"/>
                <a:gd name="T101" fmla="*/ 143838 h 445"/>
                <a:gd name="T102" fmla="*/ 87026 w 498"/>
                <a:gd name="T103" fmla="*/ 123611 h 445"/>
                <a:gd name="T104" fmla="*/ 32133 w 498"/>
                <a:gd name="T105" fmla="*/ 179798 h 44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98" h="445">
                  <a:moveTo>
                    <a:pt x="80" y="151"/>
                  </a:moveTo>
                  <a:lnTo>
                    <a:pt x="80" y="151"/>
                  </a:lnTo>
                  <a:cubicBezTo>
                    <a:pt x="97" y="134"/>
                    <a:pt x="116" y="143"/>
                    <a:pt x="142" y="169"/>
                  </a:cubicBezTo>
                  <a:cubicBezTo>
                    <a:pt x="151" y="178"/>
                    <a:pt x="151" y="169"/>
                    <a:pt x="151" y="169"/>
                  </a:cubicBezTo>
                  <a:cubicBezTo>
                    <a:pt x="160" y="169"/>
                    <a:pt x="186" y="134"/>
                    <a:pt x="195" y="134"/>
                  </a:cubicBezTo>
                  <a:cubicBezTo>
                    <a:pt x="195" y="134"/>
                    <a:pt x="195" y="134"/>
                    <a:pt x="195" y="125"/>
                  </a:cubicBezTo>
                  <a:cubicBezTo>
                    <a:pt x="186" y="125"/>
                    <a:pt x="178" y="116"/>
                    <a:pt x="178" y="107"/>
                  </a:cubicBezTo>
                  <a:cubicBezTo>
                    <a:pt x="133" y="45"/>
                    <a:pt x="301" y="10"/>
                    <a:pt x="275" y="10"/>
                  </a:cubicBezTo>
                  <a:cubicBezTo>
                    <a:pt x="257" y="0"/>
                    <a:pt x="204" y="0"/>
                    <a:pt x="195" y="0"/>
                  </a:cubicBezTo>
                  <a:cubicBezTo>
                    <a:pt x="169" y="10"/>
                    <a:pt x="125" y="36"/>
                    <a:pt x="107" y="54"/>
                  </a:cubicBezTo>
                  <a:cubicBezTo>
                    <a:pt x="80" y="72"/>
                    <a:pt x="72" y="81"/>
                    <a:pt x="72" y="81"/>
                  </a:cubicBezTo>
                  <a:cubicBezTo>
                    <a:pt x="62" y="89"/>
                    <a:pt x="72" y="107"/>
                    <a:pt x="53" y="116"/>
                  </a:cubicBezTo>
                  <a:cubicBezTo>
                    <a:pt x="36" y="125"/>
                    <a:pt x="27" y="116"/>
                    <a:pt x="18" y="125"/>
                  </a:cubicBezTo>
                  <a:cubicBezTo>
                    <a:pt x="18" y="134"/>
                    <a:pt x="9" y="134"/>
                    <a:pt x="0" y="143"/>
                  </a:cubicBezTo>
                  <a:lnTo>
                    <a:pt x="0" y="151"/>
                  </a:lnTo>
                  <a:lnTo>
                    <a:pt x="36" y="187"/>
                  </a:lnTo>
                  <a:cubicBezTo>
                    <a:pt x="36" y="196"/>
                    <a:pt x="44" y="196"/>
                    <a:pt x="53" y="196"/>
                  </a:cubicBezTo>
                  <a:cubicBezTo>
                    <a:pt x="53" y="187"/>
                    <a:pt x="62" y="178"/>
                    <a:pt x="72" y="178"/>
                  </a:cubicBezTo>
                  <a:cubicBezTo>
                    <a:pt x="72" y="178"/>
                    <a:pt x="72" y="151"/>
                    <a:pt x="80" y="151"/>
                  </a:cubicBezTo>
                  <a:close/>
                  <a:moveTo>
                    <a:pt x="222" y="160"/>
                  </a:moveTo>
                  <a:lnTo>
                    <a:pt x="222" y="160"/>
                  </a:lnTo>
                  <a:cubicBezTo>
                    <a:pt x="213" y="160"/>
                    <a:pt x="213" y="160"/>
                    <a:pt x="213" y="160"/>
                  </a:cubicBezTo>
                  <a:cubicBezTo>
                    <a:pt x="178" y="187"/>
                    <a:pt x="178" y="187"/>
                    <a:pt x="178" y="187"/>
                  </a:cubicBezTo>
                  <a:cubicBezTo>
                    <a:pt x="169" y="196"/>
                    <a:pt x="169" y="196"/>
                    <a:pt x="169" y="204"/>
                  </a:cubicBezTo>
                  <a:cubicBezTo>
                    <a:pt x="381" y="435"/>
                    <a:pt x="381" y="435"/>
                    <a:pt x="381" y="435"/>
                  </a:cubicBezTo>
                  <a:cubicBezTo>
                    <a:pt x="381" y="444"/>
                    <a:pt x="391" y="444"/>
                    <a:pt x="399" y="435"/>
                  </a:cubicBezTo>
                  <a:cubicBezTo>
                    <a:pt x="426" y="417"/>
                    <a:pt x="426" y="417"/>
                    <a:pt x="426" y="417"/>
                  </a:cubicBezTo>
                  <a:cubicBezTo>
                    <a:pt x="426" y="408"/>
                    <a:pt x="426" y="400"/>
                    <a:pt x="426" y="400"/>
                  </a:cubicBezTo>
                  <a:lnTo>
                    <a:pt x="222" y="160"/>
                  </a:lnTo>
                  <a:close/>
                  <a:moveTo>
                    <a:pt x="497" y="63"/>
                  </a:moveTo>
                  <a:lnTo>
                    <a:pt x="497" y="63"/>
                  </a:lnTo>
                  <a:cubicBezTo>
                    <a:pt x="488" y="45"/>
                    <a:pt x="488" y="54"/>
                    <a:pt x="479" y="54"/>
                  </a:cubicBezTo>
                  <a:cubicBezTo>
                    <a:pt x="479" y="63"/>
                    <a:pt x="461" y="81"/>
                    <a:pt x="461" y="89"/>
                  </a:cubicBezTo>
                  <a:cubicBezTo>
                    <a:pt x="452" y="107"/>
                    <a:pt x="435" y="125"/>
                    <a:pt x="408" y="107"/>
                  </a:cubicBezTo>
                  <a:cubicBezTo>
                    <a:pt x="381" y="81"/>
                    <a:pt x="391" y="72"/>
                    <a:pt x="399" y="63"/>
                  </a:cubicBezTo>
                  <a:cubicBezTo>
                    <a:pt x="399" y="54"/>
                    <a:pt x="417" y="28"/>
                    <a:pt x="417" y="19"/>
                  </a:cubicBezTo>
                  <a:cubicBezTo>
                    <a:pt x="426" y="19"/>
                    <a:pt x="417" y="10"/>
                    <a:pt x="408" y="10"/>
                  </a:cubicBezTo>
                  <a:cubicBezTo>
                    <a:pt x="399" y="19"/>
                    <a:pt x="346" y="36"/>
                    <a:pt x="337" y="72"/>
                  </a:cubicBezTo>
                  <a:cubicBezTo>
                    <a:pt x="328" y="98"/>
                    <a:pt x="346" y="125"/>
                    <a:pt x="319" y="151"/>
                  </a:cubicBezTo>
                  <a:cubicBezTo>
                    <a:pt x="284" y="187"/>
                    <a:pt x="284" y="187"/>
                    <a:pt x="284" y="187"/>
                  </a:cubicBezTo>
                  <a:cubicBezTo>
                    <a:pt x="319" y="231"/>
                    <a:pt x="319" y="231"/>
                    <a:pt x="319" y="231"/>
                  </a:cubicBezTo>
                  <a:cubicBezTo>
                    <a:pt x="364" y="187"/>
                    <a:pt x="364" y="187"/>
                    <a:pt x="364" y="187"/>
                  </a:cubicBezTo>
                  <a:cubicBezTo>
                    <a:pt x="372" y="178"/>
                    <a:pt x="391" y="169"/>
                    <a:pt x="408" y="178"/>
                  </a:cubicBezTo>
                  <a:cubicBezTo>
                    <a:pt x="452" y="187"/>
                    <a:pt x="470" y="169"/>
                    <a:pt x="488" y="143"/>
                  </a:cubicBezTo>
                  <a:cubicBezTo>
                    <a:pt x="497" y="116"/>
                    <a:pt x="497" y="72"/>
                    <a:pt x="497" y="63"/>
                  </a:cubicBezTo>
                  <a:close/>
                  <a:moveTo>
                    <a:pt x="72" y="400"/>
                  </a:moveTo>
                  <a:lnTo>
                    <a:pt x="72" y="400"/>
                  </a:lnTo>
                  <a:cubicBezTo>
                    <a:pt x="62" y="408"/>
                    <a:pt x="62" y="417"/>
                    <a:pt x="72" y="417"/>
                  </a:cubicBezTo>
                  <a:cubicBezTo>
                    <a:pt x="89" y="444"/>
                    <a:pt x="89" y="444"/>
                    <a:pt x="89" y="444"/>
                  </a:cubicBezTo>
                  <a:cubicBezTo>
                    <a:pt x="97" y="444"/>
                    <a:pt x="107" y="444"/>
                    <a:pt x="107" y="435"/>
                  </a:cubicBezTo>
                  <a:cubicBezTo>
                    <a:pt x="231" y="320"/>
                    <a:pt x="231" y="320"/>
                    <a:pt x="231" y="320"/>
                  </a:cubicBezTo>
                  <a:cubicBezTo>
                    <a:pt x="195" y="275"/>
                    <a:pt x="195" y="275"/>
                    <a:pt x="195" y="275"/>
                  </a:cubicBezTo>
                  <a:lnTo>
                    <a:pt x="72" y="400"/>
                  </a:lnTo>
                  <a:close/>
                </a:path>
              </a:pathLst>
            </a:custGeom>
            <a:solidFill>
              <a:schemeClr val="bg1"/>
            </a:solidFill>
            <a:ln>
              <a:noFill/>
            </a:ln>
            <a:effectLst/>
            <a:scene3d>
              <a:camera prst="isometricBottomDown"/>
              <a:lightRig rig="threePt" dir="t"/>
            </a:scene3d>
          </p:spPr>
          <p:txBody>
            <a:bodyPr wrap="none" lIns="21431" tIns="10716" rIns="21431" bIns="10716" anchor="ctr"/>
            <a:lstStyle/>
            <a:p>
              <a:endParaRPr lang="en-US" sz="1125" dirty="0">
                <a:latin typeface="Calibri"/>
                <a:ea typeface="微软雅黑"/>
                <a:cs typeface="+mn-ea"/>
                <a:sym typeface="Calibri"/>
              </a:endParaRPr>
            </a:p>
          </p:txBody>
        </p:sp>
        <p:sp>
          <p:nvSpPr>
            <p:cNvPr id="6" name="Freeform 154"/>
            <p:cNvSpPr>
              <a:spLocks noChangeArrowheads="1"/>
            </p:cNvSpPr>
            <p:nvPr/>
          </p:nvSpPr>
          <p:spPr bwMode="auto">
            <a:xfrm>
              <a:off x="2974741" y="5391899"/>
              <a:ext cx="374114" cy="507462"/>
            </a:xfrm>
            <a:custGeom>
              <a:avLst/>
              <a:gdLst>
                <a:gd name="T0" fmla="*/ 156272 w 355"/>
                <a:gd name="T1" fmla="*/ 58950 h 487"/>
                <a:gd name="T2" fmla="*/ 156272 w 355"/>
                <a:gd name="T3" fmla="*/ 58950 h 487"/>
                <a:gd name="T4" fmla="*/ 52392 w 355"/>
                <a:gd name="T5" fmla="*/ 7592 h 487"/>
                <a:gd name="T6" fmla="*/ 4065 w 355"/>
                <a:gd name="T7" fmla="*/ 23669 h 487"/>
                <a:gd name="T8" fmla="*/ 0 w 355"/>
                <a:gd name="T9" fmla="*/ 35280 h 487"/>
                <a:gd name="T10" fmla="*/ 4065 w 355"/>
                <a:gd name="T11" fmla="*/ 154073 h 487"/>
                <a:gd name="T12" fmla="*/ 8130 w 355"/>
                <a:gd name="T13" fmla="*/ 162111 h 487"/>
                <a:gd name="T14" fmla="*/ 100267 w 355"/>
                <a:gd name="T15" fmla="*/ 217041 h 487"/>
                <a:gd name="T16" fmla="*/ 104332 w 355"/>
                <a:gd name="T17" fmla="*/ 217041 h 487"/>
                <a:gd name="T18" fmla="*/ 108397 w 355"/>
                <a:gd name="T19" fmla="*/ 217041 h 487"/>
                <a:gd name="T20" fmla="*/ 112010 w 355"/>
                <a:gd name="T21" fmla="*/ 213469 h 487"/>
                <a:gd name="T22" fmla="*/ 112010 w 355"/>
                <a:gd name="T23" fmla="*/ 90657 h 487"/>
                <a:gd name="T24" fmla="*/ 108397 w 355"/>
                <a:gd name="T25" fmla="*/ 82619 h 487"/>
                <a:gd name="T26" fmla="*/ 19873 w 355"/>
                <a:gd name="T27" fmla="*/ 31261 h 487"/>
                <a:gd name="T28" fmla="*/ 32067 w 355"/>
                <a:gd name="T29" fmla="*/ 23669 h 487"/>
                <a:gd name="T30" fmla="*/ 48327 w 355"/>
                <a:gd name="T31" fmla="*/ 19650 h 487"/>
                <a:gd name="T32" fmla="*/ 135948 w 355"/>
                <a:gd name="T33" fmla="*/ 66988 h 487"/>
                <a:gd name="T34" fmla="*/ 140013 w 355"/>
                <a:gd name="T35" fmla="*/ 71007 h 487"/>
                <a:gd name="T36" fmla="*/ 140013 w 355"/>
                <a:gd name="T37" fmla="*/ 189800 h 487"/>
                <a:gd name="T38" fmla="*/ 148142 w 355"/>
                <a:gd name="T39" fmla="*/ 197392 h 487"/>
                <a:gd name="T40" fmla="*/ 159885 w 355"/>
                <a:gd name="T41" fmla="*/ 189800 h 487"/>
                <a:gd name="T42" fmla="*/ 159885 w 355"/>
                <a:gd name="T43" fmla="*/ 62969 h 487"/>
                <a:gd name="T44" fmla="*/ 156272 w 355"/>
                <a:gd name="T45" fmla="*/ 58950 h 4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55" h="487">
                  <a:moveTo>
                    <a:pt x="346" y="132"/>
                  </a:moveTo>
                  <a:lnTo>
                    <a:pt x="346" y="132"/>
                  </a:lnTo>
                  <a:cubicBezTo>
                    <a:pt x="116" y="17"/>
                    <a:pt x="116" y="17"/>
                    <a:pt x="116" y="17"/>
                  </a:cubicBezTo>
                  <a:cubicBezTo>
                    <a:pt x="89" y="0"/>
                    <a:pt x="27" y="25"/>
                    <a:pt x="9" y="53"/>
                  </a:cubicBezTo>
                  <a:cubicBezTo>
                    <a:pt x="0" y="70"/>
                    <a:pt x="0" y="79"/>
                    <a:pt x="0" y="79"/>
                  </a:cubicBezTo>
                  <a:cubicBezTo>
                    <a:pt x="9" y="345"/>
                    <a:pt x="9" y="345"/>
                    <a:pt x="9" y="345"/>
                  </a:cubicBezTo>
                  <a:cubicBezTo>
                    <a:pt x="9" y="345"/>
                    <a:pt x="18" y="354"/>
                    <a:pt x="18" y="363"/>
                  </a:cubicBezTo>
                  <a:cubicBezTo>
                    <a:pt x="36" y="363"/>
                    <a:pt x="222" y="486"/>
                    <a:pt x="222" y="486"/>
                  </a:cubicBezTo>
                  <a:cubicBezTo>
                    <a:pt x="231" y="486"/>
                    <a:pt x="231" y="486"/>
                    <a:pt x="231" y="486"/>
                  </a:cubicBezTo>
                  <a:cubicBezTo>
                    <a:pt x="240" y="486"/>
                    <a:pt x="240" y="486"/>
                    <a:pt x="240" y="486"/>
                  </a:cubicBezTo>
                  <a:cubicBezTo>
                    <a:pt x="248" y="486"/>
                    <a:pt x="248" y="478"/>
                    <a:pt x="248" y="478"/>
                  </a:cubicBezTo>
                  <a:cubicBezTo>
                    <a:pt x="248" y="203"/>
                    <a:pt x="248" y="203"/>
                    <a:pt x="248" y="203"/>
                  </a:cubicBezTo>
                  <a:cubicBezTo>
                    <a:pt x="248" y="194"/>
                    <a:pt x="248" y="194"/>
                    <a:pt x="240" y="185"/>
                  </a:cubicBezTo>
                  <a:cubicBezTo>
                    <a:pt x="44" y="70"/>
                    <a:pt x="44" y="70"/>
                    <a:pt x="44" y="70"/>
                  </a:cubicBezTo>
                  <a:cubicBezTo>
                    <a:pt x="44" y="70"/>
                    <a:pt x="53" y="61"/>
                    <a:pt x="71" y="53"/>
                  </a:cubicBezTo>
                  <a:cubicBezTo>
                    <a:pt x="89" y="44"/>
                    <a:pt x="97" y="44"/>
                    <a:pt x="107" y="44"/>
                  </a:cubicBezTo>
                  <a:cubicBezTo>
                    <a:pt x="107" y="44"/>
                    <a:pt x="293" y="150"/>
                    <a:pt x="301" y="150"/>
                  </a:cubicBezTo>
                  <a:cubicBezTo>
                    <a:pt x="310" y="159"/>
                    <a:pt x="310" y="159"/>
                    <a:pt x="310" y="159"/>
                  </a:cubicBezTo>
                  <a:cubicBezTo>
                    <a:pt x="310" y="168"/>
                    <a:pt x="310" y="425"/>
                    <a:pt x="310" y="425"/>
                  </a:cubicBezTo>
                  <a:cubicBezTo>
                    <a:pt x="310" y="433"/>
                    <a:pt x="319" y="442"/>
                    <a:pt x="328" y="442"/>
                  </a:cubicBezTo>
                  <a:cubicBezTo>
                    <a:pt x="337" y="442"/>
                    <a:pt x="354" y="433"/>
                    <a:pt x="354" y="425"/>
                  </a:cubicBezTo>
                  <a:cubicBezTo>
                    <a:pt x="354" y="141"/>
                    <a:pt x="354" y="141"/>
                    <a:pt x="354" y="141"/>
                  </a:cubicBezTo>
                  <a:lnTo>
                    <a:pt x="346" y="132"/>
                  </a:lnTo>
                </a:path>
              </a:pathLst>
            </a:custGeom>
            <a:solidFill>
              <a:schemeClr val="bg1"/>
            </a:solidFill>
            <a:ln>
              <a:noFill/>
            </a:ln>
            <a:effectLst/>
            <a:scene3d>
              <a:camera prst="perspectiveContrastingLeftFacing"/>
              <a:lightRig rig="threePt" dir="t"/>
            </a:scene3d>
          </p:spPr>
          <p:txBody>
            <a:bodyPr wrap="none" lIns="21431" tIns="10716" rIns="21431" bIns="10716" anchor="ctr"/>
            <a:lstStyle/>
            <a:p>
              <a:endParaRPr lang="en-US" sz="1125" dirty="0">
                <a:latin typeface="Calibri"/>
                <a:ea typeface="微软雅黑"/>
                <a:cs typeface="+mn-ea"/>
                <a:sym typeface="Calibri"/>
              </a:endParaRPr>
            </a:p>
          </p:txBody>
        </p:sp>
      </p:grpSp>
      <p:grpSp>
        <p:nvGrpSpPr>
          <p:cNvPr id="38" name="Group 3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620563" y="1126290"/>
            <a:ext cx="2011324" cy="862304"/>
            <a:chOff x="950659" y="4174725"/>
            <a:chExt cx="2324952" cy="862304"/>
          </a:xfrm>
        </p:grpSpPr>
        <p:sp>
          <p:nvSpPr>
            <p:cNvPr id="39" name="TextBox 38"/>
            <p:cNvSpPr txBox="1"/>
            <p:nvPr/>
          </p:nvSpPr>
          <p:spPr>
            <a:xfrm>
              <a:off x="950659" y="4174725"/>
              <a:ext cx="1876425" cy="276999"/>
            </a:xfrm>
            <a:prstGeom prst="rect">
              <a:avLst/>
            </a:prstGeom>
            <a:noFill/>
          </p:spPr>
          <p:txBody>
            <a:bodyPr wrap="square" rtlCol="0">
              <a:spAutoFit/>
            </a:bodyPr>
            <a:lstStyle/>
            <a:p>
              <a:r>
                <a:rPr lang="en-US" sz="1200" dirty="0">
                  <a:solidFill>
                    <a:schemeClr val="accent3"/>
                  </a:solidFill>
                  <a:latin typeface="Calibri"/>
                  <a:ea typeface="微软雅黑"/>
                  <a:cs typeface="+mn-ea"/>
                  <a:sym typeface="Calibri"/>
                </a:rPr>
                <a:t>Description </a:t>
              </a:r>
            </a:p>
          </p:txBody>
        </p:sp>
        <p:sp>
          <p:nvSpPr>
            <p:cNvPr id="40" name="TextBox 39"/>
            <p:cNvSpPr txBox="1"/>
            <p:nvPr/>
          </p:nvSpPr>
          <p:spPr>
            <a:xfrm>
              <a:off x="950659" y="4506884"/>
              <a:ext cx="2324952" cy="530145"/>
            </a:xfrm>
            <a:prstGeom prst="rect">
              <a:avLst/>
            </a:prstGeom>
            <a:noFill/>
          </p:spPr>
          <p:txBody>
            <a:bodyPr wrap="square" rtlCol="0">
              <a:spAutoFit/>
            </a:bodyPr>
            <a:lstStyle/>
            <a:p>
              <a:pPr>
                <a:lnSpc>
                  <a:spcPct val="150000"/>
                </a:lnSpc>
              </a:pPr>
              <a:r>
                <a:rPr lang="en-US" sz="1000" dirty="0">
                  <a:solidFill>
                    <a:schemeClr val="tx1">
                      <a:lumMod val="65000"/>
                      <a:lumOff val="35000"/>
                    </a:schemeClr>
                  </a:solidFill>
                  <a:latin typeface="Calibri"/>
                  <a:ea typeface="微软雅黑"/>
                  <a:cs typeface="+mn-ea"/>
                  <a:sym typeface="Calibri"/>
                </a:rPr>
                <a:t>A wonderful serenity has taken possession of my entire soul.</a:t>
              </a:r>
            </a:p>
          </p:txBody>
        </p:sp>
      </p:grpSp>
      <p:grpSp>
        <p:nvGrpSpPr>
          <p:cNvPr id="41" name="Group 4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866858" y="4946136"/>
            <a:ext cx="2011324" cy="862304"/>
            <a:chOff x="950659" y="4174725"/>
            <a:chExt cx="2324952" cy="862304"/>
          </a:xfrm>
        </p:grpSpPr>
        <p:sp>
          <p:nvSpPr>
            <p:cNvPr id="42" name="TextBox 41"/>
            <p:cNvSpPr txBox="1"/>
            <p:nvPr/>
          </p:nvSpPr>
          <p:spPr>
            <a:xfrm>
              <a:off x="950659" y="4174725"/>
              <a:ext cx="1876425" cy="276999"/>
            </a:xfrm>
            <a:prstGeom prst="rect">
              <a:avLst/>
            </a:prstGeom>
            <a:noFill/>
          </p:spPr>
          <p:txBody>
            <a:bodyPr wrap="square" rtlCol="0">
              <a:spAutoFit/>
            </a:bodyPr>
            <a:lstStyle/>
            <a:p>
              <a:r>
                <a:rPr lang="en-US" sz="1200" dirty="0">
                  <a:solidFill>
                    <a:schemeClr val="accent2"/>
                  </a:solidFill>
                  <a:latin typeface="Calibri"/>
                  <a:ea typeface="微软雅黑"/>
                  <a:cs typeface="+mn-ea"/>
                  <a:sym typeface="Calibri"/>
                </a:rPr>
                <a:t>Description </a:t>
              </a:r>
            </a:p>
          </p:txBody>
        </p:sp>
        <p:sp>
          <p:nvSpPr>
            <p:cNvPr id="43" name="TextBox 42"/>
            <p:cNvSpPr txBox="1"/>
            <p:nvPr/>
          </p:nvSpPr>
          <p:spPr>
            <a:xfrm>
              <a:off x="950659" y="4506884"/>
              <a:ext cx="2324952" cy="530145"/>
            </a:xfrm>
            <a:prstGeom prst="rect">
              <a:avLst/>
            </a:prstGeom>
            <a:noFill/>
          </p:spPr>
          <p:txBody>
            <a:bodyPr wrap="square" rtlCol="0">
              <a:spAutoFit/>
            </a:bodyPr>
            <a:lstStyle/>
            <a:p>
              <a:pPr>
                <a:lnSpc>
                  <a:spcPct val="150000"/>
                </a:lnSpc>
              </a:pPr>
              <a:r>
                <a:rPr lang="en-US" sz="1000" dirty="0">
                  <a:solidFill>
                    <a:schemeClr val="tx1">
                      <a:lumMod val="65000"/>
                      <a:lumOff val="35000"/>
                    </a:schemeClr>
                  </a:solidFill>
                  <a:latin typeface="Calibri"/>
                  <a:ea typeface="微软雅黑"/>
                  <a:cs typeface="+mn-ea"/>
                  <a:sym typeface="Calibri"/>
                </a:rPr>
                <a:t>A wonderful serenity has taken possession of my entire soul.</a:t>
              </a:r>
            </a:p>
          </p:txBody>
        </p:sp>
      </p:grpSp>
      <p:grpSp>
        <p:nvGrpSpPr>
          <p:cNvPr id="44" name="Group 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054002" y="404381"/>
            <a:ext cx="4022888" cy="2612945"/>
            <a:chOff x="667795" y="838202"/>
            <a:chExt cx="2680089" cy="5326378"/>
          </a:xfrm>
        </p:grpSpPr>
        <p:sp>
          <p:nvSpPr>
            <p:cNvPr id="45" name="Rectangle 7"/>
            <p:cNvSpPr/>
            <p:nvPr/>
          </p:nvSpPr>
          <p:spPr>
            <a:xfrm>
              <a:off x="667795" y="1021080"/>
              <a:ext cx="2509684" cy="5143500"/>
            </a:xfrm>
            <a:prstGeom prst="rect">
              <a:avLst/>
            </a:prstGeom>
            <a:pattFill prst="wdDnDiag">
              <a:fgClr>
                <a:schemeClr val="accent3"/>
              </a:fgClr>
              <a:bgClr>
                <a:schemeClr val="bg1"/>
              </a:bgClr>
            </a:patt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6" name="Rectangle 8"/>
            <p:cNvSpPr/>
            <p:nvPr/>
          </p:nvSpPr>
          <p:spPr>
            <a:xfrm>
              <a:off x="838200" y="838202"/>
              <a:ext cx="2509684" cy="4970575"/>
            </a:xfrm>
            <a:prstGeom prst="rect">
              <a:avLst/>
            </a:prstGeom>
            <a:solidFill>
              <a:schemeClr val="bg1"/>
            </a:solid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sp>
        <p:nvSpPr>
          <p:cNvPr id="47" name="TextBox 1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642551" y="731484"/>
            <a:ext cx="3767970" cy="1323439"/>
          </a:xfrm>
          <a:prstGeom prst="rect">
            <a:avLst/>
          </a:prstGeom>
          <a:noFill/>
        </p:spPr>
        <p:txBody>
          <a:bodyPr wrap="square" rtlCol="0">
            <a:spAutoFit/>
          </a:bodyPr>
          <a:lstStyle/>
          <a:p>
            <a:r>
              <a:rPr lang="en-US" altLang="zh-CN" sz="4000" b="1" dirty="0">
                <a:solidFill>
                  <a:schemeClr val="tx1">
                    <a:lumMod val="85000"/>
                    <a:lumOff val="15000"/>
                  </a:schemeClr>
                </a:solidFill>
                <a:latin typeface="Calibri"/>
                <a:ea typeface="微软雅黑"/>
                <a:cs typeface="+mn-ea"/>
                <a:sym typeface="Calibri"/>
              </a:rPr>
              <a:t>Puzzle infographic slide</a:t>
            </a:r>
          </a:p>
        </p:txBody>
      </p:sp>
      <p:grpSp>
        <p:nvGrpSpPr>
          <p:cNvPr id="48" name="Group 1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487224" y="5704636"/>
            <a:ext cx="1324112" cy="331302"/>
            <a:chOff x="4481444" y="4189765"/>
            <a:chExt cx="1324112" cy="331302"/>
          </a:xfrm>
        </p:grpSpPr>
        <p:sp>
          <p:nvSpPr>
            <p:cNvPr id="49" name="Rectangle: Rounded Corners 17"/>
            <p:cNvSpPr/>
            <p:nvPr/>
          </p:nvSpPr>
          <p:spPr>
            <a:xfrm>
              <a:off x="4481444" y="4189765"/>
              <a:ext cx="1324112" cy="331302"/>
            </a:xfrm>
            <a:prstGeom prst="roundRect">
              <a:avLst>
                <a:gd name="adj" fmla="val 50000"/>
              </a:avLst>
            </a:prstGeom>
            <a:gradFill>
              <a:gsLst>
                <a:gs pos="0">
                  <a:schemeClr val="accent5">
                    <a:lumMod val="60000"/>
                    <a:lumOff val="40000"/>
                  </a:schemeClr>
                </a:gs>
                <a:gs pos="100000">
                  <a:schemeClr val="accent3">
                    <a:lumMod val="60000"/>
                    <a:lumOff val="40000"/>
                  </a:schemeClr>
                </a:gs>
              </a:gsLst>
              <a:lin ang="8100000" scaled="1"/>
            </a:gradFill>
            <a:ln w="31750">
              <a:solidFill>
                <a:schemeClr val="accent3">
                  <a:alpha val="93000"/>
                </a:schemeClr>
              </a:solidFill>
            </a:ln>
            <a:effectLst>
              <a:outerShdw blurRad="228600" dist="152400" dir="5400000" sx="79000" sy="79000" algn="t"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050" spc="300" dirty="0">
                <a:solidFill>
                  <a:schemeClr val="bg1"/>
                </a:solidFill>
                <a:latin typeface="Calibri"/>
                <a:ea typeface="微软雅黑"/>
                <a:cs typeface="+mn-ea"/>
                <a:sym typeface="Calibri"/>
              </a:endParaRPr>
            </a:p>
          </p:txBody>
        </p:sp>
        <p:sp>
          <p:nvSpPr>
            <p:cNvPr id="50" name="TextBox 18"/>
            <p:cNvSpPr txBox="1"/>
            <p:nvPr/>
          </p:nvSpPr>
          <p:spPr>
            <a:xfrm>
              <a:off x="4546298" y="4212451"/>
              <a:ext cx="1194404" cy="261610"/>
            </a:xfrm>
            <a:prstGeom prst="rect">
              <a:avLst/>
            </a:prstGeom>
            <a:noFill/>
          </p:spPr>
          <p:txBody>
            <a:bodyPr wrap="square" rtlCol="0">
              <a:spAutoFit/>
            </a:bodyPr>
            <a:lstStyle/>
            <a:p>
              <a:pPr algn="ctr"/>
              <a:r>
                <a:rPr lang="en-US" sz="1100" dirty="0">
                  <a:solidFill>
                    <a:schemeClr val="bg1"/>
                  </a:solidFill>
                  <a:latin typeface="Calibri"/>
                  <a:ea typeface="微软雅黑"/>
                  <a:cs typeface="+mn-ea"/>
                  <a:sym typeface="Calibri"/>
                </a:rPr>
                <a:t>We will back</a:t>
              </a:r>
              <a:endParaRPr lang="id-ID" sz="1100" dirty="0">
                <a:solidFill>
                  <a:schemeClr val="bg1"/>
                </a:solidFill>
                <a:latin typeface="Calibri"/>
                <a:ea typeface="微软雅黑"/>
                <a:cs typeface="+mn-ea"/>
                <a:sym typeface="Calibri"/>
              </a:endParaRPr>
            </a:p>
          </p:txBody>
        </p:sp>
      </p:grpSp>
      <p:sp>
        <p:nvSpPr>
          <p:cNvPr id="51" name="TextBox 6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330167" y="3409398"/>
            <a:ext cx="4331384" cy="1477328"/>
          </a:xfrm>
          <a:prstGeom prst="rect">
            <a:avLst/>
          </a:prstGeom>
          <a:noFill/>
        </p:spPr>
        <p:txBody>
          <a:bodyPr wrap="square" rtlCol="0">
            <a:spAutoFit/>
          </a:bodyPr>
          <a:lstStyle/>
          <a:p>
            <a:pPr>
              <a:lnSpc>
                <a:spcPct val="150000"/>
              </a:lnSpc>
            </a:pPr>
            <a:r>
              <a:rPr lang="zh-CN" altLang="en-US" sz="1200" dirty="0">
                <a:solidFill>
                  <a:schemeClr val="tx2">
                    <a:lumMod val="50000"/>
                  </a:schemeClr>
                </a:solidFill>
                <a:latin typeface="Calibri"/>
                <a:ea typeface="微软雅黑"/>
                <a:cs typeface="+mn-ea"/>
                <a:sym typeface="Calibri"/>
              </a:rPr>
              <a:t>Hey, hey, hey! It's Fat </a:t>
            </a:r>
            <a:r>
              <a:rPr lang="en-US" altLang="zh-CN" sz="1200" dirty="0">
                <a:solidFill>
                  <a:schemeClr val="tx2">
                    <a:lumMod val="50000"/>
                  </a:schemeClr>
                </a:solidFill>
                <a:latin typeface="Calibri"/>
                <a:ea typeface="微软雅黑"/>
                <a:cs typeface="+mn-ea"/>
                <a:sym typeface="Calibri"/>
              </a:rPr>
              <a:t>Company</a:t>
            </a:r>
            <a:r>
              <a:rPr lang="zh-CN" altLang="en-US" sz="1200" dirty="0">
                <a:solidFill>
                  <a:schemeClr val="tx2">
                    <a:lumMod val="50000"/>
                  </a:schemeClr>
                </a:solidFill>
                <a:latin typeface="Calibri"/>
                <a:ea typeface="微软雅黑"/>
                <a:cs typeface="+mn-ea"/>
                <a:sym typeface="Calibri"/>
              </a:rPr>
              <a:t>! Now I'm gonna sing a song for you, and this is gonna show you a thing or two. You'll have some fun now With me and the gang, learning from each other While we do our thing.</a:t>
            </a:r>
            <a:endParaRPr lang="en-US" altLang="zh-CN" sz="1200" dirty="0">
              <a:solidFill>
                <a:schemeClr val="tx2">
                  <a:lumMod val="50000"/>
                </a:schemeClr>
              </a:solidFill>
              <a:latin typeface="Calibri"/>
              <a:ea typeface="微软雅黑"/>
              <a:cs typeface="+mn-ea"/>
              <a:sym typeface="Calibri"/>
            </a:endParaRPr>
          </a:p>
          <a:p>
            <a:pPr>
              <a:lnSpc>
                <a:spcPct val="150000"/>
              </a:lnSpc>
            </a:pPr>
            <a:r>
              <a:rPr lang="zh-CN" altLang="en-US" sz="1200" dirty="0">
                <a:solidFill>
                  <a:schemeClr val="tx2">
                    <a:lumMod val="50000"/>
                  </a:schemeClr>
                </a:solidFill>
                <a:latin typeface="Calibri"/>
                <a:ea typeface="微软雅黑"/>
                <a:cs typeface="+mn-ea"/>
                <a:sym typeface="Calibri"/>
              </a:rPr>
              <a:t>Hey, hey, hey! It's Fat </a:t>
            </a:r>
            <a:r>
              <a:rPr lang="en-US" altLang="zh-CN" sz="1200" dirty="0">
                <a:solidFill>
                  <a:schemeClr val="tx2">
                    <a:lumMod val="50000"/>
                  </a:schemeClr>
                </a:solidFill>
                <a:latin typeface="Calibri"/>
                <a:ea typeface="微软雅黑"/>
                <a:cs typeface="+mn-ea"/>
                <a:sym typeface="Calibri"/>
              </a:rPr>
              <a:t>Company</a:t>
            </a:r>
          </a:p>
        </p:txBody>
      </p:sp>
      <p:sp>
        <p:nvSpPr>
          <p:cNvPr id="52"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Oval 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5836229" y="215900"/>
            <a:ext cx="7123680" cy="7123680"/>
          </a:xfrm>
          <a:prstGeom prst="ellipse">
            <a:avLst/>
          </a:prstGeom>
          <a:gradFill>
            <a:gsLst>
              <a:gs pos="0">
                <a:schemeClr val="accent1">
                  <a:alpha val="0"/>
                </a:schemeClr>
              </a:gs>
              <a:gs pos="100000">
                <a:schemeClr val="accent2"/>
              </a:gs>
            </a:gsLst>
            <a:lin ang="8100000" scaled="1"/>
          </a:gradFill>
          <a:ln>
            <a:noFill/>
          </a:ln>
          <a:effectLst>
            <a:softEdge rad="635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nvGrpSpPr>
          <p:cNvPr id="27" name="Group 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773808" y="494674"/>
            <a:ext cx="4022888" cy="2090664"/>
            <a:chOff x="667795" y="838202"/>
            <a:chExt cx="2680089" cy="5326378"/>
          </a:xfrm>
        </p:grpSpPr>
        <p:sp>
          <p:nvSpPr>
            <p:cNvPr id="28" name="Rectangle 7"/>
            <p:cNvSpPr/>
            <p:nvPr/>
          </p:nvSpPr>
          <p:spPr>
            <a:xfrm>
              <a:off x="667795" y="1021080"/>
              <a:ext cx="2509684" cy="5143500"/>
            </a:xfrm>
            <a:prstGeom prst="rect">
              <a:avLst/>
            </a:prstGeom>
            <a:pattFill prst="wdDnDiag">
              <a:fgClr>
                <a:schemeClr val="accent3"/>
              </a:fgClr>
              <a:bgClr>
                <a:schemeClr val="bg1"/>
              </a:bgClr>
            </a:patt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29" name="Rectangle 8"/>
            <p:cNvSpPr/>
            <p:nvPr/>
          </p:nvSpPr>
          <p:spPr>
            <a:xfrm>
              <a:off x="838200" y="838202"/>
              <a:ext cx="2509684" cy="4970575"/>
            </a:xfrm>
            <a:prstGeom prst="rect">
              <a:avLst/>
            </a:prstGeom>
            <a:solidFill>
              <a:schemeClr val="bg1"/>
            </a:solid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sp>
        <p:nvSpPr>
          <p:cNvPr id="2" name="文本框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313310" y="1105579"/>
            <a:ext cx="3619404" cy="1343958"/>
          </a:xfrm>
          <a:prstGeom prst="rect">
            <a:avLst/>
          </a:prstGeom>
          <a:noFill/>
        </p:spPr>
        <p:txBody>
          <a:bodyPr vert="horz" wrap="square" lIns="91440" tIns="45720" rIns="91440" bIns="45720" rtlCol="0">
            <a:spAutoFit/>
          </a:bodyPr>
          <a:lstStyle>
            <a:lvl1pPr indent="0">
              <a:lnSpc>
                <a:spcPct val="90000"/>
              </a:lnSpc>
              <a:spcBef>
                <a:spcPts val="1000"/>
              </a:spcBef>
              <a:buFont typeface="Arial" panose="020B0604020202020204" pitchFamily="34" charset="0"/>
              <a:buNone/>
              <a:defRPr sz="4000" b="1">
                <a:latin typeface="+mn-ea"/>
                <a:cs typeface="Liberation Sans" panose="020B0604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r>
              <a:rPr lang="en-US" altLang="zh-CN" dirty="0">
                <a:latin typeface="Calibri"/>
                <a:ea typeface="微软雅黑"/>
                <a:sym typeface="Calibri"/>
              </a:rPr>
              <a:t>About us</a:t>
            </a:r>
          </a:p>
          <a:p>
            <a:endParaRPr lang="zh-CN" altLang="en-US" dirty="0">
              <a:latin typeface="Calibri"/>
              <a:ea typeface="微软雅黑"/>
              <a:sym typeface="Calibri"/>
            </a:endParaRPr>
          </a:p>
        </p:txBody>
      </p:sp>
      <p:grpSp>
        <p:nvGrpSpPr>
          <p:cNvPr id="4" name="Group 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795303" y="3309288"/>
            <a:ext cx="2900026" cy="1216322"/>
            <a:chOff x="1313834" y="1663470"/>
            <a:chExt cx="2900026" cy="1216322"/>
          </a:xfrm>
        </p:grpSpPr>
        <p:sp>
          <p:nvSpPr>
            <p:cNvPr id="5" name="Title 3"/>
            <p:cNvSpPr txBox="1"/>
            <p:nvPr/>
          </p:nvSpPr>
          <p:spPr>
            <a:xfrm>
              <a:off x="1313834" y="2615750"/>
              <a:ext cx="2900026"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900" b="0" dirty="0">
                  <a:solidFill>
                    <a:schemeClr val="tx2">
                      <a:lumMod val="75000"/>
                      <a:lumOff val="25000"/>
                    </a:schemeClr>
                  </a:solidFill>
                  <a:latin typeface="Calibri"/>
                  <a:ea typeface="微软雅黑"/>
                  <a:cs typeface="Roboto Light" panose="02000000000000000000" pitchFamily="2" charset="0"/>
                  <a:sym typeface="Calibri"/>
                </a:rPr>
                <a:t>Business Department Analysis</a:t>
              </a:r>
            </a:p>
          </p:txBody>
        </p:sp>
        <p:sp>
          <p:nvSpPr>
            <p:cNvPr id="6" name="Title 3"/>
            <p:cNvSpPr txBox="1"/>
            <p:nvPr/>
          </p:nvSpPr>
          <p:spPr>
            <a:xfrm>
              <a:off x="1645920" y="1673940"/>
              <a:ext cx="2567940" cy="246539"/>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100" b="0" dirty="0">
                  <a:solidFill>
                    <a:schemeClr val="tx2">
                      <a:lumMod val="75000"/>
                      <a:lumOff val="25000"/>
                    </a:schemeClr>
                  </a:solidFill>
                  <a:latin typeface="Calibri"/>
                  <a:ea typeface="微软雅黑"/>
                  <a:cs typeface="Roboto Medium" panose="02000000000000000000" pitchFamily="2" charset="0"/>
                  <a:sym typeface="Calibri"/>
                </a:rPr>
                <a:t>Social Marketing</a:t>
              </a:r>
              <a:endParaRPr lang="en-US" sz="500" b="0" dirty="0">
                <a:solidFill>
                  <a:schemeClr val="tx2">
                    <a:lumMod val="75000"/>
                    <a:lumOff val="25000"/>
                  </a:schemeClr>
                </a:solidFill>
                <a:latin typeface="Calibri"/>
                <a:ea typeface="微软雅黑"/>
                <a:cs typeface="Roboto Medium" panose="02000000000000000000" pitchFamily="2" charset="0"/>
                <a:sym typeface="Calibri"/>
              </a:endParaRPr>
            </a:p>
          </p:txBody>
        </p:sp>
        <p:sp>
          <p:nvSpPr>
            <p:cNvPr id="7" name="Title 3"/>
            <p:cNvSpPr txBox="1"/>
            <p:nvPr/>
          </p:nvSpPr>
          <p:spPr>
            <a:xfrm>
              <a:off x="1313834" y="1995323"/>
              <a:ext cx="2742380" cy="545583"/>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100000"/>
                </a:lnSpc>
              </a:pPr>
              <a:r>
                <a:rPr lang="en-US" altLang="zh-CN" sz="1200" b="0" i="1" dirty="0">
                  <a:solidFill>
                    <a:schemeClr val="tx2">
                      <a:lumMod val="75000"/>
                      <a:lumOff val="25000"/>
                    </a:schemeClr>
                  </a:solidFill>
                  <a:latin typeface="Calibri"/>
                  <a:ea typeface="微软雅黑"/>
                  <a:cs typeface="Roboto Light" panose="02000000000000000000" pitchFamily="2" charset="0"/>
                  <a:sym typeface="Calibri"/>
                </a:rPr>
                <a:t>Hey, hey, hey! It's Fat Company! Now I'm </a:t>
              </a:r>
              <a:r>
                <a:rPr lang="en-US" altLang="zh-CN" sz="1200" b="0" i="1" dirty="0" err="1">
                  <a:solidFill>
                    <a:schemeClr val="tx2">
                      <a:lumMod val="75000"/>
                      <a:lumOff val="25000"/>
                    </a:schemeClr>
                  </a:solidFill>
                  <a:latin typeface="Calibri"/>
                  <a:ea typeface="微软雅黑"/>
                  <a:cs typeface="Roboto Light" panose="02000000000000000000" pitchFamily="2" charset="0"/>
                  <a:sym typeface="Calibri"/>
                </a:rPr>
                <a:t>gonna</a:t>
              </a:r>
              <a:r>
                <a:rPr lang="en-US" altLang="zh-CN" sz="1200" b="0" i="1" dirty="0">
                  <a:solidFill>
                    <a:schemeClr val="tx2">
                      <a:lumMod val="75000"/>
                      <a:lumOff val="25000"/>
                    </a:schemeClr>
                  </a:solidFill>
                  <a:latin typeface="Calibri"/>
                  <a:ea typeface="微软雅黑"/>
                  <a:cs typeface="Roboto Light" panose="02000000000000000000" pitchFamily="2" charset="0"/>
                  <a:sym typeface="Calibri"/>
                </a:rPr>
                <a:t> sing a song for you</a:t>
              </a:r>
              <a:endParaRPr lang="en-US" sz="600" b="0" dirty="0">
                <a:solidFill>
                  <a:schemeClr val="tx2">
                    <a:lumMod val="75000"/>
                    <a:lumOff val="25000"/>
                  </a:schemeClr>
                </a:solidFill>
                <a:latin typeface="Calibri"/>
                <a:ea typeface="微软雅黑"/>
                <a:cs typeface="Roboto Light" panose="02000000000000000000" pitchFamily="2" charset="0"/>
                <a:sym typeface="Calibri"/>
              </a:endParaRPr>
            </a:p>
          </p:txBody>
        </p:sp>
        <p:sp>
          <p:nvSpPr>
            <p:cNvPr id="8" name="Oval 13"/>
            <p:cNvSpPr/>
            <p:nvPr/>
          </p:nvSpPr>
          <p:spPr>
            <a:xfrm>
              <a:off x="1410393" y="1663470"/>
              <a:ext cx="235527" cy="235527"/>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ln w="0"/>
                  <a:solidFill>
                    <a:schemeClr val="tx2">
                      <a:lumMod val="75000"/>
                      <a:lumOff val="25000"/>
                    </a:schemeClr>
                  </a:solidFill>
                  <a:effectLst>
                    <a:outerShdw blurRad="38100" dist="19050" dir="2700000" algn="tl" rotWithShape="0">
                      <a:schemeClr val="dk1">
                        <a:alpha val="40000"/>
                      </a:schemeClr>
                    </a:outerShdw>
                  </a:effectLst>
                  <a:latin typeface="Calibri"/>
                  <a:ea typeface="微软雅黑"/>
                  <a:cs typeface="Roboto Medium" panose="02000000000000000000" pitchFamily="2" charset="0"/>
                  <a:sym typeface="Calibri"/>
                </a:rPr>
                <a:t>1</a:t>
              </a:r>
              <a:endParaRPr lang="en-US" sz="1050" dirty="0">
                <a:solidFill>
                  <a:schemeClr val="tx2">
                    <a:lumMod val="75000"/>
                    <a:lumOff val="25000"/>
                  </a:schemeClr>
                </a:solidFill>
                <a:latin typeface="Calibri"/>
                <a:ea typeface="微软雅黑"/>
                <a:cs typeface="Roboto Medium" panose="02000000000000000000" pitchFamily="2" charset="0"/>
                <a:sym typeface="Calibri"/>
              </a:endParaRPr>
            </a:p>
          </p:txBody>
        </p:sp>
      </p:grpSp>
      <p:grpSp>
        <p:nvGrpSpPr>
          <p:cNvPr id="9" name="Group 1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995919" y="3309288"/>
            <a:ext cx="2900026" cy="1216322"/>
            <a:chOff x="1313834" y="1663470"/>
            <a:chExt cx="2900026" cy="1216322"/>
          </a:xfrm>
        </p:grpSpPr>
        <p:sp>
          <p:nvSpPr>
            <p:cNvPr id="10" name="Title 3"/>
            <p:cNvSpPr txBox="1"/>
            <p:nvPr/>
          </p:nvSpPr>
          <p:spPr>
            <a:xfrm>
              <a:off x="1313834" y="2615750"/>
              <a:ext cx="2900026"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altLang="zh-CN" sz="900" b="0" dirty="0">
                  <a:solidFill>
                    <a:schemeClr val="tx2">
                      <a:lumMod val="75000"/>
                      <a:lumOff val="25000"/>
                    </a:schemeClr>
                  </a:solidFill>
                  <a:latin typeface="Calibri"/>
                  <a:ea typeface="微软雅黑"/>
                  <a:cs typeface="Roboto Light" panose="02000000000000000000" pitchFamily="2" charset="0"/>
                  <a:sym typeface="Calibri"/>
                </a:rPr>
                <a:t>Business Department Analysis</a:t>
              </a:r>
            </a:p>
          </p:txBody>
        </p:sp>
        <p:sp>
          <p:nvSpPr>
            <p:cNvPr id="11" name="Title 3"/>
            <p:cNvSpPr txBox="1"/>
            <p:nvPr/>
          </p:nvSpPr>
          <p:spPr>
            <a:xfrm>
              <a:off x="1645920" y="1673940"/>
              <a:ext cx="2567940" cy="246539"/>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100" b="0" dirty="0">
                  <a:solidFill>
                    <a:schemeClr val="tx2">
                      <a:lumMod val="75000"/>
                      <a:lumOff val="25000"/>
                    </a:schemeClr>
                  </a:solidFill>
                  <a:latin typeface="Calibri"/>
                  <a:ea typeface="微软雅黑"/>
                  <a:cs typeface="Roboto Medium" panose="02000000000000000000" pitchFamily="2" charset="0"/>
                  <a:sym typeface="Calibri"/>
                </a:rPr>
                <a:t>Design</a:t>
              </a:r>
              <a:endParaRPr lang="en-US" sz="500" b="0" dirty="0">
                <a:solidFill>
                  <a:schemeClr val="tx2">
                    <a:lumMod val="75000"/>
                    <a:lumOff val="25000"/>
                  </a:schemeClr>
                </a:solidFill>
                <a:latin typeface="Calibri"/>
                <a:ea typeface="微软雅黑"/>
                <a:cs typeface="Roboto Medium" panose="02000000000000000000" pitchFamily="2" charset="0"/>
                <a:sym typeface="Calibri"/>
              </a:endParaRPr>
            </a:p>
          </p:txBody>
        </p:sp>
        <p:sp>
          <p:nvSpPr>
            <p:cNvPr id="12" name="Title 3"/>
            <p:cNvSpPr txBox="1"/>
            <p:nvPr/>
          </p:nvSpPr>
          <p:spPr>
            <a:xfrm>
              <a:off x="1313834" y="1995323"/>
              <a:ext cx="2798831" cy="545583"/>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100000"/>
                </a:lnSpc>
              </a:pPr>
              <a:r>
                <a:rPr lang="en-US" altLang="zh-CN" sz="1200" b="0" i="1" dirty="0">
                  <a:solidFill>
                    <a:schemeClr val="tx2">
                      <a:lumMod val="75000"/>
                      <a:lumOff val="25000"/>
                    </a:schemeClr>
                  </a:solidFill>
                  <a:latin typeface="Calibri"/>
                  <a:ea typeface="微软雅黑"/>
                  <a:cs typeface="Roboto Light" panose="02000000000000000000" pitchFamily="2" charset="0"/>
                  <a:sym typeface="Calibri"/>
                </a:rPr>
                <a:t>Hey, hey, hey! It's Fat Company! Now I'm </a:t>
              </a:r>
              <a:r>
                <a:rPr lang="en-US" altLang="zh-CN" sz="1200" b="0" i="1" dirty="0" err="1">
                  <a:solidFill>
                    <a:schemeClr val="tx2">
                      <a:lumMod val="75000"/>
                      <a:lumOff val="25000"/>
                    </a:schemeClr>
                  </a:solidFill>
                  <a:latin typeface="Calibri"/>
                  <a:ea typeface="微软雅黑"/>
                  <a:cs typeface="Roboto Light" panose="02000000000000000000" pitchFamily="2" charset="0"/>
                  <a:sym typeface="Calibri"/>
                </a:rPr>
                <a:t>gonna</a:t>
              </a:r>
              <a:r>
                <a:rPr lang="en-US" altLang="zh-CN" sz="1200" b="0" i="1" dirty="0">
                  <a:solidFill>
                    <a:schemeClr val="tx2">
                      <a:lumMod val="75000"/>
                      <a:lumOff val="25000"/>
                    </a:schemeClr>
                  </a:solidFill>
                  <a:latin typeface="Calibri"/>
                  <a:ea typeface="微软雅黑"/>
                  <a:cs typeface="Roboto Light" panose="02000000000000000000" pitchFamily="2" charset="0"/>
                  <a:sym typeface="Calibri"/>
                </a:rPr>
                <a:t> sing a song for you</a:t>
              </a:r>
              <a:endParaRPr lang="en-US" sz="600" b="0" dirty="0">
                <a:solidFill>
                  <a:schemeClr val="tx2">
                    <a:lumMod val="75000"/>
                    <a:lumOff val="25000"/>
                  </a:schemeClr>
                </a:solidFill>
                <a:latin typeface="Calibri"/>
                <a:ea typeface="微软雅黑"/>
                <a:cs typeface="Roboto Light" panose="02000000000000000000" pitchFamily="2" charset="0"/>
                <a:sym typeface="Calibri"/>
              </a:endParaRPr>
            </a:p>
          </p:txBody>
        </p:sp>
        <p:sp>
          <p:nvSpPr>
            <p:cNvPr id="13" name="Oval 19"/>
            <p:cNvSpPr/>
            <p:nvPr/>
          </p:nvSpPr>
          <p:spPr>
            <a:xfrm>
              <a:off x="1410393" y="1663470"/>
              <a:ext cx="235527" cy="23552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ln w="0"/>
                  <a:solidFill>
                    <a:schemeClr val="tx2">
                      <a:lumMod val="75000"/>
                      <a:lumOff val="25000"/>
                    </a:schemeClr>
                  </a:solidFill>
                  <a:effectLst>
                    <a:outerShdw blurRad="38100" dist="19050" dir="2700000" algn="tl" rotWithShape="0">
                      <a:schemeClr val="dk1">
                        <a:alpha val="40000"/>
                      </a:schemeClr>
                    </a:outerShdw>
                  </a:effectLst>
                  <a:latin typeface="Calibri"/>
                  <a:ea typeface="微软雅黑"/>
                  <a:cs typeface="Roboto Medium" panose="02000000000000000000" pitchFamily="2" charset="0"/>
                  <a:sym typeface="Calibri"/>
                </a:rPr>
                <a:t>2</a:t>
              </a:r>
            </a:p>
          </p:txBody>
        </p:sp>
      </p:grpSp>
      <p:cxnSp>
        <p:nvCxnSpPr>
          <p:cNvPr id="14" name="Straight Connector 2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CxnSpPr/>
          <p:nvPr/>
        </p:nvCxnSpPr>
        <p:spPr>
          <a:xfrm flipH="1">
            <a:off x="3665349" y="3309288"/>
            <a:ext cx="4545" cy="2404703"/>
          </a:xfrm>
          <a:prstGeom prst="line">
            <a:avLst/>
          </a:prstGeom>
          <a:ln>
            <a:solidFill>
              <a:schemeClr val="tx2">
                <a:lumMod val="50000"/>
                <a:alpha val="20000"/>
              </a:schemeClr>
            </a:solidFill>
          </a:ln>
        </p:spPr>
        <p:style>
          <a:lnRef idx="1">
            <a:schemeClr val="accent1"/>
          </a:lnRef>
          <a:fillRef idx="0">
            <a:schemeClr val="accent1"/>
          </a:fillRef>
          <a:effectRef idx="0">
            <a:schemeClr val="accent1"/>
          </a:effectRef>
          <a:fontRef idx="minor">
            <a:schemeClr val="tx1"/>
          </a:fontRef>
        </p:style>
      </p:cxnSp>
      <p:grpSp>
        <p:nvGrpSpPr>
          <p:cNvPr id="15" name="Group 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795303" y="4761711"/>
            <a:ext cx="2900026" cy="1216322"/>
            <a:chOff x="1313834" y="1663470"/>
            <a:chExt cx="2900026" cy="1216322"/>
          </a:xfrm>
        </p:grpSpPr>
        <p:sp>
          <p:nvSpPr>
            <p:cNvPr id="16" name="Title 3"/>
            <p:cNvSpPr txBox="1"/>
            <p:nvPr/>
          </p:nvSpPr>
          <p:spPr>
            <a:xfrm>
              <a:off x="1313834" y="2615750"/>
              <a:ext cx="2900026"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900" b="0" dirty="0">
                  <a:solidFill>
                    <a:schemeClr val="tx2">
                      <a:lumMod val="75000"/>
                      <a:lumOff val="25000"/>
                    </a:schemeClr>
                  </a:solidFill>
                  <a:latin typeface="Calibri"/>
                  <a:ea typeface="微软雅黑"/>
                  <a:cs typeface="Roboto Light" panose="02000000000000000000" pitchFamily="2" charset="0"/>
                  <a:sym typeface="Calibri"/>
                </a:rPr>
                <a:t>Business Department Analysis</a:t>
              </a:r>
            </a:p>
          </p:txBody>
        </p:sp>
        <p:sp>
          <p:nvSpPr>
            <p:cNvPr id="17" name="Title 3"/>
            <p:cNvSpPr txBox="1"/>
            <p:nvPr/>
          </p:nvSpPr>
          <p:spPr>
            <a:xfrm>
              <a:off x="1645920" y="1673940"/>
              <a:ext cx="2567940" cy="246539"/>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100" b="0" dirty="0">
                  <a:solidFill>
                    <a:schemeClr val="tx2">
                      <a:lumMod val="75000"/>
                      <a:lumOff val="25000"/>
                    </a:schemeClr>
                  </a:solidFill>
                  <a:latin typeface="Calibri"/>
                  <a:ea typeface="微软雅黑"/>
                  <a:cs typeface="Roboto Medium" panose="02000000000000000000" pitchFamily="2" charset="0"/>
                  <a:sym typeface="Calibri"/>
                </a:rPr>
                <a:t>Social Marketing</a:t>
              </a:r>
              <a:endParaRPr lang="en-US" sz="500" b="0" dirty="0">
                <a:solidFill>
                  <a:schemeClr val="tx2">
                    <a:lumMod val="75000"/>
                    <a:lumOff val="25000"/>
                  </a:schemeClr>
                </a:solidFill>
                <a:latin typeface="Calibri"/>
                <a:ea typeface="微软雅黑"/>
                <a:cs typeface="Roboto Medium" panose="02000000000000000000" pitchFamily="2" charset="0"/>
                <a:sym typeface="Calibri"/>
              </a:endParaRPr>
            </a:p>
          </p:txBody>
        </p:sp>
        <p:sp>
          <p:nvSpPr>
            <p:cNvPr id="18" name="Title 3"/>
            <p:cNvSpPr txBox="1"/>
            <p:nvPr/>
          </p:nvSpPr>
          <p:spPr>
            <a:xfrm>
              <a:off x="1313834" y="1995323"/>
              <a:ext cx="2742380" cy="545583"/>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100000"/>
                </a:lnSpc>
              </a:pPr>
              <a:r>
                <a:rPr lang="en-US" altLang="zh-CN" sz="1200" b="0" i="1" dirty="0">
                  <a:solidFill>
                    <a:schemeClr val="tx2">
                      <a:lumMod val="75000"/>
                      <a:lumOff val="25000"/>
                    </a:schemeClr>
                  </a:solidFill>
                  <a:latin typeface="Calibri"/>
                  <a:ea typeface="微软雅黑"/>
                  <a:cs typeface="Roboto Light" panose="02000000000000000000" pitchFamily="2" charset="0"/>
                  <a:sym typeface="Calibri"/>
                </a:rPr>
                <a:t>Hey, hey, hey! It's Fat Company! Now I'm </a:t>
              </a:r>
              <a:r>
                <a:rPr lang="en-US" altLang="zh-CN" sz="1200" b="0" i="1" dirty="0" err="1">
                  <a:solidFill>
                    <a:schemeClr val="tx2">
                      <a:lumMod val="75000"/>
                      <a:lumOff val="25000"/>
                    </a:schemeClr>
                  </a:solidFill>
                  <a:latin typeface="Calibri"/>
                  <a:ea typeface="微软雅黑"/>
                  <a:cs typeface="Roboto Light" panose="02000000000000000000" pitchFamily="2" charset="0"/>
                  <a:sym typeface="Calibri"/>
                </a:rPr>
                <a:t>gonna</a:t>
              </a:r>
              <a:r>
                <a:rPr lang="en-US" altLang="zh-CN" sz="1200" b="0" i="1" dirty="0">
                  <a:solidFill>
                    <a:schemeClr val="tx2">
                      <a:lumMod val="75000"/>
                      <a:lumOff val="25000"/>
                    </a:schemeClr>
                  </a:solidFill>
                  <a:latin typeface="Calibri"/>
                  <a:ea typeface="微软雅黑"/>
                  <a:cs typeface="Roboto Light" panose="02000000000000000000" pitchFamily="2" charset="0"/>
                  <a:sym typeface="Calibri"/>
                </a:rPr>
                <a:t> sing a song for you</a:t>
              </a:r>
              <a:endParaRPr lang="en-US" sz="600" b="0" dirty="0">
                <a:solidFill>
                  <a:schemeClr val="tx2">
                    <a:lumMod val="75000"/>
                    <a:lumOff val="25000"/>
                  </a:schemeClr>
                </a:solidFill>
                <a:latin typeface="Calibri"/>
                <a:ea typeface="微软雅黑"/>
                <a:cs typeface="Roboto Light" panose="02000000000000000000" pitchFamily="2" charset="0"/>
                <a:sym typeface="Calibri"/>
              </a:endParaRPr>
            </a:p>
          </p:txBody>
        </p:sp>
        <p:sp>
          <p:nvSpPr>
            <p:cNvPr id="19" name="Oval 13"/>
            <p:cNvSpPr/>
            <p:nvPr/>
          </p:nvSpPr>
          <p:spPr>
            <a:xfrm>
              <a:off x="1410393" y="1663470"/>
              <a:ext cx="235527" cy="23552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ln w="0"/>
                  <a:solidFill>
                    <a:schemeClr val="tx2">
                      <a:lumMod val="75000"/>
                      <a:lumOff val="25000"/>
                    </a:schemeClr>
                  </a:solidFill>
                  <a:effectLst>
                    <a:outerShdw blurRad="38100" dist="19050" dir="2700000" algn="tl" rotWithShape="0">
                      <a:schemeClr val="dk1">
                        <a:alpha val="40000"/>
                      </a:schemeClr>
                    </a:outerShdw>
                  </a:effectLst>
                  <a:latin typeface="Calibri"/>
                  <a:ea typeface="微软雅黑"/>
                  <a:cs typeface="Roboto Medium" panose="02000000000000000000" pitchFamily="2" charset="0"/>
                  <a:sym typeface="Calibri"/>
                </a:rPr>
                <a:t>3</a:t>
              </a:r>
            </a:p>
          </p:txBody>
        </p:sp>
      </p:grpSp>
      <p:grpSp>
        <p:nvGrpSpPr>
          <p:cNvPr id="20" name="Group 1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995919" y="4761711"/>
            <a:ext cx="2900026" cy="1216322"/>
            <a:chOff x="1313834" y="1663470"/>
            <a:chExt cx="2900026" cy="1216322"/>
          </a:xfrm>
        </p:grpSpPr>
        <p:sp>
          <p:nvSpPr>
            <p:cNvPr id="21" name="Title 3"/>
            <p:cNvSpPr txBox="1"/>
            <p:nvPr/>
          </p:nvSpPr>
          <p:spPr>
            <a:xfrm>
              <a:off x="1313834" y="2615750"/>
              <a:ext cx="2900026" cy="264042"/>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altLang="zh-CN" sz="900" b="0" dirty="0">
                  <a:solidFill>
                    <a:schemeClr val="tx2">
                      <a:lumMod val="75000"/>
                      <a:lumOff val="25000"/>
                    </a:schemeClr>
                  </a:solidFill>
                  <a:latin typeface="Calibri"/>
                  <a:ea typeface="微软雅黑"/>
                  <a:cs typeface="Roboto Light" panose="02000000000000000000" pitchFamily="2" charset="0"/>
                  <a:sym typeface="Calibri"/>
                </a:rPr>
                <a:t>Business Department Analysis</a:t>
              </a:r>
            </a:p>
          </p:txBody>
        </p:sp>
        <p:sp>
          <p:nvSpPr>
            <p:cNvPr id="22" name="Title 3"/>
            <p:cNvSpPr txBox="1"/>
            <p:nvPr/>
          </p:nvSpPr>
          <p:spPr>
            <a:xfrm>
              <a:off x="1645920" y="1673940"/>
              <a:ext cx="2567940" cy="246539"/>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80000"/>
                </a:lnSpc>
              </a:pPr>
              <a:r>
                <a:rPr lang="en-US" sz="1100" b="0" dirty="0">
                  <a:solidFill>
                    <a:schemeClr val="tx2">
                      <a:lumMod val="75000"/>
                      <a:lumOff val="25000"/>
                    </a:schemeClr>
                  </a:solidFill>
                  <a:latin typeface="Calibri"/>
                  <a:ea typeface="微软雅黑"/>
                  <a:cs typeface="Roboto Medium" panose="02000000000000000000" pitchFamily="2" charset="0"/>
                  <a:sym typeface="Calibri"/>
                </a:rPr>
                <a:t>Design</a:t>
              </a:r>
              <a:endParaRPr lang="en-US" sz="500" b="0" dirty="0">
                <a:solidFill>
                  <a:schemeClr val="tx2">
                    <a:lumMod val="75000"/>
                    <a:lumOff val="25000"/>
                  </a:schemeClr>
                </a:solidFill>
                <a:latin typeface="Calibri"/>
                <a:ea typeface="微软雅黑"/>
                <a:cs typeface="Roboto Medium" panose="02000000000000000000" pitchFamily="2" charset="0"/>
                <a:sym typeface="Calibri"/>
              </a:endParaRPr>
            </a:p>
          </p:txBody>
        </p:sp>
        <p:sp>
          <p:nvSpPr>
            <p:cNvPr id="23" name="Title 3"/>
            <p:cNvSpPr txBox="1"/>
            <p:nvPr/>
          </p:nvSpPr>
          <p:spPr>
            <a:xfrm>
              <a:off x="1313834" y="1995323"/>
              <a:ext cx="2798831" cy="545583"/>
            </a:xfrm>
            <a:prstGeom prst="rect">
              <a:avLst/>
            </a:prstGeom>
          </p:spPr>
          <p:txBody>
            <a:bodyPr/>
            <a:lstStyle>
              <a:lvl1pPr algn="l" defTabSz="914400" rtl="0" eaLnBrk="1" latinLnBrk="0" hangingPunct="1">
                <a:lnSpc>
                  <a:spcPct val="70000"/>
                </a:lnSpc>
                <a:spcBef>
                  <a:spcPct val="0"/>
                </a:spcBef>
                <a:buNone/>
                <a:defRPr sz="3600" b="1" i="0" kern="1200">
                  <a:solidFill>
                    <a:schemeClr val="tx1"/>
                  </a:solidFill>
                  <a:latin typeface="Roboto Thin" charset="0"/>
                  <a:ea typeface="Roboto Thin" charset="0"/>
                  <a:cs typeface="Roboto Thin" charset="0"/>
                </a:defRPr>
              </a:lvl1pPr>
            </a:lstStyle>
            <a:p>
              <a:pPr>
                <a:lnSpc>
                  <a:spcPct val="100000"/>
                </a:lnSpc>
              </a:pPr>
              <a:r>
                <a:rPr lang="en-US" altLang="zh-CN" sz="1200" b="0" i="1" dirty="0">
                  <a:solidFill>
                    <a:schemeClr val="tx2">
                      <a:lumMod val="75000"/>
                      <a:lumOff val="25000"/>
                    </a:schemeClr>
                  </a:solidFill>
                  <a:latin typeface="Calibri"/>
                  <a:ea typeface="微软雅黑"/>
                  <a:cs typeface="Roboto Light" panose="02000000000000000000" pitchFamily="2" charset="0"/>
                  <a:sym typeface="Calibri"/>
                </a:rPr>
                <a:t>Hey, hey, hey! It's Fat Company! Now I'm </a:t>
              </a:r>
              <a:r>
                <a:rPr lang="en-US" altLang="zh-CN" sz="1200" b="0" i="1" dirty="0" err="1">
                  <a:solidFill>
                    <a:schemeClr val="tx2">
                      <a:lumMod val="75000"/>
                      <a:lumOff val="25000"/>
                    </a:schemeClr>
                  </a:solidFill>
                  <a:latin typeface="Calibri"/>
                  <a:ea typeface="微软雅黑"/>
                  <a:cs typeface="Roboto Light" panose="02000000000000000000" pitchFamily="2" charset="0"/>
                  <a:sym typeface="Calibri"/>
                </a:rPr>
                <a:t>gonna</a:t>
              </a:r>
              <a:r>
                <a:rPr lang="en-US" altLang="zh-CN" sz="1200" b="0" i="1" dirty="0">
                  <a:solidFill>
                    <a:schemeClr val="tx2">
                      <a:lumMod val="75000"/>
                      <a:lumOff val="25000"/>
                    </a:schemeClr>
                  </a:solidFill>
                  <a:latin typeface="Calibri"/>
                  <a:ea typeface="微软雅黑"/>
                  <a:cs typeface="Roboto Light" panose="02000000000000000000" pitchFamily="2" charset="0"/>
                  <a:sym typeface="Calibri"/>
                </a:rPr>
                <a:t> sing a song for you</a:t>
              </a:r>
              <a:endParaRPr lang="en-US" sz="600" b="0" dirty="0">
                <a:solidFill>
                  <a:schemeClr val="tx2">
                    <a:lumMod val="75000"/>
                    <a:lumOff val="25000"/>
                  </a:schemeClr>
                </a:solidFill>
                <a:latin typeface="Calibri"/>
                <a:ea typeface="微软雅黑"/>
                <a:cs typeface="Roboto Light" panose="02000000000000000000" pitchFamily="2" charset="0"/>
                <a:sym typeface="Calibri"/>
              </a:endParaRPr>
            </a:p>
          </p:txBody>
        </p:sp>
        <p:sp>
          <p:nvSpPr>
            <p:cNvPr id="24" name="Oval 19"/>
            <p:cNvSpPr/>
            <p:nvPr/>
          </p:nvSpPr>
          <p:spPr>
            <a:xfrm>
              <a:off x="1410393" y="1663470"/>
              <a:ext cx="235527" cy="235527"/>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dirty="0">
                  <a:ln w="0"/>
                  <a:solidFill>
                    <a:schemeClr val="tx2">
                      <a:lumMod val="75000"/>
                      <a:lumOff val="25000"/>
                    </a:schemeClr>
                  </a:solidFill>
                  <a:effectLst>
                    <a:outerShdw blurRad="38100" dist="19050" dir="2700000" algn="tl" rotWithShape="0">
                      <a:schemeClr val="dk1">
                        <a:alpha val="40000"/>
                      </a:schemeClr>
                    </a:outerShdw>
                  </a:effectLst>
                  <a:latin typeface="Calibri"/>
                  <a:ea typeface="微软雅黑"/>
                  <a:cs typeface="Roboto Medium" panose="02000000000000000000" pitchFamily="2" charset="0"/>
                  <a:sym typeface="Calibri"/>
                </a:rPr>
                <a:t>4</a:t>
              </a:r>
            </a:p>
          </p:txBody>
        </p:sp>
      </p:grpSp>
      <p:cxnSp>
        <p:nvCxnSpPr>
          <p:cNvPr id="25" name="Straight Connector 2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CxnSpPr/>
          <p:nvPr/>
        </p:nvCxnSpPr>
        <p:spPr>
          <a:xfrm flipH="1" flipV="1">
            <a:off x="753025" y="4587208"/>
            <a:ext cx="5987312" cy="34728"/>
          </a:xfrm>
          <a:prstGeom prst="line">
            <a:avLst/>
          </a:prstGeom>
          <a:ln>
            <a:solidFill>
              <a:schemeClr val="tx2">
                <a:lumMod val="50000"/>
                <a:alpha val="20000"/>
              </a:schemeClr>
            </a:solidFill>
          </a:ln>
        </p:spPr>
        <p:style>
          <a:lnRef idx="1">
            <a:schemeClr val="accent1"/>
          </a:lnRef>
          <a:fillRef idx="0">
            <a:schemeClr val="accent1"/>
          </a:fillRef>
          <a:effectRef idx="0">
            <a:schemeClr val="accent1"/>
          </a:effectRef>
          <a:fontRef idx="minor">
            <a:schemeClr val="tx1"/>
          </a:fontRef>
        </p:style>
      </p:cxnSp>
      <p:sp>
        <p:nvSpPr>
          <p:cNvPr id="26" name="TextBox 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547734" y="786057"/>
            <a:ext cx="1178208" cy="169277"/>
          </a:xfrm>
          <a:prstGeom prst="rect">
            <a:avLst/>
          </a:prstGeom>
          <a:noFill/>
        </p:spPr>
        <p:txBody>
          <a:bodyPr wrap="none" lIns="0" tIns="0" rIns="0" bIns="0" rtlCol="0">
            <a:spAutoFit/>
          </a:bodyPr>
          <a:lstStyle/>
          <a:p>
            <a:pPr>
              <a:tabLst>
                <a:tab pos="1438275" algn="l"/>
              </a:tabLst>
            </a:pPr>
            <a:r>
              <a:rPr lang="en-US" altLang="zh-CN" sz="1100" i="1" dirty="0">
                <a:solidFill>
                  <a:schemeClr val="tx2">
                    <a:lumMod val="75000"/>
                    <a:lumOff val="25000"/>
                  </a:schemeClr>
                </a:solidFill>
                <a:latin typeface="Calibri"/>
                <a:ea typeface="微软雅黑"/>
                <a:cs typeface="Lato Medium" panose="020F0502020204030203" pitchFamily="34" charset="0"/>
                <a:sym typeface="Calibri"/>
              </a:rPr>
              <a:t>Company </a:t>
            </a:r>
            <a:r>
              <a:rPr lang="en-US" sz="1100" i="1" dirty="0">
                <a:solidFill>
                  <a:schemeClr val="tx2">
                    <a:lumMod val="75000"/>
                    <a:lumOff val="25000"/>
                  </a:schemeClr>
                </a:solidFill>
                <a:latin typeface="Calibri"/>
                <a:ea typeface="微软雅黑"/>
                <a:cs typeface="Lato Medium" panose="020F0502020204030203" pitchFamily="34" charset="0"/>
                <a:sym typeface="Calibri"/>
              </a:rPr>
              <a:t>TEMPLATE</a:t>
            </a:r>
          </a:p>
        </p:txBody>
      </p:sp>
      <p:pic>
        <p:nvPicPr>
          <p:cNvPr id="30" name="图片 2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rotWithShape="1">
          <a:blip r:embed="rId3" cstate="screen">
            <a:extLst>
              <a:ext uri="{28A0092B-C50C-407E-A947-70E740481C1C}">
                <a14:useLocalDpi xmlns:a14="http://schemas.microsoft.com/office/drawing/2010/main"/>
              </a:ext>
            </a:extLst>
          </a:blip>
          <a:srcRect/>
          <a:stretch>
            <a:fillRect/>
          </a:stretch>
        </p:blipFill>
        <p:spPr>
          <a:xfrm>
            <a:off x="6381223" y="434599"/>
            <a:ext cx="6965123" cy="6904981"/>
          </a:xfrm>
          <a:prstGeom prst="rect">
            <a:avLst/>
          </a:prstGeom>
        </p:spPr>
      </p:pic>
      <p:sp>
        <p:nvSpPr>
          <p:cNvPr id="36"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椭圆 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978130" y="-1433735"/>
            <a:ext cx="8398413" cy="8398413"/>
          </a:xfrm>
          <a:prstGeom prst="ellipse">
            <a:avLst/>
          </a:prstGeom>
          <a:solidFill>
            <a:schemeClr val="accent6">
              <a:alpha val="68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3" name="椭圆 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096000" y="-244966"/>
            <a:ext cx="6243710" cy="6243710"/>
          </a:xfrm>
          <a:prstGeom prst="ellipse">
            <a:avLst/>
          </a:prstGeom>
          <a:solidFill>
            <a:schemeClr val="accent5">
              <a:alpha val="79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6" name="Freeform: Shape 7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162675" y="1701569"/>
            <a:ext cx="6029325" cy="5156430"/>
          </a:xfrm>
          <a:custGeom>
            <a:avLst/>
            <a:gdLst>
              <a:gd name="connsiteX0" fmla="*/ 4889646 w 6863283"/>
              <a:gd name="connsiteY0" fmla="*/ 777 h 5869652"/>
              <a:gd name="connsiteX1" fmla="*/ 6329151 w 6863283"/>
              <a:gd name="connsiteY1" fmla="*/ 305501 h 5869652"/>
              <a:gd name="connsiteX2" fmla="*/ 6817152 w 6863283"/>
              <a:gd name="connsiteY2" fmla="*/ 304283 h 5869652"/>
              <a:gd name="connsiteX3" fmla="*/ 6863283 w 6863283"/>
              <a:gd name="connsiteY3" fmla="*/ 298138 h 5869652"/>
              <a:gd name="connsiteX4" fmla="*/ 6863283 w 6863283"/>
              <a:gd name="connsiteY4" fmla="*/ 5869652 h 5869652"/>
              <a:gd name="connsiteX5" fmla="*/ 0 w 6863283"/>
              <a:gd name="connsiteY5" fmla="*/ 5869652 h 5869652"/>
              <a:gd name="connsiteX6" fmla="*/ 42660 w 6863283"/>
              <a:gd name="connsiteY6" fmla="*/ 5527482 h 5869652"/>
              <a:gd name="connsiteX7" fmla="*/ 974673 w 6863283"/>
              <a:gd name="connsiteY7" fmla="*/ 3999970 h 5869652"/>
              <a:gd name="connsiteX8" fmla="*/ 2395119 w 6863283"/>
              <a:gd name="connsiteY8" fmla="*/ 3680205 h 5869652"/>
              <a:gd name="connsiteX9" fmla="*/ 3406686 w 6863283"/>
              <a:gd name="connsiteY9" fmla="*/ 3921742 h 5869652"/>
              <a:gd name="connsiteX10" fmla="*/ 4357869 w 6863283"/>
              <a:gd name="connsiteY10" fmla="*/ 3002493 h 5869652"/>
              <a:gd name="connsiteX11" fmla="*/ 4039278 w 6863283"/>
              <a:gd name="connsiteY11" fmla="*/ 2399168 h 5869652"/>
              <a:gd name="connsiteX12" fmla="*/ 3760975 w 6863283"/>
              <a:gd name="connsiteY12" fmla="*/ 1093551 h 5869652"/>
              <a:gd name="connsiteX13" fmla="*/ 4546844 w 6863283"/>
              <a:gd name="connsiteY13" fmla="*/ 65683 h 5869652"/>
              <a:gd name="connsiteX14" fmla="*/ 4889646 w 6863283"/>
              <a:gd name="connsiteY14" fmla="*/ 777 h 5869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863283" h="5869652">
                <a:moveTo>
                  <a:pt x="4889646" y="777"/>
                </a:moveTo>
                <a:cubicBezTo>
                  <a:pt x="5377612" y="-16445"/>
                  <a:pt x="5838736" y="258066"/>
                  <a:pt x="6329151" y="305501"/>
                </a:cubicBezTo>
                <a:cubicBezTo>
                  <a:pt x="6491688" y="321273"/>
                  <a:pt x="6654954" y="319464"/>
                  <a:pt x="6817152" y="304283"/>
                </a:cubicBezTo>
                <a:lnTo>
                  <a:pt x="6863283" y="298138"/>
                </a:lnTo>
                <a:lnTo>
                  <a:pt x="6863283" y="5869652"/>
                </a:lnTo>
                <a:lnTo>
                  <a:pt x="0" y="5869652"/>
                </a:lnTo>
                <a:lnTo>
                  <a:pt x="42660" y="5527482"/>
                </a:lnTo>
                <a:cubicBezTo>
                  <a:pt x="156123" y="4918769"/>
                  <a:pt x="456343" y="4347990"/>
                  <a:pt x="974673" y="3999970"/>
                </a:cubicBezTo>
                <a:cubicBezTo>
                  <a:pt x="1386944" y="3723235"/>
                  <a:pt x="1903920" y="3606750"/>
                  <a:pt x="2395119" y="3680205"/>
                </a:cubicBezTo>
                <a:cubicBezTo>
                  <a:pt x="2738368" y="3731516"/>
                  <a:pt x="3063683" y="3870617"/>
                  <a:pt x="3406686" y="3921742"/>
                </a:cubicBezTo>
                <a:cubicBezTo>
                  <a:pt x="4024378" y="4013948"/>
                  <a:pt x="4613912" y="3698968"/>
                  <a:pt x="4357869" y="3002493"/>
                </a:cubicBezTo>
                <a:cubicBezTo>
                  <a:pt x="4279320" y="2788717"/>
                  <a:pt x="4147957" y="2599171"/>
                  <a:pt x="4039278" y="2399168"/>
                </a:cubicBezTo>
                <a:cubicBezTo>
                  <a:pt x="3822897" y="2001225"/>
                  <a:pt x="3693142" y="1541357"/>
                  <a:pt x="3760975" y="1093551"/>
                </a:cubicBezTo>
                <a:cubicBezTo>
                  <a:pt x="3828808" y="645747"/>
                  <a:pt x="4120092" y="217816"/>
                  <a:pt x="4546844" y="65683"/>
                </a:cubicBezTo>
                <a:cubicBezTo>
                  <a:pt x="4663001" y="24261"/>
                  <a:pt x="4777038" y="4751"/>
                  <a:pt x="4889646" y="777"/>
                </a:cubicBezTo>
                <a:close/>
              </a:path>
            </a:pathLst>
          </a:custGeom>
          <a:gradFill>
            <a:gsLst>
              <a:gs pos="16000">
                <a:schemeClr val="accent6">
                  <a:alpha val="21000"/>
                </a:schemeClr>
              </a:gs>
              <a:gs pos="100000">
                <a:schemeClr val="bg1">
                  <a:alpha val="7000"/>
                </a:schemeClr>
              </a:gs>
            </a:gsLst>
            <a:path path="circle">
              <a:fillToRect t="100000" r="10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Calibri"/>
              <a:ea typeface="微软雅黑"/>
              <a:sym typeface="Calibri"/>
            </a:endParaRPr>
          </a:p>
        </p:txBody>
      </p:sp>
      <p:pic>
        <p:nvPicPr>
          <p:cNvPr id="8" name="图片 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2"/>
          <a:stretch>
            <a:fillRect/>
          </a:stretch>
        </p:blipFill>
        <p:spPr>
          <a:xfrm>
            <a:off x="5876117" y="-535748"/>
            <a:ext cx="6602437" cy="6602437"/>
          </a:xfrm>
          <a:prstGeom prst="rect">
            <a:avLst/>
          </a:prstGeom>
        </p:spPr>
      </p:pic>
      <p:sp>
        <p:nvSpPr>
          <p:cNvPr id="7" name="Freeform: Shape 7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6471138" y="3369258"/>
            <a:ext cx="5720861" cy="3488741"/>
          </a:xfrm>
          <a:custGeom>
            <a:avLst/>
            <a:gdLst>
              <a:gd name="connsiteX0" fmla="*/ 5227202 w 5227202"/>
              <a:gd name="connsiteY0" fmla="*/ 0 h 3187694"/>
              <a:gd name="connsiteX1" fmla="*/ 5227202 w 5227202"/>
              <a:gd name="connsiteY1" fmla="*/ 3187694 h 3187694"/>
              <a:gd name="connsiteX2" fmla="*/ 0 w 5227202"/>
              <a:gd name="connsiteY2" fmla="*/ 3187694 h 3187694"/>
              <a:gd name="connsiteX3" fmla="*/ 9238 w 5227202"/>
              <a:gd name="connsiteY3" fmla="*/ 3171079 h 3187694"/>
              <a:gd name="connsiteX4" fmla="*/ 999604 w 5227202"/>
              <a:gd name="connsiteY4" fmla="*/ 2385361 h 3187694"/>
              <a:gd name="connsiteX5" fmla="*/ 3508692 w 5227202"/>
              <a:gd name="connsiteY5" fmla="*/ 2372090 h 3187694"/>
              <a:gd name="connsiteX6" fmla="*/ 5003645 w 5227202"/>
              <a:gd name="connsiteY6" fmla="*/ 345940 h 3187694"/>
              <a:gd name="connsiteX7" fmla="*/ 5121138 w 5227202"/>
              <a:gd name="connsiteY7" fmla="*/ 151990 h 3187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27202" h="3187694">
                <a:moveTo>
                  <a:pt x="5227202" y="0"/>
                </a:moveTo>
                <a:lnTo>
                  <a:pt x="5227202" y="3187694"/>
                </a:lnTo>
                <a:lnTo>
                  <a:pt x="0" y="3187694"/>
                </a:lnTo>
                <a:lnTo>
                  <a:pt x="9238" y="3171079"/>
                </a:lnTo>
                <a:cubicBezTo>
                  <a:pt x="241446" y="2795115"/>
                  <a:pt x="584311" y="2511538"/>
                  <a:pt x="999604" y="2385361"/>
                </a:cubicBezTo>
                <a:cubicBezTo>
                  <a:pt x="1816327" y="2137318"/>
                  <a:pt x="2686002" y="2567896"/>
                  <a:pt x="3508692" y="2372090"/>
                </a:cubicBezTo>
                <a:cubicBezTo>
                  <a:pt x="4422630" y="2154677"/>
                  <a:pt x="4557634" y="1144080"/>
                  <a:pt x="5003645" y="345940"/>
                </a:cubicBezTo>
                <a:cubicBezTo>
                  <a:pt x="5040168" y="280609"/>
                  <a:pt x="5079542" y="215760"/>
                  <a:pt x="5121138" y="151990"/>
                </a:cubicBezTo>
                <a:close/>
              </a:path>
            </a:pathLst>
          </a:custGeom>
          <a:gradFill flip="none" rotWithShape="1">
            <a:gsLst>
              <a:gs pos="0">
                <a:schemeClr val="accent4">
                  <a:lumMod val="60000"/>
                  <a:lumOff val="40000"/>
                  <a:alpha val="0"/>
                </a:schemeClr>
              </a:gs>
              <a:gs pos="80000">
                <a:schemeClr val="accent4">
                  <a:alpha val="30000"/>
                </a:schemeClr>
              </a:gs>
            </a:gsLst>
            <a:path path="circle">
              <a:fillToRect l="100000" b="100000"/>
            </a:path>
            <a:tileRect t="-100000" r="-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latin typeface="Calibri"/>
              <a:ea typeface="微软雅黑"/>
              <a:sym typeface="Calibri"/>
            </a:endParaRPr>
          </a:p>
        </p:txBody>
      </p:sp>
      <p:sp>
        <p:nvSpPr>
          <p:cNvPr id="9" name="矩形: 圆角 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64942" y="154745"/>
            <a:ext cx="11662116" cy="534572"/>
          </a:xfrm>
          <a:prstGeom prst="roundRect">
            <a:avLst/>
          </a:prstGeom>
          <a:solidFill>
            <a:srgbClr val="F2E9DA">
              <a:alpha val="27059"/>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Calibri"/>
              <a:ea typeface="微软雅黑"/>
              <a:sym typeface="Calibri"/>
            </a:endParaRPr>
          </a:p>
        </p:txBody>
      </p:sp>
      <p:grpSp>
        <p:nvGrpSpPr>
          <p:cNvPr id="10" name="组合 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384598" y="333328"/>
            <a:ext cx="5876040" cy="261610"/>
            <a:chOff x="6027473" y="260675"/>
            <a:chExt cx="5876040" cy="261610"/>
          </a:xfrm>
        </p:grpSpPr>
        <p:sp>
          <p:nvSpPr>
            <p:cNvPr id="11" name="TextBox 22"/>
            <p:cNvSpPr txBox="1"/>
            <p:nvPr/>
          </p:nvSpPr>
          <p:spPr>
            <a:xfrm>
              <a:off x="6027473" y="260675"/>
              <a:ext cx="578028"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ALL</a:t>
              </a:r>
            </a:p>
          </p:txBody>
        </p:sp>
        <p:sp>
          <p:nvSpPr>
            <p:cNvPr id="12" name="TextBox 29"/>
            <p:cNvSpPr txBox="1"/>
            <p:nvPr/>
          </p:nvSpPr>
          <p:spPr>
            <a:xfrm>
              <a:off x="6670009" y="260675"/>
              <a:ext cx="135789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WEB DESIGN</a:t>
              </a:r>
            </a:p>
          </p:txBody>
        </p:sp>
        <p:sp>
          <p:nvSpPr>
            <p:cNvPr id="13" name="TextBox 35"/>
            <p:cNvSpPr txBox="1"/>
            <p:nvPr/>
          </p:nvSpPr>
          <p:spPr>
            <a:xfrm>
              <a:off x="8093049" y="260675"/>
              <a:ext cx="114135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GRAPHICS</a:t>
              </a:r>
            </a:p>
          </p:txBody>
        </p:sp>
        <p:sp>
          <p:nvSpPr>
            <p:cNvPr id="14" name="TextBox 37"/>
            <p:cNvSpPr txBox="1"/>
            <p:nvPr/>
          </p:nvSpPr>
          <p:spPr>
            <a:xfrm>
              <a:off x="9298318" y="260675"/>
              <a:ext cx="95843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BRANDS</a:t>
              </a:r>
            </a:p>
          </p:txBody>
        </p:sp>
        <p:sp>
          <p:nvSpPr>
            <p:cNvPr id="15" name="TextBox 39"/>
            <p:cNvSpPr txBox="1"/>
            <p:nvPr/>
          </p:nvSpPr>
          <p:spPr>
            <a:xfrm>
              <a:off x="10299559" y="260675"/>
              <a:ext cx="160395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USER INTERFACE</a:t>
              </a:r>
            </a:p>
          </p:txBody>
        </p:sp>
      </p:grpSp>
      <p:sp>
        <p:nvSpPr>
          <p:cNvPr id="16" name="TextBox 1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395903" y="3824671"/>
            <a:ext cx="4997466" cy="276422"/>
          </a:xfrm>
          <a:prstGeom prst="rect">
            <a:avLst/>
          </a:prstGeom>
          <a:ln w="12700">
            <a:miter lim="400000"/>
          </a:ln>
          <a:effectLst/>
        </p:spPr>
        <p:txBody>
          <a:bodyPr wrap="square" lIns="25400" tIns="25400" rIns="25400" bIns="25400">
            <a:spAutoFit/>
          </a:bodyPr>
          <a:lstStyle>
            <a:defPPr>
              <a:defRPr lang="zh-CN"/>
            </a:defPPr>
            <a:lvl1pPr algn="ctr">
              <a:lnSpc>
                <a:spcPct val="110000"/>
              </a:lnSpc>
              <a:defRPr sz="9600">
                <a:solidFill>
                  <a:schemeClr val="bg1"/>
                </a:solidFill>
                <a:effectLst>
                  <a:outerShdw blurRad="88900" dist="127000" dir="2700000" algn="tl">
                    <a:srgbClr val="000000">
                      <a:alpha val="35000"/>
                    </a:srgbClr>
                  </a:outerShdw>
                </a:effectLst>
                <a:latin typeface="Poppins SemiBold" panose="02000000000000000000"/>
                <a:ea typeface="Poppins SemiBold" panose="02000000000000000000"/>
                <a:cs typeface="Poppins SemiBold" panose="020000000000000000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a:r>
              <a:rPr lang="en-US" sz="1400" dirty="0">
                <a:solidFill>
                  <a:schemeClr val="tx1">
                    <a:lumMod val="75000"/>
                    <a:lumOff val="25000"/>
                  </a:schemeClr>
                </a:solidFill>
                <a:latin typeface="Calibri"/>
                <a:ea typeface="微软雅黑"/>
                <a:sym typeface="Calibri"/>
              </a:rPr>
              <a:t>Business Presentation  template.</a:t>
            </a:r>
          </a:p>
        </p:txBody>
      </p:sp>
      <p:sp>
        <p:nvSpPr>
          <p:cNvPr id="17" name="缺角矩形 1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18" name="缺角矩形 17"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691024" y="4387605"/>
            <a:ext cx="576775" cy="576776"/>
          </a:xfrm>
          <a:prstGeom prst="plaque">
            <a:avLst>
              <a:gd name="adj" fmla="val 50000"/>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19" name="缺角矩形 18"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772464" y="2372275"/>
            <a:ext cx="400093" cy="400094"/>
          </a:xfrm>
          <a:prstGeom prst="plaque">
            <a:avLst>
              <a:gd name="adj" fmla="val 50000"/>
            </a:avLst>
          </a:prstGeom>
          <a:solidFill>
            <a:srgbClr val="F7F797"/>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20" name="缺角矩形 19"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21" name="Rectangle: Rounded Corners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395903" y="4506419"/>
            <a:ext cx="1456010" cy="457962"/>
          </a:xfrm>
          <a:prstGeom prst="roundRect">
            <a:avLst>
              <a:gd name="adj" fmla="val 1424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alibri"/>
                <a:ea typeface="微软雅黑"/>
                <a:sym typeface="Calibri"/>
              </a:rPr>
              <a:t>Choose service</a:t>
            </a:r>
          </a:p>
        </p:txBody>
      </p:sp>
      <p:sp>
        <p:nvSpPr>
          <p:cNvPr id="22" name="Rectangle: Rounded Corners 4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281622" y="4506419"/>
            <a:ext cx="1531135" cy="457962"/>
          </a:xfrm>
          <a:prstGeom prst="roundRect">
            <a:avLst>
              <a:gd name="adj" fmla="val 14241"/>
            </a:avLst>
          </a:prstGeom>
          <a:solidFill>
            <a:schemeClr val="accent1">
              <a:alpha val="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1">
                    <a:lumMod val="75000"/>
                  </a:schemeClr>
                </a:solidFill>
                <a:latin typeface="Calibri"/>
                <a:ea typeface="微软雅黑"/>
                <a:sym typeface="Calibri"/>
              </a:rPr>
              <a:t>More info</a:t>
            </a:r>
          </a:p>
        </p:txBody>
      </p:sp>
      <p:sp>
        <p:nvSpPr>
          <p:cNvPr id="23" name="文本框 2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54579" y="2625794"/>
            <a:ext cx="6801728" cy="1323439"/>
          </a:xfrm>
          <a:prstGeom prst="rect">
            <a:avLst/>
          </a:prstGeom>
          <a:noFill/>
        </p:spPr>
        <p:txBody>
          <a:bodyPr wrap="square">
            <a:spAutoFit/>
          </a:bodyPr>
          <a:lstStyle/>
          <a:p>
            <a:r>
              <a:rPr lang="en-US" altLang="zh-CN" sz="8000" b="1" dirty="0">
                <a:solidFill>
                  <a:schemeClr val="tx1">
                    <a:lumMod val="75000"/>
                    <a:lumOff val="25000"/>
                  </a:schemeClr>
                </a:solidFill>
                <a:effectLst>
                  <a:outerShdw blurRad="88900" dist="127000" dir="2700000" algn="tl">
                    <a:srgbClr val="000000">
                      <a:alpha val="35000"/>
                    </a:srgbClr>
                  </a:outerShdw>
                </a:effectLst>
                <a:latin typeface="Calibri"/>
                <a:ea typeface="微软雅黑"/>
                <a:sym typeface="Calibri"/>
              </a:rPr>
              <a:t>THANK YOU</a:t>
            </a:r>
            <a:endParaRPr lang="zh-CN" altLang="en-US" sz="8000" b="1" dirty="0">
              <a:solidFill>
                <a:schemeClr val="tx1">
                  <a:lumMod val="75000"/>
                  <a:lumOff val="25000"/>
                </a:schemeClr>
              </a:solidFill>
              <a:latin typeface="Calibri"/>
              <a:ea typeface="微软雅黑"/>
              <a:sym typeface="Calibri"/>
            </a:endParaRPr>
          </a:p>
        </p:txBody>
      </p:sp>
      <p:sp>
        <p:nvSpPr>
          <p:cNvPr id="24" name="Freeform 6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a:spLocks noEditPoints="1"/>
          </p:cNvSpPr>
          <p:nvPr/>
        </p:nvSpPr>
        <p:spPr bwMode="auto">
          <a:xfrm>
            <a:off x="382441" y="6460951"/>
            <a:ext cx="137450" cy="135137"/>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tx1">
              <a:lumMod val="75000"/>
              <a:lumOff val="25000"/>
            </a:schemeClr>
          </a:solidFill>
          <a:ln>
            <a:noFill/>
          </a:ln>
        </p:spPr>
        <p:txBody>
          <a:bodyPr/>
          <a:lstStyle/>
          <a:p>
            <a:pPr algn="l"/>
            <a:endParaRPr lang="en-US" sz="1000" dirty="0">
              <a:solidFill>
                <a:schemeClr val="bg1"/>
              </a:solidFill>
              <a:latin typeface="Calibri"/>
              <a:ea typeface="微软雅黑"/>
              <a:sym typeface="Calibri"/>
            </a:endParaRPr>
          </a:p>
        </p:txBody>
      </p:sp>
      <p:sp>
        <p:nvSpPr>
          <p:cNvPr id="25" name="TextBox 4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57429" y="6401561"/>
            <a:ext cx="2529860" cy="246221"/>
          </a:xfrm>
          <a:prstGeom prst="rect">
            <a:avLst/>
          </a:prstGeom>
          <a:noFill/>
        </p:spPr>
        <p:txBody>
          <a:bodyPr wrap="none" rtlCol="0">
            <a:spAutoFit/>
          </a:bodyPr>
          <a:lstStyle/>
          <a:p>
            <a:pPr algn="l"/>
            <a:r>
              <a:rPr lang="en-US" sz="1000" spc="300" dirty="0">
                <a:solidFill>
                  <a:schemeClr val="tx1">
                    <a:lumMod val="75000"/>
                    <a:lumOff val="25000"/>
                  </a:schemeClr>
                </a:solidFill>
                <a:latin typeface="Calibri"/>
                <a:ea typeface="微软雅黑"/>
                <a:cs typeface="Segoe UI" panose="020B0502040204020203" pitchFamily="34" charset="0"/>
                <a:sym typeface="Calibri"/>
              </a:rPr>
              <a:t>https://www.freeppt7.com</a:t>
            </a:r>
            <a:endParaRPr lang="id-ID" sz="1000" spc="300" dirty="0">
              <a:solidFill>
                <a:schemeClr val="tx1">
                  <a:lumMod val="75000"/>
                  <a:lumOff val="25000"/>
                </a:schemeClr>
              </a:solidFill>
              <a:latin typeface="Calibri"/>
              <a:ea typeface="微软雅黑"/>
              <a:cs typeface="Segoe UI" panose="020B0502040204020203" pitchFamily="34" charset="0"/>
              <a:sym typeface="Calibri"/>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6E43E27-F1B0-02E8-1946-73FF63AFFE33}"/>
              </a:ext>
            </a:extLst>
          </p:cNvPr>
          <p:cNvGrpSpPr/>
          <p:nvPr/>
        </p:nvGrpSpPr>
        <p:grpSpPr>
          <a:xfrm>
            <a:off x="1659925" y="1576395"/>
            <a:ext cx="8872151" cy="3560070"/>
            <a:chOff x="1659925" y="1622451"/>
            <a:chExt cx="8872151" cy="3560070"/>
          </a:xfrm>
        </p:grpSpPr>
        <p:sp>
          <p:nvSpPr>
            <p:cNvPr id="4" name="TextBox 3">
              <a:extLst>
                <a:ext uri="{FF2B5EF4-FFF2-40B4-BE49-F238E27FC236}">
                  <a16:creationId xmlns:a16="http://schemas.microsoft.com/office/drawing/2014/main" id="{0D85D155-BED2-ACEB-3769-8DCFF91CDB3A}"/>
                </a:ext>
              </a:extLst>
            </p:cNvPr>
            <p:cNvSpPr txBox="1"/>
            <p:nvPr/>
          </p:nvSpPr>
          <p:spPr>
            <a:xfrm>
              <a:off x="1659925" y="1622451"/>
              <a:ext cx="8872151"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MS Reference Sans Serif" panose="020B0604030504040204" pitchFamily="34" charset="0"/>
                  <a:cs typeface="Arial" panose="020B0604020202020204" pitchFamily="34" charset="0"/>
                </a:rPr>
                <a:t>We respect your valuable time with </a:t>
              </a:r>
              <a:r>
                <a:rPr kumimoji="0" lang="en-US" altLang="zh-CN" b="0" i="0" u="none" strike="noStrike" kern="1200" cap="none" spc="0" normalizeH="0" baseline="0" noProof="0" dirty="0">
                  <a:ln>
                    <a:noFill/>
                  </a:ln>
                  <a:effectLst/>
                  <a:uLnTx/>
                  <a:uFillTx/>
                  <a:latin typeface="MS Reference Sans Serif" panose="020B0604030504040204" pitchFamily="34" charset="0"/>
                  <a:cs typeface="Arial" panose="020B0604020202020204" pitchFamily="34" charset="0"/>
                </a:rPr>
                <a:t>freeppt7</a:t>
              </a:r>
              <a:r>
                <a:rPr kumimoji="0" lang="en-US" b="0" i="0" u="none" strike="noStrike" kern="1200" cap="none" spc="0" normalizeH="0" baseline="0" noProof="0" dirty="0">
                  <a:ln>
                    <a:noFill/>
                  </a:ln>
                  <a:effectLst/>
                  <a:uLnTx/>
                  <a:uFillTx/>
                  <a:latin typeface="MS Reference Sans Serif" panose="020B0604030504040204" pitchFamily="34" charset="0"/>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MS Reference Sans Serif" panose="020B0604030504040204" pitchFamily="34" charset="0"/>
                  <a:cs typeface="Arial" panose="020B0604020202020204" pitchFamily="34" charset="0"/>
                </a:rPr>
                <a:t>If you have any questions, please reach us</a:t>
              </a:r>
            </a:p>
          </p:txBody>
        </p:sp>
        <p:grpSp>
          <p:nvGrpSpPr>
            <p:cNvPr id="5" name="Group 4">
              <a:extLst>
                <a:ext uri="{FF2B5EF4-FFF2-40B4-BE49-F238E27FC236}">
                  <a16:creationId xmlns:a16="http://schemas.microsoft.com/office/drawing/2014/main" id="{845DEF97-E3F3-DD1E-C544-B2026124D939}"/>
                </a:ext>
              </a:extLst>
            </p:cNvPr>
            <p:cNvGrpSpPr/>
            <p:nvPr/>
          </p:nvGrpSpPr>
          <p:grpSpPr>
            <a:xfrm>
              <a:off x="4744357" y="2961726"/>
              <a:ext cx="2878228" cy="444237"/>
              <a:chOff x="3649099" y="2657323"/>
              <a:chExt cx="4767227" cy="735794"/>
            </a:xfrm>
          </p:grpSpPr>
          <p:pic>
            <p:nvPicPr>
              <p:cNvPr id="8" name="Picture 4" descr="Facebook icon circle Logo PNG Vector (EPS) Free Download">
                <a:hlinkClick r:id="rId2"/>
                <a:extLst>
                  <a:ext uri="{FF2B5EF4-FFF2-40B4-BE49-F238E27FC236}">
                    <a16:creationId xmlns:a16="http://schemas.microsoft.com/office/drawing/2014/main" id="{602876B6-B1F8-A41A-F81C-A10A3E7EDB9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649099" y="2657323"/>
                <a:ext cx="730592" cy="730598"/>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Instagram Logo Icon Png #96303 - Free Icons Library">
                <a:hlinkClick r:id="rId4"/>
                <a:extLst>
                  <a:ext uri="{FF2B5EF4-FFF2-40B4-BE49-F238E27FC236}">
                    <a16:creationId xmlns:a16="http://schemas.microsoft.com/office/drawing/2014/main" id="{6041D0AE-538D-F0DF-C0B2-6B86D00F12F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00569" y="2657323"/>
                <a:ext cx="730592" cy="72119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Youtube PNG images free download">
                <a:hlinkClick r:id="rId6"/>
                <a:extLst>
                  <a:ext uri="{FF2B5EF4-FFF2-40B4-BE49-F238E27FC236}">
                    <a16:creationId xmlns:a16="http://schemas.microsoft.com/office/drawing/2014/main" id="{6D36331A-0349-69CC-F35A-C6E152B11FF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377912" y="2671927"/>
                <a:ext cx="1019843" cy="72119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Download Twitter Logo Png Transparent Background - Logo Twitter Png PNG  Image with No Background - PNGkey.com">
                <a:hlinkClick r:id="rId8"/>
                <a:extLst>
                  <a:ext uri="{FF2B5EF4-FFF2-40B4-BE49-F238E27FC236}">
                    <a16:creationId xmlns:a16="http://schemas.microsoft.com/office/drawing/2014/main" id="{DEFC2ED4-7A85-4B63-AA58-3742E8C4C6F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47455" y="2671928"/>
                <a:ext cx="715988" cy="71598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2" descr="LinkedIn Logo – Free PNG format download (2022)">
                <a:hlinkClick r:id="rId10"/>
                <a:extLst>
                  <a:ext uri="{FF2B5EF4-FFF2-40B4-BE49-F238E27FC236}">
                    <a16:creationId xmlns:a16="http://schemas.microsoft.com/office/drawing/2014/main" id="{6305F8BE-4A1B-D495-8890-5153C8455B0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122895" y="2663501"/>
                <a:ext cx="1293431" cy="727555"/>
              </a:xfrm>
              <a:prstGeom prst="rect">
                <a:avLst/>
              </a:prstGeom>
              <a:noFill/>
              <a:extLst>
                <a:ext uri="{909E8E84-426E-40DD-AFC4-6F175D3DCCD1}">
                  <a14:hiddenFill xmlns:a14="http://schemas.microsoft.com/office/drawing/2010/main">
                    <a:solidFill>
                      <a:srgbClr val="FFFFFF"/>
                    </a:solidFill>
                  </a14:hiddenFill>
                </a:ext>
              </a:extLst>
            </p:spPr>
          </p:pic>
        </p:grpSp>
        <p:sp>
          <p:nvSpPr>
            <p:cNvPr id="6" name="Rectangle 5">
              <a:extLst>
                <a:ext uri="{FF2B5EF4-FFF2-40B4-BE49-F238E27FC236}">
                  <a16:creationId xmlns:a16="http://schemas.microsoft.com/office/drawing/2014/main" id="{B923B166-2FB1-3537-5651-CEDA59A06144}"/>
                </a:ext>
              </a:extLst>
            </p:cNvPr>
            <p:cNvSpPr/>
            <p:nvPr/>
          </p:nvSpPr>
          <p:spPr>
            <a:xfrm>
              <a:off x="2668859" y="4659301"/>
              <a:ext cx="6854283"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MS Reference Sans Serif" panose="020B0604030504040204" pitchFamily="34" charset="0"/>
                  <a:cs typeface="Arial" panose="020B0604020202020204" pitchFamily="34" charset="0"/>
                </a:rPr>
                <a:t>CREDIT:</a:t>
              </a:r>
              <a:r>
                <a:rPr kumimoji="0" lang="en-US" sz="1400" b="0" i="0" u="none" strike="noStrike" kern="1200" cap="none" spc="0" normalizeH="0" baseline="0" noProof="0" dirty="0">
                  <a:ln>
                    <a:noFill/>
                  </a:ln>
                  <a:effectLst/>
                  <a:uLnTx/>
                  <a:uFillTx/>
                  <a:latin typeface="MS Reference Sans Serif" panose="020B0604030504040204" pitchFamily="34" charset="0"/>
                  <a:cs typeface="Arial" panose="020B0604020202020204" pitchFamily="34" charset="0"/>
                </a:rPr>
                <a:t> Freeppt7.com created this PowerPoint templat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effectLst/>
                  <a:uLnTx/>
                  <a:uFillTx/>
                  <a:latin typeface="MS Reference Sans Serif" panose="020B0604030504040204" pitchFamily="34" charset="0"/>
                  <a:cs typeface="Arial" panose="020B0604020202020204" pitchFamily="34" charset="0"/>
                </a:rPr>
                <a:t>Let this slide be kept for attribution.</a:t>
              </a:r>
            </a:p>
          </p:txBody>
        </p:sp>
        <p:sp>
          <p:nvSpPr>
            <p:cNvPr id="7" name="Rectangle 6">
              <a:extLst>
                <a:ext uri="{FF2B5EF4-FFF2-40B4-BE49-F238E27FC236}">
                  <a16:creationId xmlns:a16="http://schemas.microsoft.com/office/drawing/2014/main" id="{9CD92F99-F9BB-4F0B-8C48-7B2315895202}"/>
                </a:ext>
              </a:extLst>
            </p:cNvPr>
            <p:cNvSpPr/>
            <p:nvPr/>
          </p:nvSpPr>
          <p:spPr>
            <a:xfrm>
              <a:off x="2129246" y="4098910"/>
              <a:ext cx="8255725"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MS Reference Sans Serif" panose="020B0604030504040204" pitchFamily="34" charset="0"/>
                  <a:cs typeface="Arial" panose="020B0604020202020204" pitchFamily="34" charset="0"/>
                </a:rPr>
                <a:t>Do you have a design request, please visit our </a:t>
              </a:r>
              <a:r>
                <a:rPr kumimoji="0" lang="en-US" b="1" i="0" u="sng" strike="noStrike" kern="1200" cap="none" spc="0" normalizeH="0" baseline="0" noProof="0" dirty="0">
                  <a:ln>
                    <a:noFill/>
                  </a:ln>
                  <a:effectLst/>
                  <a:uLnTx/>
                  <a:uFillTx/>
                  <a:latin typeface="MS Reference Sans Serif" panose="020B0604030504040204" pitchFamily="34" charset="0"/>
                  <a:cs typeface="Arial" panose="020B0604020202020204" pitchFamily="34" charset="0"/>
                  <a:hlinkClick r:id="rId12">
                    <a:extLst>
                      <a:ext uri="{A12FA001-AC4F-418D-AE19-62706E023703}">
                        <ahyp:hlinkClr xmlns:ahyp="http://schemas.microsoft.com/office/drawing/2018/hyperlinkcolor" val="tx"/>
                      </a:ext>
                    </a:extLst>
                  </a:hlinkClick>
                </a:rPr>
                <a:t>redesign</a:t>
              </a:r>
              <a:r>
                <a:rPr kumimoji="0" lang="en-US" b="0" i="0" u="none" strike="noStrike" kern="1200" cap="none" spc="0" normalizeH="0" baseline="0" noProof="0" dirty="0">
                  <a:ln>
                    <a:noFill/>
                  </a:ln>
                  <a:effectLst/>
                  <a:uLnTx/>
                  <a:uFillTx/>
                  <a:latin typeface="MS Reference Sans Serif" panose="020B0604030504040204" pitchFamily="34" charset="0"/>
                  <a:cs typeface="Arial" panose="020B0604020202020204" pitchFamily="34" charset="0"/>
                </a:rPr>
                <a:t> page.</a:t>
              </a:r>
            </a:p>
          </p:txBody>
        </p:sp>
      </p:grpSp>
      <p:sp>
        <p:nvSpPr>
          <p:cNvPr id="13" name="TextBox 3">
            <a:hlinkClick r:id="rId13"/>
            <a:extLst>
              <a:ext uri="{FF2B5EF4-FFF2-40B4-BE49-F238E27FC236}">
                <a16:creationId xmlns:a16="http://schemas.microsoft.com/office/drawing/2014/main" id="{BD3C2092-DA25-3AA4-C25B-983997217607}"/>
              </a:ext>
            </a:extLst>
          </p:cNvPr>
          <p:cNvSpPr txBox="1"/>
          <p:nvPr/>
        </p:nvSpPr>
        <p:spPr>
          <a:xfrm>
            <a:off x="3672301" y="5669848"/>
            <a:ext cx="5169613" cy="461665"/>
          </a:xfrm>
          <a:prstGeom prst="rect">
            <a:avLst/>
          </a:prstGeom>
          <a:noFill/>
        </p:spPr>
        <p:txBody>
          <a:bodyPr wrap="square" rtlCol="0">
            <a:spAutoFit/>
          </a:bodyPr>
          <a:lstStyle/>
          <a:p>
            <a:pPr algn="ctr"/>
            <a:r>
              <a:rPr lang="en-US" altLang="zh-CN" sz="2400" dirty="0">
                <a:cs typeface="Arial" panose="020B0604020202020204" pitchFamily="34" charset="0"/>
                <a:hlinkClick r:id="rId14">
                  <a:extLst>
                    <a:ext uri="{A12FA001-AC4F-418D-AE19-62706E023703}">
                      <ahyp:hlinkClr xmlns:ahyp="http://schemas.microsoft.com/office/drawing/2018/hyperlinkcolor" val="tx"/>
                    </a:ext>
                  </a:extLst>
                </a:hlinkClick>
              </a:rPr>
              <a:t>www.freeppt7.com</a:t>
            </a:r>
            <a:endParaRPr lang="ko-KR" altLang="en-US" sz="2400" dirty="0">
              <a:cs typeface="Arial" panose="020B0604020202020204" pitchFamily="34" charset="0"/>
            </a:endParaRPr>
          </a:p>
        </p:txBody>
      </p:sp>
    </p:spTree>
    <p:extLst>
      <p:ext uri="{BB962C8B-B14F-4D97-AF65-F5344CB8AC3E}">
        <p14:creationId xmlns:p14="http://schemas.microsoft.com/office/powerpoint/2010/main" val="1552965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任意多边形: 形状 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5514535" y="0"/>
            <a:ext cx="6710290" cy="6879102"/>
          </a:xfrm>
          <a:custGeom>
            <a:avLst/>
            <a:gdLst>
              <a:gd name="connsiteX0" fmla="*/ 2700997 w 6710290"/>
              <a:gd name="connsiteY0" fmla="*/ 0 h 6879102"/>
              <a:gd name="connsiteX1" fmla="*/ 6710290 w 6710290"/>
              <a:gd name="connsiteY1" fmla="*/ 0 h 6879102"/>
              <a:gd name="connsiteX2" fmla="*/ 6682154 w 6710290"/>
              <a:gd name="connsiteY2" fmla="*/ 6879102 h 6879102"/>
              <a:gd name="connsiteX3" fmla="*/ 0 w 6710290"/>
              <a:gd name="connsiteY3" fmla="*/ 6865034 h 6879102"/>
              <a:gd name="connsiteX4" fmla="*/ 2700997 w 6710290"/>
              <a:gd name="connsiteY4" fmla="*/ 0 h 6879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0290" h="6879102">
                <a:moveTo>
                  <a:pt x="2700997" y="0"/>
                </a:moveTo>
                <a:lnTo>
                  <a:pt x="6710290" y="0"/>
                </a:lnTo>
                <a:lnTo>
                  <a:pt x="6682154" y="6879102"/>
                </a:lnTo>
                <a:lnTo>
                  <a:pt x="0" y="6865034"/>
                </a:lnTo>
                <a:lnTo>
                  <a:pt x="2700997" y="0"/>
                </a:ln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5" name="任意多边形: 形状 4"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5481710" y="0"/>
            <a:ext cx="6710290" cy="6879102"/>
          </a:xfrm>
          <a:custGeom>
            <a:avLst/>
            <a:gdLst>
              <a:gd name="connsiteX0" fmla="*/ 2700997 w 6710290"/>
              <a:gd name="connsiteY0" fmla="*/ 0 h 6879102"/>
              <a:gd name="connsiteX1" fmla="*/ 6710290 w 6710290"/>
              <a:gd name="connsiteY1" fmla="*/ 0 h 6879102"/>
              <a:gd name="connsiteX2" fmla="*/ 6682154 w 6710290"/>
              <a:gd name="connsiteY2" fmla="*/ 6879102 h 6879102"/>
              <a:gd name="connsiteX3" fmla="*/ 0 w 6710290"/>
              <a:gd name="connsiteY3" fmla="*/ 6865034 h 6879102"/>
              <a:gd name="connsiteX4" fmla="*/ 2700997 w 6710290"/>
              <a:gd name="connsiteY4" fmla="*/ 0 h 68791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10290" h="6879102">
                <a:moveTo>
                  <a:pt x="2700997" y="0"/>
                </a:moveTo>
                <a:lnTo>
                  <a:pt x="6710290" y="0"/>
                </a:lnTo>
                <a:lnTo>
                  <a:pt x="6682154" y="6879102"/>
                </a:lnTo>
                <a:lnTo>
                  <a:pt x="0" y="6865034"/>
                </a:lnTo>
                <a:lnTo>
                  <a:pt x="2700997" y="0"/>
                </a:lnTo>
                <a:close/>
              </a:path>
            </a:pathLst>
          </a:custGeom>
          <a:solidFill>
            <a:srgbClr val="FED3D9">
              <a:alpha val="7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pic>
        <p:nvPicPr>
          <p:cNvPr id="2" name="图片 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PicPr>
            <a:picLocks noChangeAspect="1"/>
          </p:cNvPicPr>
          <p:nvPr/>
        </p:nvPicPr>
        <p:blipFill>
          <a:blip r:embed="rId3"/>
          <a:stretch>
            <a:fillRect/>
          </a:stretch>
        </p:blipFill>
        <p:spPr>
          <a:xfrm>
            <a:off x="5267799" y="154745"/>
            <a:ext cx="6754501" cy="6754501"/>
          </a:xfrm>
          <a:prstGeom prst="rect">
            <a:avLst/>
          </a:prstGeom>
          <a:effectLst>
            <a:outerShdw blurRad="76200" dir="18900000" sy="23000" kx="-1200000" algn="bl" rotWithShape="0">
              <a:prstClr val="black">
                <a:alpha val="20000"/>
              </a:prstClr>
            </a:outerShdw>
          </a:effectLst>
        </p:spPr>
      </p:pic>
      <p:sp>
        <p:nvSpPr>
          <p:cNvPr id="6" name="矩形: 圆角 5"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64942" y="154745"/>
            <a:ext cx="11662116" cy="534572"/>
          </a:xfrm>
          <a:prstGeom prst="roundRect">
            <a:avLst/>
          </a:prstGeom>
          <a:solidFill>
            <a:srgbClr val="F2E9DA">
              <a:alpha val="27059"/>
            </a:srgb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zh-CN" altLang="en-US">
              <a:latin typeface="Calibri"/>
              <a:ea typeface="微软雅黑"/>
              <a:sym typeface="Calibri"/>
            </a:endParaRPr>
          </a:p>
        </p:txBody>
      </p:sp>
      <p:grpSp>
        <p:nvGrpSpPr>
          <p:cNvPr id="7" name="组合 6"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GrpSpPr/>
          <p:nvPr/>
        </p:nvGrpSpPr>
        <p:grpSpPr>
          <a:xfrm>
            <a:off x="384598" y="333328"/>
            <a:ext cx="5876040" cy="261610"/>
            <a:chOff x="6027473" y="260675"/>
            <a:chExt cx="5876040" cy="261610"/>
          </a:xfrm>
        </p:grpSpPr>
        <p:sp>
          <p:nvSpPr>
            <p:cNvPr id="8" name="TextBox 22"/>
            <p:cNvSpPr txBox="1"/>
            <p:nvPr/>
          </p:nvSpPr>
          <p:spPr>
            <a:xfrm>
              <a:off x="6027473" y="260675"/>
              <a:ext cx="578028"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ALL</a:t>
              </a:r>
            </a:p>
          </p:txBody>
        </p:sp>
        <p:sp>
          <p:nvSpPr>
            <p:cNvPr id="9" name="TextBox 29"/>
            <p:cNvSpPr txBox="1"/>
            <p:nvPr/>
          </p:nvSpPr>
          <p:spPr>
            <a:xfrm>
              <a:off x="6670009" y="260675"/>
              <a:ext cx="135789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WEB DESIGN</a:t>
              </a:r>
            </a:p>
          </p:txBody>
        </p:sp>
        <p:sp>
          <p:nvSpPr>
            <p:cNvPr id="10" name="TextBox 35"/>
            <p:cNvSpPr txBox="1"/>
            <p:nvPr/>
          </p:nvSpPr>
          <p:spPr>
            <a:xfrm>
              <a:off x="8093049" y="260675"/>
              <a:ext cx="1141352"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GRAPHICS</a:t>
              </a:r>
            </a:p>
          </p:txBody>
        </p:sp>
        <p:sp>
          <p:nvSpPr>
            <p:cNvPr id="11" name="TextBox 37"/>
            <p:cNvSpPr txBox="1"/>
            <p:nvPr/>
          </p:nvSpPr>
          <p:spPr>
            <a:xfrm>
              <a:off x="9298318" y="260675"/>
              <a:ext cx="95843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BRANDS</a:t>
              </a:r>
            </a:p>
          </p:txBody>
        </p:sp>
        <p:sp>
          <p:nvSpPr>
            <p:cNvPr id="12" name="TextBox 39"/>
            <p:cNvSpPr txBox="1"/>
            <p:nvPr/>
          </p:nvSpPr>
          <p:spPr>
            <a:xfrm>
              <a:off x="10299559" y="260675"/>
              <a:ext cx="1603954"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sz="1100" i="0" u="none" strike="noStrike" kern="1200" cap="none" spc="0" normalizeH="0" baseline="0" noProof="0" dirty="0">
                  <a:solidFill>
                    <a:schemeClr val="tx1">
                      <a:lumMod val="65000"/>
                      <a:lumOff val="35000"/>
                    </a:schemeClr>
                  </a:solidFill>
                  <a:effectLst/>
                  <a:uLnTx/>
                  <a:uFillTx/>
                  <a:latin typeface="Calibri"/>
                  <a:ea typeface="微软雅黑"/>
                  <a:sym typeface="Calibri"/>
                </a:rPr>
                <a:t>USER INTERFACE</a:t>
              </a:r>
            </a:p>
          </p:txBody>
        </p:sp>
      </p:grpSp>
      <p:sp>
        <p:nvSpPr>
          <p:cNvPr id="14" name="文本框 13"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254579" y="2625794"/>
            <a:ext cx="6801728" cy="1323439"/>
          </a:xfrm>
          <a:prstGeom prst="rect">
            <a:avLst/>
          </a:prstGeom>
          <a:noFill/>
        </p:spPr>
        <p:txBody>
          <a:bodyPr wrap="square">
            <a:spAutoFit/>
          </a:bodyPr>
          <a:lstStyle/>
          <a:p>
            <a:r>
              <a:rPr lang="en-US" altLang="zh-CN" sz="8000" b="1" dirty="0">
                <a:solidFill>
                  <a:schemeClr val="tx1">
                    <a:lumMod val="75000"/>
                    <a:lumOff val="25000"/>
                  </a:schemeClr>
                </a:solidFill>
                <a:effectLst>
                  <a:outerShdw blurRad="88900" dist="127000" dir="2700000" algn="tl">
                    <a:srgbClr val="000000">
                      <a:alpha val="35000"/>
                    </a:srgbClr>
                  </a:outerShdw>
                </a:effectLst>
                <a:latin typeface="Calibri"/>
                <a:ea typeface="微软雅黑"/>
                <a:sym typeface="Calibri"/>
              </a:rPr>
              <a:t>PART ONE</a:t>
            </a:r>
            <a:endParaRPr lang="zh-CN" altLang="en-US" sz="8000" b="1" dirty="0">
              <a:solidFill>
                <a:schemeClr val="tx1">
                  <a:lumMod val="75000"/>
                  <a:lumOff val="25000"/>
                </a:schemeClr>
              </a:solidFill>
              <a:latin typeface="Calibri"/>
              <a:ea typeface="微软雅黑"/>
              <a:sym typeface="Calibri"/>
            </a:endParaRPr>
          </a:p>
        </p:txBody>
      </p:sp>
      <p:sp>
        <p:nvSpPr>
          <p:cNvPr id="15" name="TextBox 1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395903" y="3824671"/>
            <a:ext cx="4997466" cy="276422"/>
          </a:xfrm>
          <a:prstGeom prst="rect">
            <a:avLst/>
          </a:prstGeom>
          <a:ln w="12700">
            <a:miter lim="400000"/>
          </a:ln>
          <a:effectLst/>
        </p:spPr>
        <p:txBody>
          <a:bodyPr wrap="square" lIns="25400" tIns="25400" rIns="25400" bIns="25400">
            <a:spAutoFit/>
          </a:bodyPr>
          <a:lstStyle>
            <a:defPPr>
              <a:defRPr lang="zh-CN"/>
            </a:defPPr>
            <a:lvl1pPr algn="ctr">
              <a:lnSpc>
                <a:spcPct val="110000"/>
              </a:lnSpc>
              <a:defRPr sz="9600">
                <a:solidFill>
                  <a:schemeClr val="bg1"/>
                </a:solidFill>
                <a:effectLst>
                  <a:outerShdw blurRad="88900" dist="127000" dir="2700000" algn="tl">
                    <a:srgbClr val="000000">
                      <a:alpha val="35000"/>
                    </a:srgbClr>
                  </a:outerShdw>
                </a:effectLst>
                <a:latin typeface="Poppins SemiBold" panose="02000000000000000000"/>
                <a:ea typeface="Poppins SemiBold" panose="02000000000000000000"/>
                <a:cs typeface="Poppins SemiBold" panose="0200000000000000000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dist"/>
            <a:r>
              <a:rPr lang="en-US" sz="1400" dirty="0">
                <a:solidFill>
                  <a:schemeClr val="tx1">
                    <a:lumMod val="75000"/>
                    <a:lumOff val="25000"/>
                  </a:schemeClr>
                </a:solidFill>
                <a:latin typeface="Calibri"/>
                <a:ea typeface="微软雅黑"/>
                <a:sym typeface="Calibri"/>
              </a:rPr>
              <a:t>Business Presentation  template.</a:t>
            </a:r>
          </a:p>
        </p:txBody>
      </p:sp>
      <p:sp>
        <p:nvSpPr>
          <p:cNvPr id="17" name="Freeform 6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a:spLocks noEditPoints="1"/>
          </p:cNvSpPr>
          <p:nvPr/>
        </p:nvSpPr>
        <p:spPr bwMode="auto">
          <a:xfrm>
            <a:off x="382441" y="6460951"/>
            <a:ext cx="137450" cy="135137"/>
          </a:xfrm>
          <a:custGeom>
            <a:avLst/>
            <a:gdLst>
              <a:gd name="T0" fmla="*/ 92739 w 55"/>
              <a:gd name="T1" fmla="*/ 185737 h 54"/>
              <a:gd name="T2" fmla="*/ 0 w 55"/>
              <a:gd name="T3" fmla="*/ 92869 h 54"/>
              <a:gd name="T4" fmla="*/ 92739 w 55"/>
              <a:gd name="T5" fmla="*/ 0 h 54"/>
              <a:gd name="T6" fmla="*/ 188913 w 55"/>
              <a:gd name="T7" fmla="*/ 92869 h 54"/>
              <a:gd name="T8" fmla="*/ 92739 w 55"/>
              <a:gd name="T9" fmla="*/ 185737 h 54"/>
              <a:gd name="T10" fmla="*/ 13739 w 55"/>
              <a:gd name="T11" fmla="*/ 92869 h 54"/>
              <a:gd name="T12" fmla="*/ 92739 w 55"/>
              <a:gd name="T13" fmla="*/ 171979 h 54"/>
              <a:gd name="T14" fmla="*/ 171739 w 55"/>
              <a:gd name="T15" fmla="*/ 92869 h 54"/>
              <a:gd name="T16" fmla="*/ 92739 w 55"/>
              <a:gd name="T17" fmla="*/ 13758 h 54"/>
              <a:gd name="T18" fmla="*/ 13739 w 55"/>
              <a:gd name="T19" fmla="*/ 92869 h 54"/>
              <a:gd name="T20" fmla="*/ 140826 w 55"/>
              <a:gd name="T21" fmla="*/ 127264 h 54"/>
              <a:gd name="T22" fmla="*/ 96174 w 55"/>
              <a:gd name="T23" fmla="*/ 151341 h 54"/>
              <a:gd name="T24" fmla="*/ 37783 w 55"/>
              <a:gd name="T25" fmla="*/ 92869 h 54"/>
              <a:gd name="T26" fmla="*/ 96174 w 55"/>
              <a:gd name="T27" fmla="*/ 34396 h 54"/>
              <a:gd name="T28" fmla="*/ 137391 w 55"/>
              <a:gd name="T29" fmla="*/ 58473 h 54"/>
              <a:gd name="T30" fmla="*/ 137391 w 55"/>
              <a:gd name="T31" fmla="*/ 72231 h 54"/>
              <a:gd name="T32" fmla="*/ 137391 w 55"/>
              <a:gd name="T33" fmla="*/ 72231 h 54"/>
              <a:gd name="T34" fmla="*/ 123652 w 55"/>
              <a:gd name="T35" fmla="*/ 72231 h 54"/>
              <a:gd name="T36" fmla="*/ 120217 w 55"/>
              <a:gd name="T37" fmla="*/ 72231 h 54"/>
              <a:gd name="T38" fmla="*/ 120217 w 55"/>
              <a:gd name="T39" fmla="*/ 61912 h 54"/>
              <a:gd name="T40" fmla="*/ 96174 w 55"/>
              <a:gd name="T41" fmla="*/ 51594 h 54"/>
              <a:gd name="T42" fmla="*/ 54957 w 55"/>
              <a:gd name="T43" fmla="*/ 92869 h 54"/>
              <a:gd name="T44" fmla="*/ 96174 w 55"/>
              <a:gd name="T45" fmla="*/ 134143 h 54"/>
              <a:gd name="T46" fmla="*/ 120217 w 55"/>
              <a:gd name="T47" fmla="*/ 123825 h 54"/>
              <a:gd name="T48" fmla="*/ 120217 w 55"/>
              <a:gd name="T49" fmla="*/ 113506 h 54"/>
              <a:gd name="T50" fmla="*/ 123652 w 55"/>
              <a:gd name="T51" fmla="*/ 113506 h 54"/>
              <a:gd name="T52" fmla="*/ 137391 w 55"/>
              <a:gd name="T53" fmla="*/ 113506 h 54"/>
              <a:gd name="T54" fmla="*/ 140826 w 55"/>
              <a:gd name="T55" fmla="*/ 113506 h 54"/>
              <a:gd name="T56" fmla="*/ 140826 w 55"/>
              <a:gd name="T57" fmla="*/ 127264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55" h="54">
                <a:moveTo>
                  <a:pt x="27" y="54"/>
                </a:moveTo>
                <a:cubicBezTo>
                  <a:pt x="12" y="54"/>
                  <a:pt x="0" y="42"/>
                  <a:pt x="0" y="27"/>
                </a:cubicBezTo>
                <a:cubicBezTo>
                  <a:pt x="0" y="12"/>
                  <a:pt x="12" y="0"/>
                  <a:pt x="27" y="0"/>
                </a:cubicBezTo>
                <a:cubicBezTo>
                  <a:pt x="42" y="0"/>
                  <a:pt x="55" y="12"/>
                  <a:pt x="55" y="27"/>
                </a:cubicBezTo>
                <a:cubicBezTo>
                  <a:pt x="55" y="42"/>
                  <a:pt x="42" y="54"/>
                  <a:pt x="27" y="54"/>
                </a:cubicBezTo>
                <a:close/>
                <a:moveTo>
                  <a:pt x="4" y="27"/>
                </a:moveTo>
                <a:cubicBezTo>
                  <a:pt x="4" y="40"/>
                  <a:pt x="15" y="50"/>
                  <a:pt x="27" y="50"/>
                </a:cubicBezTo>
                <a:cubicBezTo>
                  <a:pt x="40" y="50"/>
                  <a:pt x="50" y="40"/>
                  <a:pt x="50" y="27"/>
                </a:cubicBezTo>
                <a:cubicBezTo>
                  <a:pt x="50" y="14"/>
                  <a:pt x="40" y="4"/>
                  <a:pt x="27" y="4"/>
                </a:cubicBezTo>
                <a:cubicBezTo>
                  <a:pt x="15" y="4"/>
                  <a:pt x="4" y="14"/>
                  <a:pt x="4" y="27"/>
                </a:cubicBezTo>
                <a:close/>
                <a:moveTo>
                  <a:pt x="41" y="37"/>
                </a:moveTo>
                <a:cubicBezTo>
                  <a:pt x="41" y="42"/>
                  <a:pt x="33" y="44"/>
                  <a:pt x="28" y="44"/>
                </a:cubicBezTo>
                <a:cubicBezTo>
                  <a:pt x="18" y="44"/>
                  <a:pt x="11" y="37"/>
                  <a:pt x="11" y="27"/>
                </a:cubicBezTo>
                <a:cubicBezTo>
                  <a:pt x="11" y="17"/>
                  <a:pt x="18" y="10"/>
                  <a:pt x="28" y="10"/>
                </a:cubicBezTo>
                <a:cubicBezTo>
                  <a:pt x="31" y="10"/>
                  <a:pt x="40" y="11"/>
                  <a:pt x="40" y="17"/>
                </a:cubicBezTo>
                <a:cubicBezTo>
                  <a:pt x="40" y="21"/>
                  <a:pt x="40" y="21"/>
                  <a:pt x="40" y="21"/>
                </a:cubicBezTo>
                <a:cubicBezTo>
                  <a:pt x="40" y="21"/>
                  <a:pt x="40" y="21"/>
                  <a:pt x="40" y="21"/>
                </a:cubicBezTo>
                <a:cubicBezTo>
                  <a:pt x="36" y="21"/>
                  <a:pt x="36" y="21"/>
                  <a:pt x="36" y="21"/>
                </a:cubicBezTo>
                <a:cubicBezTo>
                  <a:pt x="35" y="21"/>
                  <a:pt x="35" y="21"/>
                  <a:pt x="35" y="21"/>
                </a:cubicBezTo>
                <a:cubicBezTo>
                  <a:pt x="35" y="18"/>
                  <a:pt x="35" y="18"/>
                  <a:pt x="35" y="18"/>
                </a:cubicBezTo>
                <a:cubicBezTo>
                  <a:pt x="35" y="16"/>
                  <a:pt x="31" y="15"/>
                  <a:pt x="28" y="15"/>
                </a:cubicBezTo>
                <a:cubicBezTo>
                  <a:pt x="21" y="15"/>
                  <a:pt x="16" y="20"/>
                  <a:pt x="16" y="27"/>
                </a:cubicBezTo>
                <a:cubicBezTo>
                  <a:pt x="16" y="34"/>
                  <a:pt x="21" y="39"/>
                  <a:pt x="28" y="39"/>
                </a:cubicBezTo>
                <a:cubicBezTo>
                  <a:pt x="31" y="39"/>
                  <a:pt x="35" y="38"/>
                  <a:pt x="35" y="36"/>
                </a:cubicBezTo>
                <a:cubicBezTo>
                  <a:pt x="35" y="33"/>
                  <a:pt x="35" y="33"/>
                  <a:pt x="35" y="33"/>
                </a:cubicBezTo>
                <a:cubicBezTo>
                  <a:pt x="35" y="33"/>
                  <a:pt x="36" y="33"/>
                  <a:pt x="36" y="33"/>
                </a:cubicBezTo>
                <a:cubicBezTo>
                  <a:pt x="40" y="33"/>
                  <a:pt x="40" y="33"/>
                  <a:pt x="40" y="33"/>
                </a:cubicBezTo>
                <a:cubicBezTo>
                  <a:pt x="41" y="33"/>
                  <a:pt x="41" y="33"/>
                  <a:pt x="41" y="33"/>
                </a:cubicBezTo>
                <a:lnTo>
                  <a:pt x="41" y="37"/>
                </a:lnTo>
                <a:close/>
              </a:path>
            </a:pathLst>
          </a:custGeom>
          <a:solidFill>
            <a:schemeClr val="tx1">
              <a:lumMod val="75000"/>
              <a:lumOff val="25000"/>
            </a:schemeClr>
          </a:solidFill>
          <a:ln>
            <a:noFill/>
          </a:ln>
        </p:spPr>
        <p:txBody>
          <a:bodyPr/>
          <a:lstStyle/>
          <a:p>
            <a:pPr algn="l"/>
            <a:endParaRPr lang="en-US" sz="1000" dirty="0">
              <a:solidFill>
                <a:schemeClr val="bg1"/>
              </a:solidFill>
              <a:latin typeface="Calibri"/>
              <a:ea typeface="微软雅黑"/>
              <a:sym typeface="Calibri"/>
            </a:endParaRPr>
          </a:p>
        </p:txBody>
      </p:sp>
      <p:sp>
        <p:nvSpPr>
          <p:cNvPr id="18" name="TextBox 4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txBox="1"/>
          <p:nvPr/>
        </p:nvSpPr>
        <p:spPr>
          <a:xfrm>
            <a:off x="557429" y="6401561"/>
            <a:ext cx="2529860" cy="246221"/>
          </a:xfrm>
          <a:prstGeom prst="rect">
            <a:avLst/>
          </a:prstGeom>
          <a:noFill/>
        </p:spPr>
        <p:txBody>
          <a:bodyPr wrap="none" rtlCol="0">
            <a:spAutoFit/>
          </a:bodyPr>
          <a:lstStyle/>
          <a:p>
            <a:pPr algn="l"/>
            <a:r>
              <a:rPr lang="en-US" sz="1000" spc="300" dirty="0">
                <a:solidFill>
                  <a:schemeClr val="tx1">
                    <a:lumMod val="75000"/>
                    <a:lumOff val="25000"/>
                  </a:schemeClr>
                </a:solidFill>
                <a:latin typeface="Calibri"/>
                <a:ea typeface="微软雅黑"/>
                <a:cs typeface="Segoe UI" panose="020B0502040204020203" pitchFamily="34" charset="0"/>
                <a:sym typeface="Calibri"/>
                <a:hlinkClick r:id="rId4"/>
              </a:rPr>
              <a:t>https://www.freeppt7.com</a:t>
            </a:r>
            <a:endParaRPr lang="id-ID" sz="1000" spc="300" dirty="0">
              <a:solidFill>
                <a:schemeClr val="tx1">
                  <a:lumMod val="75000"/>
                  <a:lumOff val="25000"/>
                </a:schemeClr>
              </a:solidFill>
              <a:latin typeface="Calibri"/>
              <a:ea typeface="微软雅黑"/>
              <a:cs typeface="Segoe UI" panose="020B0502040204020203" pitchFamily="34" charset="0"/>
              <a:sym typeface="Calibri"/>
            </a:endParaRPr>
          </a:p>
        </p:txBody>
      </p:sp>
      <p:sp>
        <p:nvSpPr>
          <p:cNvPr id="21" name="缺角矩形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1129305" y="1888194"/>
            <a:ext cx="576775" cy="576776"/>
          </a:xfrm>
          <a:prstGeom prst="plaque">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sym typeface="Calibri"/>
            </a:endParaRPr>
          </a:p>
        </p:txBody>
      </p:sp>
      <p:sp>
        <p:nvSpPr>
          <p:cNvPr id="22" name="缺角矩形 21"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691024" y="4387605"/>
            <a:ext cx="576775" cy="576776"/>
          </a:xfrm>
          <a:prstGeom prst="plaque">
            <a:avLst>
              <a:gd name="adj" fmla="val 50000"/>
            </a:avLst>
          </a:prstGeom>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zh-CN" altLang="en-US">
              <a:latin typeface="Calibri"/>
              <a:ea typeface="微软雅黑"/>
              <a:sym typeface="Calibri"/>
            </a:endParaRPr>
          </a:p>
        </p:txBody>
      </p:sp>
      <p:sp>
        <p:nvSpPr>
          <p:cNvPr id="23" name="缺角矩形 2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4772464" y="2372275"/>
            <a:ext cx="400093" cy="400094"/>
          </a:xfrm>
          <a:prstGeom prst="plaque">
            <a:avLst>
              <a:gd name="adj" fmla="val 50000"/>
            </a:avLst>
          </a:prstGeom>
          <a:solidFill>
            <a:srgbClr val="F7F797"/>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zh-CN" altLang="en-US">
              <a:latin typeface="Calibri"/>
              <a:ea typeface="微软雅黑"/>
              <a:sym typeface="Calibri"/>
            </a:endParaRPr>
          </a:p>
        </p:txBody>
      </p:sp>
      <p:sp>
        <p:nvSpPr>
          <p:cNvPr id="26" name="Rectangle: Rounded Corners 20"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395903" y="4506419"/>
            <a:ext cx="1456010" cy="457962"/>
          </a:xfrm>
          <a:prstGeom prst="roundRect">
            <a:avLst>
              <a:gd name="adj" fmla="val 14241"/>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a:latin typeface="Calibri"/>
                <a:ea typeface="微软雅黑"/>
                <a:sym typeface="Calibri"/>
              </a:rPr>
              <a:t>Choose service</a:t>
            </a:r>
          </a:p>
        </p:txBody>
      </p:sp>
      <p:sp>
        <p:nvSpPr>
          <p:cNvPr id="27" name="Rectangle: Rounded Corners 42" descr="e7d195523061f1c03a90ee8e42cb24248e56383cd534985688F9F494128731F165EE95AB4B0C0A38076AAEA07667B1565C446FC45FF01DFB0E885BCDBDF3A284F3DB14DA61DD97F0BAB2E6C668FB4931B99D40B68E3E163A32636258E622DCA61F43F29646847B337F50C35A893C70635C3DDF21F745ACDFA1E795D725ED0D02859279497801B8B8"/>
          <p:cNvSpPr/>
          <p:nvPr/>
        </p:nvSpPr>
        <p:spPr>
          <a:xfrm>
            <a:off x="2281622" y="4506419"/>
            <a:ext cx="1531135" cy="457962"/>
          </a:xfrm>
          <a:prstGeom prst="roundRect">
            <a:avLst>
              <a:gd name="adj" fmla="val 14241"/>
            </a:avLst>
          </a:prstGeom>
          <a:solidFill>
            <a:schemeClr val="accent1">
              <a:alpha val="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accent1">
                    <a:lumMod val="75000"/>
                  </a:schemeClr>
                </a:solidFill>
                <a:latin typeface="Calibri"/>
                <a:ea typeface="微软雅黑"/>
                <a:sym typeface="Calibri"/>
              </a:rPr>
              <a:t>More info</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Rounded Corners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38200" y="3429000"/>
            <a:ext cx="10439400" cy="2552700"/>
          </a:xfrm>
          <a:prstGeom prst="roundRect">
            <a:avLst>
              <a:gd name="adj" fmla="val 2985"/>
            </a:avLst>
          </a:prstGeom>
          <a:gradFill>
            <a:gsLst>
              <a:gs pos="0">
                <a:schemeClr val="accent3">
                  <a:alpha val="57000"/>
                </a:schemeClr>
              </a:gs>
              <a:gs pos="100000">
                <a:schemeClr val="accent4"/>
              </a:gs>
            </a:gsLst>
            <a:lin ang="8100000" scaled="1"/>
          </a:gradFill>
          <a:ln>
            <a:noFill/>
          </a:ln>
          <a:effectLst/>
          <a:scene3d>
            <a:camera prst="perspectiveFront" fov="2700000">
              <a:rot lat="600000" lon="600000" rev="0"/>
            </a:camera>
            <a:lightRig rig="threePt" dir="t"/>
          </a:scene3d>
          <a:sp3d z="1276350">
            <a:bevelT w="0" h="1276350"/>
            <a:bevelB w="0" h="12763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6" name="TextBox 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4809429" y="4035872"/>
            <a:ext cx="4697985" cy="369332"/>
          </a:xfrm>
          <a:prstGeom prst="rect">
            <a:avLst/>
          </a:prstGeom>
          <a:noFill/>
        </p:spPr>
        <p:txBody>
          <a:bodyPr wrap="square" rtlCol="0">
            <a:spAutoFit/>
          </a:bodyPr>
          <a:lstStyle/>
          <a:p>
            <a:r>
              <a:rPr lang="en-US" dirty="0">
                <a:latin typeface="Calibri"/>
                <a:ea typeface="微软雅黑"/>
                <a:cs typeface="+mn-ea"/>
                <a:sym typeface="Calibri"/>
              </a:rPr>
              <a:t>Modern Design Of PowerPoint</a:t>
            </a:r>
          </a:p>
        </p:txBody>
      </p:sp>
      <p:sp>
        <p:nvSpPr>
          <p:cNvPr id="7" name="Rectangle 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4809430" y="4480993"/>
            <a:ext cx="5853369" cy="923330"/>
          </a:xfrm>
          <a:prstGeom prst="rect">
            <a:avLst/>
          </a:prstGeom>
          <a:scene3d>
            <a:camera prst="perspectiveFront" fov="2700000">
              <a:rot lat="600000" lon="600000" rev="0"/>
            </a:camera>
            <a:lightRig rig="threePt" dir="t"/>
          </a:scene3d>
          <a:sp3d z="600164">
            <a:bevelT w="0" h="600164"/>
            <a:bevelB w="0" h="600164"/>
          </a:sp3d>
        </p:spPr>
        <p:txBody>
          <a:bodyPr wrap="square">
            <a:spAutoFit/>
          </a:bodyPr>
          <a:lstStyle/>
          <a:p>
            <a:pPr>
              <a:lnSpc>
                <a:spcPct val="150000"/>
              </a:lnSpc>
            </a:pPr>
            <a:r>
              <a:rPr lang="en-US" sz="1200" dirty="0">
                <a:latin typeface="Calibri"/>
                <a:ea typeface="微软雅黑"/>
                <a:cs typeface="+mn-ea"/>
                <a:sym typeface="Calibri"/>
              </a:rPr>
              <a:t>A wonderful serenity has taken possession of my entire soul, like these sweet mornings of spring which I enjoy with my whole heart. I am alone, and feel the charm of existence in this spot, which was created for the bliss of souls like mine. </a:t>
            </a:r>
          </a:p>
        </p:txBody>
      </p:sp>
      <p:sp>
        <p:nvSpPr>
          <p:cNvPr id="11" name="TextBox 1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5252425" y="1041096"/>
            <a:ext cx="5742166" cy="1323439"/>
          </a:xfrm>
          <a:prstGeom prst="rect">
            <a:avLst/>
          </a:prstGeom>
          <a:noFill/>
        </p:spPr>
        <p:txBody>
          <a:bodyPr wrap="square" rtlCol="0">
            <a:spAutoFit/>
          </a:bodyPr>
          <a:lstStyle/>
          <a:p>
            <a:r>
              <a:rPr lang="en-US" sz="4000" dirty="0">
                <a:solidFill>
                  <a:schemeClr val="tx1">
                    <a:lumMod val="85000"/>
                    <a:lumOff val="15000"/>
                  </a:schemeClr>
                </a:solidFill>
                <a:latin typeface="Calibri"/>
                <a:ea typeface="微软雅黑"/>
                <a:cs typeface="+mn-ea"/>
                <a:sym typeface="Calibri"/>
              </a:rPr>
              <a:t>Measure And Increase Your Reach</a:t>
            </a:r>
          </a:p>
        </p:txBody>
      </p:sp>
      <p:grpSp>
        <p:nvGrpSpPr>
          <p:cNvPr id="12" name="Group 1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5535434" y="2695372"/>
            <a:ext cx="1324112" cy="331302"/>
            <a:chOff x="4481444" y="4189765"/>
            <a:chExt cx="1324112" cy="331302"/>
          </a:xfrm>
        </p:grpSpPr>
        <p:sp>
          <p:nvSpPr>
            <p:cNvPr id="13" name="Rectangle: Rounded Corners 12"/>
            <p:cNvSpPr/>
            <p:nvPr/>
          </p:nvSpPr>
          <p:spPr>
            <a:xfrm>
              <a:off x="4481444" y="4189765"/>
              <a:ext cx="1324112" cy="331302"/>
            </a:xfrm>
            <a:prstGeom prst="roundRect">
              <a:avLst>
                <a:gd name="adj" fmla="val 50000"/>
              </a:avLst>
            </a:prstGeom>
            <a:gradFill>
              <a:gsLst>
                <a:gs pos="0">
                  <a:schemeClr val="accent5">
                    <a:lumMod val="60000"/>
                    <a:lumOff val="40000"/>
                  </a:schemeClr>
                </a:gs>
                <a:gs pos="100000">
                  <a:schemeClr val="accent3">
                    <a:lumMod val="60000"/>
                    <a:lumOff val="40000"/>
                  </a:schemeClr>
                </a:gs>
              </a:gsLst>
              <a:lin ang="8100000" scaled="1"/>
            </a:gradFill>
            <a:ln w="31750">
              <a:solidFill>
                <a:schemeClr val="accent3">
                  <a:alpha val="93000"/>
                </a:schemeClr>
              </a:solidFill>
            </a:ln>
            <a:effectLst>
              <a:outerShdw blurRad="228600" dist="152400" dir="5400000" sx="79000" sy="79000" algn="t" rotWithShape="0">
                <a:schemeClr val="accent3">
                  <a:alpha val="40000"/>
                </a:schemeClr>
              </a:outerShdw>
            </a:effectLst>
            <a:scene3d>
              <a:camera prst="perspectiveFront" fov="2700000">
                <a:rot lat="600000" lon="600000" rev="0"/>
              </a:camera>
              <a:lightRig rig="threePt" dir="t"/>
            </a:scene3d>
            <a:sp3d z="165651">
              <a:bevelT w="0" h="165651"/>
              <a:bevelB w="0" h="165651"/>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sz="1200" spc="300" dirty="0">
                <a:solidFill>
                  <a:schemeClr val="bg1"/>
                </a:solidFill>
                <a:latin typeface="Calibri"/>
                <a:ea typeface="微软雅黑"/>
                <a:cs typeface="+mn-ea"/>
                <a:sym typeface="Calibri"/>
              </a:endParaRPr>
            </a:p>
          </p:txBody>
        </p:sp>
        <p:sp>
          <p:nvSpPr>
            <p:cNvPr id="14" name="TextBox 13"/>
            <p:cNvSpPr txBox="1"/>
            <p:nvPr/>
          </p:nvSpPr>
          <p:spPr>
            <a:xfrm>
              <a:off x="4546298" y="4212451"/>
              <a:ext cx="1194404" cy="307777"/>
            </a:xfrm>
            <a:prstGeom prst="rect">
              <a:avLst/>
            </a:prstGeom>
            <a:noFill/>
            <a:scene3d>
              <a:camera prst="perspectiveFront" fov="2700000">
                <a:rot lat="600000" lon="600000" rev="0"/>
              </a:camera>
              <a:lightRig rig="threePt" dir="t"/>
            </a:scene3d>
            <a:sp3d z="153888">
              <a:bevelT w="0" h="153888"/>
              <a:bevelB w="0" h="153888"/>
            </a:sp3d>
          </p:spPr>
          <p:txBody>
            <a:bodyPr wrap="square" rtlCol="0">
              <a:spAutoFit/>
            </a:bodyPr>
            <a:lstStyle/>
            <a:p>
              <a:pPr algn="ctr"/>
              <a:r>
                <a:rPr lang="en-US" sz="1400" dirty="0">
                  <a:solidFill>
                    <a:schemeClr val="bg1"/>
                  </a:solidFill>
                  <a:latin typeface="Calibri"/>
                  <a:ea typeface="微软雅黑"/>
                  <a:cs typeface="+mn-ea"/>
                  <a:sym typeface="Calibri"/>
                </a:rPr>
                <a:t>Read More</a:t>
              </a:r>
              <a:endParaRPr lang="id-ID" sz="1400" dirty="0">
                <a:solidFill>
                  <a:schemeClr val="bg1"/>
                </a:solidFill>
                <a:latin typeface="Calibri"/>
                <a:ea typeface="微软雅黑"/>
                <a:cs typeface="+mn-ea"/>
                <a:sym typeface="Calibri"/>
              </a:endParaRPr>
            </a:p>
          </p:txBody>
        </p:sp>
      </p:grpSp>
      <p:sp>
        <p:nvSpPr>
          <p:cNvPr id="15" name="TextBox 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7097339" y="2724817"/>
            <a:ext cx="1495675" cy="230832"/>
          </a:xfrm>
          <a:prstGeom prst="rect">
            <a:avLst/>
          </a:prstGeom>
          <a:noFill/>
        </p:spPr>
        <p:txBody>
          <a:bodyPr wrap="square" rtlCol="0">
            <a:spAutoFit/>
          </a:bodyPr>
          <a:lstStyle/>
          <a:p>
            <a:r>
              <a:rPr lang="en-US" sz="900" dirty="0">
                <a:solidFill>
                  <a:schemeClr val="bg1">
                    <a:lumMod val="75000"/>
                  </a:schemeClr>
                </a:solidFill>
                <a:latin typeface="Calibri"/>
                <a:ea typeface="微软雅黑"/>
                <a:cs typeface="+mn-ea"/>
                <a:sym typeface="Calibri"/>
              </a:rPr>
              <a:t>Next   </a:t>
            </a:r>
            <a:endParaRPr lang="id-ID" sz="900" dirty="0">
              <a:solidFill>
                <a:schemeClr val="bg1">
                  <a:lumMod val="75000"/>
                </a:schemeClr>
              </a:solidFill>
              <a:latin typeface="Calibri"/>
              <a:ea typeface="微软雅黑"/>
              <a:cs typeface="+mn-ea"/>
              <a:sym typeface="Calibri"/>
            </a:endParaRPr>
          </a:p>
        </p:txBody>
      </p:sp>
      <p:grpSp>
        <p:nvGrpSpPr>
          <p:cNvPr id="18" name="Group 1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0664345" y="3908422"/>
            <a:ext cx="660492" cy="205272"/>
            <a:chOff x="6442216" y="3223727"/>
            <a:chExt cx="1082174" cy="336325"/>
          </a:xfrm>
          <a:solidFill>
            <a:schemeClr val="bg1"/>
          </a:solidFill>
        </p:grpSpPr>
        <p:sp>
          <p:nvSpPr>
            <p:cNvPr id="16" name="Freeform 45"/>
            <p:cNvSpPr/>
            <p:nvPr/>
          </p:nvSpPr>
          <p:spPr bwMode="auto">
            <a:xfrm>
              <a:off x="7334465" y="3223727"/>
              <a:ext cx="189925" cy="336325"/>
            </a:xfrm>
            <a:custGeom>
              <a:avLst/>
              <a:gdLst>
                <a:gd name="T0" fmla="*/ 6350 w 96"/>
                <a:gd name="T1" fmla="*/ 33734 h 168"/>
                <a:gd name="T2" fmla="*/ 106363 w 96"/>
                <a:gd name="T3" fmla="*/ 134938 h 168"/>
                <a:gd name="T4" fmla="*/ 4763 w 96"/>
                <a:gd name="T5" fmla="*/ 237747 h 168"/>
                <a:gd name="T6" fmla="*/ 4763 w 96"/>
                <a:gd name="T7" fmla="*/ 237747 h 168"/>
                <a:gd name="T8" fmla="*/ 0 w 96"/>
                <a:gd name="T9" fmla="*/ 250598 h 168"/>
                <a:gd name="T10" fmla="*/ 19050 w 96"/>
                <a:gd name="T11" fmla="*/ 269875 h 168"/>
                <a:gd name="T12" fmla="*/ 31750 w 96"/>
                <a:gd name="T13" fmla="*/ 265056 h 168"/>
                <a:gd name="T14" fmla="*/ 31750 w 96"/>
                <a:gd name="T15" fmla="*/ 265056 h 168"/>
                <a:gd name="T16" fmla="*/ 146050 w 96"/>
                <a:gd name="T17" fmla="*/ 149395 h 168"/>
                <a:gd name="T18" fmla="*/ 146050 w 96"/>
                <a:gd name="T19" fmla="*/ 149395 h 168"/>
                <a:gd name="T20" fmla="*/ 152400 w 96"/>
                <a:gd name="T21" fmla="*/ 134938 h 168"/>
                <a:gd name="T22" fmla="*/ 152400 w 96"/>
                <a:gd name="T23" fmla="*/ 134938 h 168"/>
                <a:gd name="T24" fmla="*/ 152400 w 96"/>
                <a:gd name="T25" fmla="*/ 134938 h 168"/>
                <a:gd name="T26" fmla="*/ 146050 w 96"/>
                <a:gd name="T27" fmla="*/ 120480 h 168"/>
                <a:gd name="T28" fmla="*/ 146050 w 96"/>
                <a:gd name="T29" fmla="*/ 120480 h 168"/>
                <a:gd name="T30" fmla="*/ 31750 w 96"/>
                <a:gd name="T31" fmla="*/ 4819 h 168"/>
                <a:gd name="T32" fmla="*/ 31750 w 96"/>
                <a:gd name="T33" fmla="*/ 4819 h 168"/>
                <a:gd name="T34" fmla="*/ 19050 w 96"/>
                <a:gd name="T35" fmla="*/ 0 h 168"/>
                <a:gd name="T36" fmla="*/ 0 w 96"/>
                <a:gd name="T37" fmla="*/ 19277 h 168"/>
                <a:gd name="T38" fmla="*/ 6350 w 96"/>
                <a:gd name="T39" fmla="*/ 33734 h 1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6" h="168">
                  <a:moveTo>
                    <a:pt x="4" y="21"/>
                  </a:moveTo>
                  <a:cubicBezTo>
                    <a:pt x="67" y="84"/>
                    <a:pt x="67" y="84"/>
                    <a:pt x="67" y="84"/>
                  </a:cubicBezTo>
                  <a:cubicBezTo>
                    <a:pt x="3" y="148"/>
                    <a:pt x="3" y="148"/>
                    <a:pt x="3" y="148"/>
                  </a:cubicBezTo>
                  <a:cubicBezTo>
                    <a:pt x="3" y="148"/>
                    <a:pt x="3" y="148"/>
                    <a:pt x="3" y="148"/>
                  </a:cubicBezTo>
                  <a:cubicBezTo>
                    <a:pt x="1" y="150"/>
                    <a:pt x="0" y="153"/>
                    <a:pt x="0" y="156"/>
                  </a:cubicBezTo>
                  <a:cubicBezTo>
                    <a:pt x="0" y="163"/>
                    <a:pt x="5" y="168"/>
                    <a:pt x="12" y="168"/>
                  </a:cubicBezTo>
                  <a:cubicBezTo>
                    <a:pt x="15" y="168"/>
                    <a:pt x="18" y="167"/>
                    <a:pt x="20" y="165"/>
                  </a:cubicBezTo>
                  <a:cubicBezTo>
                    <a:pt x="20" y="165"/>
                    <a:pt x="20" y="165"/>
                    <a:pt x="20" y="165"/>
                  </a:cubicBezTo>
                  <a:cubicBezTo>
                    <a:pt x="92" y="93"/>
                    <a:pt x="92" y="93"/>
                    <a:pt x="92" y="93"/>
                  </a:cubicBezTo>
                  <a:cubicBezTo>
                    <a:pt x="92" y="93"/>
                    <a:pt x="92" y="93"/>
                    <a:pt x="92" y="93"/>
                  </a:cubicBezTo>
                  <a:cubicBezTo>
                    <a:pt x="95" y="90"/>
                    <a:pt x="96" y="87"/>
                    <a:pt x="96" y="84"/>
                  </a:cubicBezTo>
                  <a:cubicBezTo>
                    <a:pt x="96" y="84"/>
                    <a:pt x="96" y="84"/>
                    <a:pt x="96" y="84"/>
                  </a:cubicBezTo>
                  <a:cubicBezTo>
                    <a:pt x="96" y="84"/>
                    <a:pt x="96" y="84"/>
                    <a:pt x="96" y="84"/>
                  </a:cubicBezTo>
                  <a:cubicBezTo>
                    <a:pt x="96" y="81"/>
                    <a:pt x="95" y="77"/>
                    <a:pt x="92" y="75"/>
                  </a:cubicBezTo>
                  <a:cubicBezTo>
                    <a:pt x="92" y="75"/>
                    <a:pt x="92" y="75"/>
                    <a:pt x="92" y="75"/>
                  </a:cubicBezTo>
                  <a:cubicBezTo>
                    <a:pt x="20" y="3"/>
                    <a:pt x="20" y="3"/>
                    <a:pt x="20" y="3"/>
                  </a:cubicBezTo>
                  <a:cubicBezTo>
                    <a:pt x="20" y="3"/>
                    <a:pt x="20" y="3"/>
                    <a:pt x="20" y="3"/>
                  </a:cubicBezTo>
                  <a:cubicBezTo>
                    <a:pt x="18" y="1"/>
                    <a:pt x="15" y="0"/>
                    <a:pt x="12" y="0"/>
                  </a:cubicBezTo>
                  <a:cubicBezTo>
                    <a:pt x="5" y="0"/>
                    <a:pt x="0" y="5"/>
                    <a:pt x="0" y="12"/>
                  </a:cubicBezTo>
                  <a:cubicBezTo>
                    <a:pt x="0" y="16"/>
                    <a:pt x="2" y="19"/>
                    <a:pt x="4" y="21"/>
                  </a:cubicBezTo>
                </a:path>
              </a:pathLst>
            </a:custGeom>
            <a:grpFill/>
            <a:ln>
              <a:noFill/>
            </a:ln>
            <a:scene3d>
              <a:camera prst="perspectiveFront" fov="2700000">
                <a:rot lat="600000" lon="600000" rev="0"/>
              </a:camera>
              <a:lightRig rig="threePt" dir="t"/>
            </a:scene3d>
            <a:sp3d z="57959">
              <a:bevelT w="0" h="57959"/>
              <a:bevelB w="0" h="57959"/>
            </a:sp3d>
          </p:spPr>
          <p:txBody>
            <a:bodyPr/>
            <a:lstStyle/>
            <a:p>
              <a:endParaRPr lang="en-US" dirty="0">
                <a:latin typeface="Calibri"/>
                <a:ea typeface="微软雅黑"/>
                <a:cs typeface="+mn-ea"/>
                <a:sym typeface="Calibri"/>
              </a:endParaRPr>
            </a:p>
          </p:txBody>
        </p:sp>
        <p:sp>
          <p:nvSpPr>
            <p:cNvPr id="17" name="Freeform 46"/>
            <p:cNvSpPr/>
            <p:nvPr/>
          </p:nvSpPr>
          <p:spPr bwMode="auto">
            <a:xfrm>
              <a:off x="6442216" y="3223727"/>
              <a:ext cx="191902" cy="336325"/>
            </a:xfrm>
            <a:custGeom>
              <a:avLst/>
              <a:gdLst>
                <a:gd name="T0" fmla="*/ 147571 w 96"/>
                <a:gd name="T1" fmla="*/ 33734 h 168"/>
                <a:gd name="T2" fmla="*/ 46517 w 96"/>
                <a:gd name="T3" fmla="*/ 134938 h 168"/>
                <a:gd name="T4" fmla="*/ 149175 w 96"/>
                <a:gd name="T5" fmla="*/ 237747 h 168"/>
                <a:gd name="T6" fmla="*/ 149175 w 96"/>
                <a:gd name="T7" fmla="*/ 237747 h 168"/>
                <a:gd name="T8" fmla="*/ 153987 w 96"/>
                <a:gd name="T9" fmla="*/ 250598 h 168"/>
                <a:gd name="T10" fmla="*/ 134739 w 96"/>
                <a:gd name="T11" fmla="*/ 269875 h 168"/>
                <a:gd name="T12" fmla="*/ 121906 w 96"/>
                <a:gd name="T13" fmla="*/ 265056 h 168"/>
                <a:gd name="T14" fmla="*/ 121906 w 96"/>
                <a:gd name="T15" fmla="*/ 265056 h 168"/>
                <a:gd name="T16" fmla="*/ 6416 w 96"/>
                <a:gd name="T17" fmla="*/ 149395 h 168"/>
                <a:gd name="T18" fmla="*/ 6416 w 96"/>
                <a:gd name="T19" fmla="*/ 149395 h 168"/>
                <a:gd name="T20" fmla="*/ 0 w 96"/>
                <a:gd name="T21" fmla="*/ 134938 h 168"/>
                <a:gd name="T22" fmla="*/ 0 w 96"/>
                <a:gd name="T23" fmla="*/ 134938 h 168"/>
                <a:gd name="T24" fmla="*/ 0 w 96"/>
                <a:gd name="T25" fmla="*/ 134938 h 168"/>
                <a:gd name="T26" fmla="*/ 6416 w 96"/>
                <a:gd name="T27" fmla="*/ 120480 h 168"/>
                <a:gd name="T28" fmla="*/ 6416 w 96"/>
                <a:gd name="T29" fmla="*/ 120480 h 168"/>
                <a:gd name="T30" fmla="*/ 121906 w 96"/>
                <a:gd name="T31" fmla="*/ 4819 h 168"/>
                <a:gd name="T32" fmla="*/ 121906 w 96"/>
                <a:gd name="T33" fmla="*/ 4819 h 168"/>
                <a:gd name="T34" fmla="*/ 134739 w 96"/>
                <a:gd name="T35" fmla="*/ 0 h 168"/>
                <a:gd name="T36" fmla="*/ 153987 w 96"/>
                <a:gd name="T37" fmla="*/ 19277 h 168"/>
                <a:gd name="T38" fmla="*/ 147571 w 96"/>
                <a:gd name="T39" fmla="*/ 33734 h 1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96" h="168">
                  <a:moveTo>
                    <a:pt x="92" y="21"/>
                  </a:moveTo>
                  <a:cubicBezTo>
                    <a:pt x="29" y="84"/>
                    <a:pt x="29" y="84"/>
                    <a:pt x="29" y="84"/>
                  </a:cubicBezTo>
                  <a:cubicBezTo>
                    <a:pt x="93" y="148"/>
                    <a:pt x="93" y="148"/>
                    <a:pt x="93" y="148"/>
                  </a:cubicBezTo>
                  <a:cubicBezTo>
                    <a:pt x="93" y="148"/>
                    <a:pt x="93" y="148"/>
                    <a:pt x="93" y="148"/>
                  </a:cubicBezTo>
                  <a:cubicBezTo>
                    <a:pt x="95" y="150"/>
                    <a:pt x="96" y="153"/>
                    <a:pt x="96" y="156"/>
                  </a:cubicBezTo>
                  <a:cubicBezTo>
                    <a:pt x="96" y="163"/>
                    <a:pt x="91" y="168"/>
                    <a:pt x="84" y="168"/>
                  </a:cubicBezTo>
                  <a:cubicBezTo>
                    <a:pt x="81" y="168"/>
                    <a:pt x="78" y="167"/>
                    <a:pt x="76" y="165"/>
                  </a:cubicBezTo>
                  <a:cubicBezTo>
                    <a:pt x="76" y="165"/>
                    <a:pt x="76" y="165"/>
                    <a:pt x="76" y="165"/>
                  </a:cubicBezTo>
                  <a:cubicBezTo>
                    <a:pt x="4" y="93"/>
                    <a:pt x="4" y="93"/>
                    <a:pt x="4" y="93"/>
                  </a:cubicBezTo>
                  <a:cubicBezTo>
                    <a:pt x="4" y="93"/>
                    <a:pt x="4" y="93"/>
                    <a:pt x="4" y="93"/>
                  </a:cubicBezTo>
                  <a:cubicBezTo>
                    <a:pt x="1" y="90"/>
                    <a:pt x="0" y="87"/>
                    <a:pt x="0" y="84"/>
                  </a:cubicBezTo>
                  <a:cubicBezTo>
                    <a:pt x="0" y="84"/>
                    <a:pt x="0" y="84"/>
                    <a:pt x="0" y="84"/>
                  </a:cubicBezTo>
                  <a:cubicBezTo>
                    <a:pt x="0" y="84"/>
                    <a:pt x="0" y="84"/>
                    <a:pt x="0" y="84"/>
                  </a:cubicBezTo>
                  <a:cubicBezTo>
                    <a:pt x="0" y="81"/>
                    <a:pt x="1" y="77"/>
                    <a:pt x="4" y="75"/>
                  </a:cubicBezTo>
                  <a:cubicBezTo>
                    <a:pt x="4" y="75"/>
                    <a:pt x="4" y="75"/>
                    <a:pt x="4" y="75"/>
                  </a:cubicBezTo>
                  <a:cubicBezTo>
                    <a:pt x="76" y="3"/>
                    <a:pt x="76" y="3"/>
                    <a:pt x="76" y="3"/>
                  </a:cubicBezTo>
                  <a:cubicBezTo>
                    <a:pt x="76" y="3"/>
                    <a:pt x="76" y="3"/>
                    <a:pt x="76" y="3"/>
                  </a:cubicBezTo>
                  <a:cubicBezTo>
                    <a:pt x="78" y="1"/>
                    <a:pt x="81" y="0"/>
                    <a:pt x="84" y="0"/>
                  </a:cubicBezTo>
                  <a:cubicBezTo>
                    <a:pt x="91" y="0"/>
                    <a:pt x="96" y="5"/>
                    <a:pt x="96" y="12"/>
                  </a:cubicBezTo>
                  <a:cubicBezTo>
                    <a:pt x="96" y="16"/>
                    <a:pt x="94" y="19"/>
                    <a:pt x="92" y="21"/>
                  </a:cubicBezTo>
                </a:path>
              </a:pathLst>
            </a:custGeom>
            <a:solidFill>
              <a:schemeClr val="bg1">
                <a:alpha val="40000"/>
              </a:schemeClr>
            </a:solidFill>
            <a:ln>
              <a:noFill/>
            </a:ln>
            <a:scene3d>
              <a:camera prst="perspectiveFront" fov="2700000">
                <a:rot lat="600000" lon="600000" rev="0"/>
              </a:camera>
              <a:lightRig rig="threePt" dir="t"/>
            </a:scene3d>
            <a:sp3d z="58562">
              <a:bevelT w="0" h="58562"/>
              <a:bevelB w="0" h="58562"/>
            </a:sp3d>
          </p:spPr>
          <p:txBody>
            <a:bodyPr/>
            <a:lstStyle/>
            <a:p>
              <a:endParaRPr lang="en-US" dirty="0">
                <a:solidFill>
                  <a:schemeClr val="tx1">
                    <a:alpha val="10000"/>
                  </a:schemeClr>
                </a:solidFill>
                <a:latin typeface="Calibri"/>
                <a:ea typeface="微软雅黑"/>
                <a:cs typeface="+mn-ea"/>
                <a:sym typeface="Calibri"/>
              </a:endParaRPr>
            </a:p>
          </p:txBody>
        </p:sp>
      </p:grpSp>
      <p:pic>
        <p:nvPicPr>
          <p:cNvPr id="3" name="图片占位符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l="7092" r="7092"/>
          <a:stretch>
            <a:fillRect/>
          </a:stretch>
        </p:blipFill>
        <p:spPr/>
      </p:pic>
      <p:pic>
        <p:nvPicPr>
          <p:cNvPr id="10" name="图片 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75347" y="-592585"/>
            <a:ext cx="2032104" cy="2133710"/>
          </a:xfrm>
          <a:prstGeom prst="rect">
            <a:avLst/>
          </a:prstGeom>
        </p:spPr>
      </p:pic>
      <p:pic>
        <p:nvPicPr>
          <p:cNvPr id="19" name="图片 1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73368" y="5071041"/>
            <a:ext cx="1036063" cy="1036063"/>
          </a:xfrm>
          <a:prstGeom prst="rect">
            <a:avLst/>
          </a:prstGeom>
        </p:spPr>
      </p:pic>
      <p:sp>
        <p:nvSpPr>
          <p:cNvPr id="20"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矩形 5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9237785" y="0"/>
            <a:ext cx="2954215" cy="3460083"/>
          </a:xfrm>
          <a:prstGeom prst="rect">
            <a:avLst/>
          </a:prstGeom>
          <a:solidFill>
            <a:srgbClr val="573C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cs typeface="+mn-ea"/>
              <a:sym typeface="Calibri"/>
            </a:endParaRPr>
          </a:p>
        </p:txBody>
      </p:sp>
      <p:pic>
        <p:nvPicPr>
          <p:cNvPr id="3" name="图片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3429833"/>
            <a:ext cx="9237785" cy="3428167"/>
          </a:xfrm>
          <a:prstGeom prst="rect">
            <a:avLst/>
          </a:prstGeom>
        </p:spPr>
      </p:pic>
      <p:grpSp>
        <p:nvGrpSpPr>
          <p:cNvPr id="4" name="组合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78593" y="5417965"/>
            <a:ext cx="5717407" cy="480425"/>
            <a:chOff x="847022" y="4444949"/>
            <a:chExt cx="5717407" cy="480425"/>
          </a:xfrm>
        </p:grpSpPr>
        <p:sp>
          <p:nvSpPr>
            <p:cNvPr id="5" name="矩形 4"/>
            <p:cNvSpPr/>
            <p:nvPr/>
          </p:nvSpPr>
          <p:spPr>
            <a:xfrm>
              <a:off x="847022" y="4444949"/>
              <a:ext cx="1395663" cy="480425"/>
            </a:xfrm>
            <a:prstGeom prst="rect">
              <a:avLst/>
            </a:prstGeom>
            <a:solidFill>
              <a:srgbClr val="DC84B6"/>
            </a:solidFill>
            <a:ln>
              <a:noFill/>
            </a:ln>
            <a:effectLst>
              <a:outerShdw blurRad="292100" dist="2286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cs typeface="+mn-ea"/>
                <a:sym typeface="Calibri"/>
              </a:endParaRPr>
            </a:p>
          </p:txBody>
        </p:sp>
        <p:sp>
          <p:nvSpPr>
            <p:cNvPr id="6" name="矩形 5"/>
            <p:cNvSpPr/>
            <p:nvPr/>
          </p:nvSpPr>
          <p:spPr>
            <a:xfrm>
              <a:off x="2239744" y="4444949"/>
              <a:ext cx="4324685" cy="480425"/>
            </a:xfrm>
            <a:prstGeom prst="rect">
              <a:avLst/>
            </a:prstGeom>
            <a:solidFill>
              <a:schemeClr val="bg1"/>
            </a:solidFill>
            <a:ln>
              <a:noFill/>
            </a:ln>
            <a:effectLst>
              <a:outerShdw blurRad="292100" dist="228600" dir="2700000" algn="tl" rotWithShape="0">
                <a:prstClr val="black">
                  <a:alpha val="2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latin typeface="Calibri"/>
                <a:ea typeface="微软雅黑"/>
                <a:cs typeface="+mn-ea"/>
                <a:sym typeface="Calibri"/>
              </a:endParaRPr>
            </a:p>
          </p:txBody>
        </p:sp>
        <p:sp>
          <p:nvSpPr>
            <p:cNvPr id="7" name="文本框 6"/>
            <p:cNvSpPr txBox="1"/>
            <p:nvPr/>
          </p:nvSpPr>
          <p:spPr>
            <a:xfrm>
              <a:off x="1005282" y="4500495"/>
              <a:ext cx="923907" cy="369332"/>
            </a:xfrm>
            <a:prstGeom prst="rect">
              <a:avLst/>
            </a:prstGeom>
            <a:noFill/>
          </p:spPr>
          <p:txBody>
            <a:bodyPr wrap="none" rtlCol="0">
              <a:spAutoFit/>
            </a:bodyPr>
            <a:lstStyle/>
            <a:p>
              <a:r>
                <a:rPr lang="en-US" altLang="zh-CN" dirty="0">
                  <a:solidFill>
                    <a:schemeClr val="bg1"/>
                  </a:solidFill>
                  <a:latin typeface="Calibri"/>
                  <a:ea typeface="微软雅黑"/>
                  <a:cs typeface="+mn-ea"/>
                  <a:sym typeface="Calibri"/>
                </a:rPr>
                <a:t>SEARCH</a:t>
              </a:r>
              <a:endParaRPr lang="zh-CN" altLang="en-US" dirty="0">
                <a:solidFill>
                  <a:schemeClr val="bg1"/>
                </a:solidFill>
                <a:latin typeface="Calibri"/>
                <a:ea typeface="微软雅黑"/>
                <a:cs typeface="+mn-ea"/>
                <a:sym typeface="Calibri"/>
              </a:endParaRPr>
            </a:p>
          </p:txBody>
        </p:sp>
        <p:sp>
          <p:nvSpPr>
            <p:cNvPr id="8" name="矩形 7"/>
            <p:cNvSpPr/>
            <p:nvPr/>
          </p:nvSpPr>
          <p:spPr>
            <a:xfrm>
              <a:off x="2398005" y="4510292"/>
              <a:ext cx="2918491" cy="307777"/>
            </a:xfrm>
            <a:prstGeom prst="rect">
              <a:avLst/>
            </a:prstGeom>
          </p:spPr>
          <p:txBody>
            <a:bodyPr wrap="none">
              <a:spAutoFit/>
            </a:bodyPr>
            <a:lstStyle/>
            <a:p>
              <a:r>
                <a:rPr lang="en-US" altLang="zh-CN" sz="1400" dirty="0">
                  <a:solidFill>
                    <a:srgbClr val="0D0659"/>
                  </a:solidFill>
                  <a:latin typeface="Calibri"/>
                  <a:ea typeface="微软雅黑"/>
                  <a:cs typeface="+mn-ea"/>
                  <a:sym typeface="Calibri"/>
                </a:rPr>
                <a:t>https://www.freeppt7.com/business/</a:t>
              </a:r>
              <a:endParaRPr lang="zh-CN" altLang="en-US" sz="1400" dirty="0">
                <a:solidFill>
                  <a:srgbClr val="0D0659"/>
                </a:solidFill>
                <a:latin typeface="Calibri"/>
                <a:ea typeface="微软雅黑"/>
                <a:cs typeface="+mn-ea"/>
                <a:sym typeface="Calibri"/>
              </a:endParaRPr>
            </a:p>
          </p:txBody>
        </p:sp>
      </p:grpSp>
      <p:sp>
        <p:nvSpPr>
          <p:cNvPr id="9" name="Title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378593" y="4135189"/>
            <a:ext cx="4352898" cy="646331"/>
          </a:xfrm>
          <a:prstGeom prst="rect">
            <a:avLst/>
          </a:prstGeom>
        </p:spPr>
        <p:txBody>
          <a:bodyPr wrap="square" anchor="ctr">
            <a:noAutofit/>
          </a:bodyPr>
          <a:lstStyle>
            <a:lvl1pPr algn="ctr" rtl="0" fontAlgn="base">
              <a:spcBef>
                <a:spcPct val="0"/>
              </a:spcBef>
              <a:spcAft>
                <a:spcPct val="0"/>
              </a:spcAft>
              <a:defRPr lang="en-US" sz="2400" kern="0" smtClean="0">
                <a:solidFill>
                  <a:srgbClr val="DD2067"/>
                </a:solidFill>
                <a:latin typeface="+mj-lt"/>
                <a:ea typeface="+mj-ea"/>
                <a:cs typeface="Arial" panose="020B0604020202020204" pitchFamily="34" charset="0"/>
                <a:sym typeface="Calibri" panose="020F0502020204030204" charset="0"/>
              </a:defRPr>
            </a:lvl1pPr>
            <a:lvl2pPr algn="ctr" rtl="0" fontAlgn="base">
              <a:spcBef>
                <a:spcPct val="0"/>
              </a:spcBef>
              <a:spcAft>
                <a:spcPct val="0"/>
              </a:spcAft>
              <a:defRPr sz="4400">
                <a:solidFill>
                  <a:schemeClr val="tx1"/>
                </a:solidFill>
                <a:latin typeface="Calibri" panose="020F0502020204030204" charset="0"/>
                <a:ea typeface="ヒラギノ角ゴ ProN W3" charset="0"/>
                <a:cs typeface="ヒラギノ角ゴ ProN W3" charset="0"/>
                <a:sym typeface="Calibri" panose="020F0502020204030204" charset="0"/>
              </a:defRPr>
            </a:lvl2pPr>
            <a:lvl3pPr algn="ctr" rtl="0" fontAlgn="base">
              <a:spcBef>
                <a:spcPct val="0"/>
              </a:spcBef>
              <a:spcAft>
                <a:spcPct val="0"/>
              </a:spcAft>
              <a:defRPr sz="4400">
                <a:solidFill>
                  <a:schemeClr val="tx1"/>
                </a:solidFill>
                <a:latin typeface="Calibri" panose="020F0502020204030204" charset="0"/>
                <a:ea typeface="ヒラギノ角ゴ ProN W3" charset="0"/>
                <a:cs typeface="ヒラギノ角ゴ ProN W3" charset="0"/>
                <a:sym typeface="Calibri" panose="020F0502020204030204" charset="0"/>
              </a:defRPr>
            </a:lvl3pPr>
            <a:lvl4pPr algn="ctr" rtl="0" fontAlgn="base">
              <a:spcBef>
                <a:spcPct val="0"/>
              </a:spcBef>
              <a:spcAft>
                <a:spcPct val="0"/>
              </a:spcAft>
              <a:defRPr sz="4400">
                <a:solidFill>
                  <a:schemeClr val="tx1"/>
                </a:solidFill>
                <a:latin typeface="Calibri" panose="020F0502020204030204" charset="0"/>
                <a:ea typeface="ヒラギノ角ゴ ProN W3" charset="0"/>
                <a:cs typeface="ヒラギノ角ゴ ProN W3" charset="0"/>
                <a:sym typeface="Calibri" panose="020F0502020204030204" charset="0"/>
              </a:defRPr>
            </a:lvl4pPr>
            <a:lvl5pPr algn="ctr" rtl="0" fontAlgn="base">
              <a:spcBef>
                <a:spcPct val="0"/>
              </a:spcBef>
              <a:spcAft>
                <a:spcPct val="0"/>
              </a:spcAft>
              <a:defRPr sz="4400">
                <a:solidFill>
                  <a:schemeClr val="tx1"/>
                </a:solidFill>
                <a:latin typeface="Calibri" panose="020F0502020204030204" charset="0"/>
                <a:ea typeface="ヒラギノ角ゴ ProN W3" charset="0"/>
                <a:cs typeface="ヒラギノ角ゴ ProN W3" charset="0"/>
                <a:sym typeface="Calibri" panose="020F0502020204030204" charset="0"/>
              </a:defRPr>
            </a:lvl5pPr>
            <a:lvl6pPr marL="457200" algn="ctr" rtl="0" fontAlgn="base">
              <a:spcBef>
                <a:spcPct val="0"/>
              </a:spcBef>
              <a:spcAft>
                <a:spcPct val="0"/>
              </a:spcAft>
              <a:defRPr sz="4400">
                <a:solidFill>
                  <a:schemeClr val="tx1"/>
                </a:solidFill>
                <a:latin typeface="Calibri" panose="020F0502020204030204" charset="0"/>
                <a:ea typeface="ヒラギノ角ゴ ProN W3" charset="0"/>
                <a:cs typeface="ヒラギノ角ゴ ProN W3" charset="0"/>
                <a:sym typeface="Calibri" panose="020F0502020204030204" charset="0"/>
              </a:defRPr>
            </a:lvl6pPr>
            <a:lvl7pPr marL="914400" algn="ctr" rtl="0" fontAlgn="base">
              <a:spcBef>
                <a:spcPct val="0"/>
              </a:spcBef>
              <a:spcAft>
                <a:spcPct val="0"/>
              </a:spcAft>
              <a:defRPr sz="4400">
                <a:solidFill>
                  <a:schemeClr val="tx1"/>
                </a:solidFill>
                <a:latin typeface="Calibri" panose="020F0502020204030204" charset="0"/>
                <a:ea typeface="ヒラギノ角ゴ ProN W3" charset="0"/>
                <a:cs typeface="ヒラギノ角ゴ ProN W3" charset="0"/>
                <a:sym typeface="Calibri" panose="020F0502020204030204" charset="0"/>
              </a:defRPr>
            </a:lvl7pPr>
            <a:lvl8pPr marL="1371600" algn="ctr" rtl="0" fontAlgn="base">
              <a:spcBef>
                <a:spcPct val="0"/>
              </a:spcBef>
              <a:spcAft>
                <a:spcPct val="0"/>
              </a:spcAft>
              <a:defRPr sz="4400">
                <a:solidFill>
                  <a:schemeClr val="tx1"/>
                </a:solidFill>
                <a:latin typeface="Calibri" panose="020F0502020204030204" charset="0"/>
                <a:ea typeface="ヒラギノ角ゴ ProN W3" charset="0"/>
                <a:cs typeface="ヒラギノ角ゴ ProN W3" charset="0"/>
                <a:sym typeface="Calibri" panose="020F0502020204030204" charset="0"/>
              </a:defRPr>
            </a:lvl8pPr>
            <a:lvl9pPr marL="1828800" algn="ctr" rtl="0" fontAlgn="base">
              <a:spcBef>
                <a:spcPct val="0"/>
              </a:spcBef>
              <a:spcAft>
                <a:spcPct val="0"/>
              </a:spcAft>
              <a:defRPr sz="4400">
                <a:solidFill>
                  <a:schemeClr val="tx1"/>
                </a:solidFill>
                <a:latin typeface="Calibri" panose="020F0502020204030204" charset="0"/>
                <a:ea typeface="ヒラギノ角ゴ ProN W3" charset="0"/>
                <a:cs typeface="ヒラギノ角ゴ ProN W3" charset="0"/>
                <a:sym typeface="Calibri" panose="020F0502020204030204" charset="0"/>
              </a:defRPr>
            </a:lvl9pPr>
          </a:lstStyle>
          <a:p>
            <a:pPr algn="l"/>
            <a:r>
              <a:rPr lang="en-US" sz="3600" b="1" spc="-151" dirty="0">
                <a:solidFill>
                  <a:schemeClr val="bg1"/>
                </a:solidFill>
                <a:latin typeface="Calibri"/>
                <a:ea typeface="微软雅黑"/>
                <a:cs typeface="+mn-ea"/>
                <a:sym typeface="Calibri"/>
              </a:rPr>
              <a:t>About </a:t>
            </a:r>
            <a:r>
              <a:rPr lang="en-US" sz="3600" spc="-151" dirty="0">
                <a:solidFill>
                  <a:schemeClr val="bg1"/>
                </a:solidFill>
                <a:latin typeface="Calibri"/>
                <a:ea typeface="微软雅黑"/>
                <a:cs typeface="+mn-ea"/>
                <a:sym typeface="Calibri"/>
              </a:rPr>
              <a:t>Us</a:t>
            </a:r>
          </a:p>
        </p:txBody>
      </p:sp>
      <p:sp>
        <p:nvSpPr>
          <p:cNvPr id="10" name="Rectangle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432383" y="4781520"/>
            <a:ext cx="2725412" cy="261610"/>
          </a:xfrm>
          <a:prstGeom prst="rect">
            <a:avLst/>
          </a:prstGeom>
        </p:spPr>
        <p:txBody>
          <a:bodyPr wrap="square">
            <a:spAutoFit/>
          </a:bodyPr>
          <a:lstStyle/>
          <a:p>
            <a:pPr>
              <a:buClr>
                <a:srgbClr val="E24848"/>
              </a:buClr>
              <a:defRPr/>
            </a:pPr>
            <a:r>
              <a:rPr lang="en-US" sz="1100" noProof="1">
                <a:solidFill>
                  <a:schemeClr val="bg1"/>
                </a:solidFill>
                <a:latin typeface="Calibri"/>
                <a:ea typeface="微软雅黑"/>
                <a:cs typeface="+mn-ea"/>
                <a:sym typeface="Calibri"/>
              </a:rPr>
              <a:t>Insert  Your Great Subtitle Here</a:t>
            </a:r>
          </a:p>
        </p:txBody>
      </p:sp>
      <p:sp>
        <p:nvSpPr>
          <p:cNvPr id="11" name="Text Placeholder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691829" y="4991191"/>
            <a:ext cx="1522447" cy="557851"/>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id-ID" sz="2400" b="1" dirty="0">
                <a:solidFill>
                  <a:schemeClr val="tx2">
                    <a:lumMod val="50000"/>
                  </a:schemeClr>
                </a:solidFill>
                <a:latin typeface="Calibri"/>
                <a:ea typeface="微软雅黑"/>
                <a:cs typeface="+mn-ea"/>
                <a:sym typeface="Calibri"/>
              </a:rPr>
              <a:t>30.000+</a:t>
            </a:r>
          </a:p>
        </p:txBody>
      </p:sp>
      <p:sp>
        <p:nvSpPr>
          <p:cNvPr id="12" name="Text Placeholder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704528" y="5332847"/>
            <a:ext cx="1522448" cy="345563"/>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Lato Light" panose="020F0502020204030203" pitchFamily="34" charset="0"/>
                <a:ea typeface="Lato Light" panose="020F0502020204030203" pitchFamily="34" charset="0"/>
                <a:cs typeface="Lato Light"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id-ID" sz="1400" b="1" dirty="0">
                <a:solidFill>
                  <a:schemeClr val="tx2">
                    <a:lumMod val="50000"/>
                  </a:schemeClr>
                </a:solidFill>
                <a:latin typeface="Calibri"/>
                <a:ea typeface="微软雅黑"/>
                <a:cs typeface="+mn-ea"/>
                <a:sym typeface="Calibri"/>
              </a:rPr>
              <a:t>SLIDES</a:t>
            </a:r>
          </a:p>
        </p:txBody>
      </p:sp>
      <p:grpSp>
        <p:nvGrpSpPr>
          <p:cNvPr id="57" name="组合 5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790362" y="3801739"/>
            <a:ext cx="1156252" cy="1140465"/>
            <a:chOff x="9790361" y="3208271"/>
            <a:chExt cx="1757935" cy="1733933"/>
          </a:xfrm>
        </p:grpSpPr>
        <p:grpSp>
          <p:nvGrpSpPr>
            <p:cNvPr id="13" name="Group 24"/>
            <p:cNvGrpSpPr/>
            <p:nvPr/>
          </p:nvGrpSpPr>
          <p:grpSpPr>
            <a:xfrm>
              <a:off x="9790361" y="3439248"/>
              <a:ext cx="1757935" cy="1502956"/>
              <a:chOff x="1104899" y="464783"/>
              <a:chExt cx="6934201" cy="5928434"/>
            </a:xfrm>
            <a:effectLst>
              <a:outerShdw blurRad="76200" dir="18900000" sy="23000" kx="-1200000" algn="bl" rotWithShape="0">
                <a:prstClr val="black">
                  <a:alpha val="20000"/>
                </a:prstClr>
              </a:outerShdw>
            </a:effectLst>
          </p:grpSpPr>
          <p:sp>
            <p:nvSpPr>
              <p:cNvPr id="14" name="Freeform 28"/>
              <p:cNvSpPr/>
              <p:nvPr/>
            </p:nvSpPr>
            <p:spPr bwMode="auto">
              <a:xfrm>
                <a:off x="1166187" y="5354072"/>
                <a:ext cx="6872913" cy="1039145"/>
              </a:xfrm>
              <a:custGeom>
                <a:avLst/>
                <a:gdLst>
                  <a:gd name="T0" fmla="*/ 6785 w 12560"/>
                  <a:gd name="T1" fmla="*/ 0 h 1899"/>
                  <a:gd name="T2" fmla="*/ 5186 w 12560"/>
                  <a:gd name="T3" fmla="*/ 131 h 1899"/>
                  <a:gd name="T4" fmla="*/ 5197 w 12560"/>
                  <a:gd name="T5" fmla="*/ 1610 h 1899"/>
                  <a:gd name="T6" fmla="*/ 1109 w 12560"/>
                  <a:gd name="T7" fmla="*/ 1267 h 1899"/>
                  <a:gd name="T8" fmla="*/ 1071 w 12560"/>
                  <a:gd name="T9" fmla="*/ 1256 h 1899"/>
                  <a:gd name="T10" fmla="*/ 1009 w 12560"/>
                  <a:gd name="T11" fmla="*/ 1221 h 1899"/>
                  <a:gd name="T12" fmla="*/ 967 w 12560"/>
                  <a:gd name="T13" fmla="*/ 1179 h 1899"/>
                  <a:gd name="T14" fmla="*/ 921 w 12560"/>
                  <a:gd name="T15" fmla="*/ 1125 h 1899"/>
                  <a:gd name="T16" fmla="*/ 886 w 12560"/>
                  <a:gd name="T17" fmla="*/ 1048 h 1899"/>
                  <a:gd name="T18" fmla="*/ 863 w 12560"/>
                  <a:gd name="T19" fmla="*/ 955 h 1899"/>
                  <a:gd name="T20" fmla="*/ 863 w 12560"/>
                  <a:gd name="T21" fmla="*/ 493 h 1899"/>
                  <a:gd name="T22" fmla="*/ 250 w 12560"/>
                  <a:gd name="T23" fmla="*/ 543 h 1899"/>
                  <a:gd name="T24" fmla="*/ 212 w 12560"/>
                  <a:gd name="T25" fmla="*/ 558 h 1899"/>
                  <a:gd name="T26" fmla="*/ 154 w 12560"/>
                  <a:gd name="T27" fmla="*/ 593 h 1899"/>
                  <a:gd name="T28" fmla="*/ 108 w 12560"/>
                  <a:gd name="T29" fmla="*/ 631 h 1899"/>
                  <a:gd name="T30" fmla="*/ 61 w 12560"/>
                  <a:gd name="T31" fmla="*/ 689 h 1899"/>
                  <a:gd name="T32" fmla="*/ 27 w 12560"/>
                  <a:gd name="T33" fmla="*/ 762 h 1899"/>
                  <a:gd name="T34" fmla="*/ 4 w 12560"/>
                  <a:gd name="T35" fmla="*/ 859 h 1899"/>
                  <a:gd name="T36" fmla="*/ 4 w 12560"/>
                  <a:gd name="T37" fmla="*/ 1344 h 1899"/>
                  <a:gd name="T38" fmla="*/ 358 w 12560"/>
                  <a:gd name="T39" fmla="*/ 1383 h 1899"/>
                  <a:gd name="T40" fmla="*/ 1105 w 12560"/>
                  <a:gd name="T41" fmla="*/ 1452 h 1899"/>
                  <a:gd name="T42" fmla="*/ 2323 w 12560"/>
                  <a:gd name="T43" fmla="*/ 1545 h 1899"/>
                  <a:gd name="T44" fmla="*/ 4064 w 12560"/>
                  <a:gd name="T45" fmla="*/ 1660 h 1899"/>
                  <a:gd name="T46" fmla="*/ 5417 w 12560"/>
                  <a:gd name="T47" fmla="*/ 1764 h 1899"/>
                  <a:gd name="T48" fmla="*/ 6322 w 12560"/>
                  <a:gd name="T49" fmla="*/ 1845 h 1899"/>
                  <a:gd name="T50" fmla="*/ 6773 w 12560"/>
                  <a:gd name="T51" fmla="*/ 1895 h 1899"/>
                  <a:gd name="T52" fmla="*/ 6912 w 12560"/>
                  <a:gd name="T53" fmla="*/ 1899 h 1899"/>
                  <a:gd name="T54" fmla="*/ 7004 w 12560"/>
                  <a:gd name="T55" fmla="*/ 1899 h 1899"/>
                  <a:gd name="T56" fmla="*/ 7347 w 12560"/>
                  <a:gd name="T57" fmla="*/ 1876 h 1899"/>
                  <a:gd name="T58" fmla="*/ 7940 w 12560"/>
                  <a:gd name="T59" fmla="*/ 1814 h 1899"/>
                  <a:gd name="T60" fmla="*/ 8653 w 12560"/>
                  <a:gd name="T61" fmla="*/ 1722 h 1899"/>
                  <a:gd name="T62" fmla="*/ 10268 w 12560"/>
                  <a:gd name="T63" fmla="*/ 1498 h 1899"/>
                  <a:gd name="T64" fmla="*/ 11489 w 12560"/>
                  <a:gd name="T65" fmla="*/ 1336 h 1899"/>
                  <a:gd name="T66" fmla="*/ 12229 w 12560"/>
                  <a:gd name="T67" fmla="*/ 1252 h 1899"/>
                  <a:gd name="T68" fmla="*/ 8861 w 12560"/>
                  <a:gd name="T69" fmla="*/ 1036 h 1899"/>
                  <a:gd name="T70" fmla="*/ 8692 w 12560"/>
                  <a:gd name="T71" fmla="*/ 1024 h 1899"/>
                  <a:gd name="T72" fmla="*/ 8303 w 12560"/>
                  <a:gd name="T73" fmla="*/ 994 h 1899"/>
                  <a:gd name="T74" fmla="*/ 7883 w 12560"/>
                  <a:gd name="T75" fmla="*/ 947 h 1899"/>
                  <a:gd name="T76" fmla="*/ 7725 w 12560"/>
                  <a:gd name="T77" fmla="*/ 917 h 1899"/>
                  <a:gd name="T78" fmla="*/ 7648 w 12560"/>
                  <a:gd name="T79" fmla="*/ 893 h 1899"/>
                  <a:gd name="T80" fmla="*/ 7289 w 12560"/>
                  <a:gd name="T81" fmla="*/ 69 h 1899"/>
                  <a:gd name="T82" fmla="*/ 7239 w 12560"/>
                  <a:gd name="T83" fmla="*/ 57 h 1899"/>
                  <a:gd name="T84" fmla="*/ 7031 w 12560"/>
                  <a:gd name="T85" fmla="*/ 23 h 1899"/>
                  <a:gd name="T86" fmla="*/ 6862 w 12560"/>
                  <a:gd name="T87" fmla="*/ 3 h 18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560" h="1899">
                    <a:moveTo>
                      <a:pt x="6785" y="0"/>
                    </a:moveTo>
                    <a:lnTo>
                      <a:pt x="6785" y="0"/>
                    </a:lnTo>
                    <a:lnTo>
                      <a:pt x="6735" y="3"/>
                    </a:lnTo>
                    <a:lnTo>
                      <a:pt x="5186" y="131"/>
                    </a:lnTo>
                    <a:lnTo>
                      <a:pt x="5186" y="131"/>
                    </a:lnTo>
                    <a:lnTo>
                      <a:pt x="5197" y="1610"/>
                    </a:lnTo>
                    <a:lnTo>
                      <a:pt x="1109" y="1267"/>
                    </a:lnTo>
                    <a:lnTo>
                      <a:pt x="1109" y="1267"/>
                    </a:lnTo>
                    <a:lnTo>
                      <a:pt x="1098" y="1263"/>
                    </a:lnTo>
                    <a:lnTo>
                      <a:pt x="1071" y="1256"/>
                    </a:lnTo>
                    <a:lnTo>
                      <a:pt x="1032" y="1232"/>
                    </a:lnTo>
                    <a:lnTo>
                      <a:pt x="1009" y="1221"/>
                    </a:lnTo>
                    <a:lnTo>
                      <a:pt x="990" y="1202"/>
                    </a:lnTo>
                    <a:lnTo>
                      <a:pt x="967" y="1179"/>
                    </a:lnTo>
                    <a:lnTo>
                      <a:pt x="944" y="1155"/>
                    </a:lnTo>
                    <a:lnTo>
                      <a:pt x="921" y="1125"/>
                    </a:lnTo>
                    <a:lnTo>
                      <a:pt x="901" y="1090"/>
                    </a:lnTo>
                    <a:lnTo>
                      <a:pt x="886" y="1048"/>
                    </a:lnTo>
                    <a:lnTo>
                      <a:pt x="870" y="1005"/>
                    </a:lnTo>
                    <a:lnTo>
                      <a:pt x="863" y="955"/>
                    </a:lnTo>
                    <a:lnTo>
                      <a:pt x="859" y="897"/>
                    </a:lnTo>
                    <a:lnTo>
                      <a:pt x="863" y="493"/>
                    </a:lnTo>
                    <a:lnTo>
                      <a:pt x="250" y="543"/>
                    </a:lnTo>
                    <a:lnTo>
                      <a:pt x="250" y="543"/>
                    </a:lnTo>
                    <a:lnTo>
                      <a:pt x="239" y="547"/>
                    </a:lnTo>
                    <a:lnTo>
                      <a:pt x="212" y="558"/>
                    </a:lnTo>
                    <a:lnTo>
                      <a:pt x="173" y="577"/>
                    </a:lnTo>
                    <a:lnTo>
                      <a:pt x="154" y="593"/>
                    </a:lnTo>
                    <a:lnTo>
                      <a:pt x="131" y="612"/>
                    </a:lnTo>
                    <a:lnTo>
                      <a:pt x="108" y="631"/>
                    </a:lnTo>
                    <a:lnTo>
                      <a:pt x="84" y="658"/>
                    </a:lnTo>
                    <a:lnTo>
                      <a:pt x="61" y="689"/>
                    </a:lnTo>
                    <a:lnTo>
                      <a:pt x="42" y="724"/>
                    </a:lnTo>
                    <a:lnTo>
                      <a:pt x="27" y="762"/>
                    </a:lnTo>
                    <a:lnTo>
                      <a:pt x="11" y="809"/>
                    </a:lnTo>
                    <a:lnTo>
                      <a:pt x="4" y="859"/>
                    </a:lnTo>
                    <a:lnTo>
                      <a:pt x="0" y="917"/>
                    </a:lnTo>
                    <a:lnTo>
                      <a:pt x="4" y="1344"/>
                    </a:lnTo>
                    <a:lnTo>
                      <a:pt x="4" y="1344"/>
                    </a:lnTo>
                    <a:lnTo>
                      <a:pt x="358" y="1383"/>
                    </a:lnTo>
                    <a:lnTo>
                      <a:pt x="724" y="1417"/>
                    </a:lnTo>
                    <a:lnTo>
                      <a:pt x="1105" y="1452"/>
                    </a:lnTo>
                    <a:lnTo>
                      <a:pt x="1502" y="1483"/>
                    </a:lnTo>
                    <a:lnTo>
                      <a:pt x="2323" y="1545"/>
                    </a:lnTo>
                    <a:lnTo>
                      <a:pt x="3182" y="1602"/>
                    </a:lnTo>
                    <a:lnTo>
                      <a:pt x="4064" y="1660"/>
                    </a:lnTo>
                    <a:lnTo>
                      <a:pt x="4966" y="1726"/>
                    </a:lnTo>
                    <a:lnTo>
                      <a:pt x="5417" y="1764"/>
                    </a:lnTo>
                    <a:lnTo>
                      <a:pt x="5871" y="1803"/>
                    </a:lnTo>
                    <a:lnTo>
                      <a:pt x="6322" y="1845"/>
                    </a:lnTo>
                    <a:lnTo>
                      <a:pt x="6773" y="1895"/>
                    </a:lnTo>
                    <a:lnTo>
                      <a:pt x="6773" y="1895"/>
                    </a:lnTo>
                    <a:lnTo>
                      <a:pt x="6835" y="1899"/>
                    </a:lnTo>
                    <a:lnTo>
                      <a:pt x="6912" y="1899"/>
                    </a:lnTo>
                    <a:lnTo>
                      <a:pt x="6912" y="1899"/>
                    </a:lnTo>
                    <a:lnTo>
                      <a:pt x="7004" y="1899"/>
                    </a:lnTo>
                    <a:lnTo>
                      <a:pt x="7108" y="1895"/>
                    </a:lnTo>
                    <a:lnTo>
                      <a:pt x="7347" y="1876"/>
                    </a:lnTo>
                    <a:lnTo>
                      <a:pt x="7625" y="1849"/>
                    </a:lnTo>
                    <a:lnTo>
                      <a:pt x="7940" y="1814"/>
                    </a:lnTo>
                    <a:lnTo>
                      <a:pt x="8283" y="1772"/>
                    </a:lnTo>
                    <a:lnTo>
                      <a:pt x="8653" y="1722"/>
                    </a:lnTo>
                    <a:lnTo>
                      <a:pt x="9443" y="1614"/>
                    </a:lnTo>
                    <a:lnTo>
                      <a:pt x="10268" y="1498"/>
                    </a:lnTo>
                    <a:lnTo>
                      <a:pt x="11092" y="1387"/>
                    </a:lnTo>
                    <a:lnTo>
                      <a:pt x="11489" y="1336"/>
                    </a:lnTo>
                    <a:lnTo>
                      <a:pt x="11870" y="1290"/>
                    </a:lnTo>
                    <a:lnTo>
                      <a:pt x="12229" y="1252"/>
                    </a:lnTo>
                    <a:lnTo>
                      <a:pt x="12560" y="1221"/>
                    </a:lnTo>
                    <a:lnTo>
                      <a:pt x="8861" y="1036"/>
                    </a:lnTo>
                    <a:lnTo>
                      <a:pt x="8861" y="1036"/>
                    </a:lnTo>
                    <a:lnTo>
                      <a:pt x="8692" y="1024"/>
                    </a:lnTo>
                    <a:lnTo>
                      <a:pt x="8511" y="1013"/>
                    </a:lnTo>
                    <a:lnTo>
                      <a:pt x="8303" y="994"/>
                    </a:lnTo>
                    <a:lnTo>
                      <a:pt x="8083" y="974"/>
                    </a:lnTo>
                    <a:lnTo>
                      <a:pt x="7883" y="947"/>
                    </a:lnTo>
                    <a:lnTo>
                      <a:pt x="7798" y="932"/>
                    </a:lnTo>
                    <a:lnTo>
                      <a:pt x="7725" y="917"/>
                    </a:lnTo>
                    <a:lnTo>
                      <a:pt x="7667" y="901"/>
                    </a:lnTo>
                    <a:lnTo>
                      <a:pt x="7648" y="893"/>
                    </a:lnTo>
                    <a:lnTo>
                      <a:pt x="7632" y="886"/>
                    </a:lnTo>
                    <a:lnTo>
                      <a:pt x="7289" y="69"/>
                    </a:lnTo>
                    <a:lnTo>
                      <a:pt x="7289" y="69"/>
                    </a:lnTo>
                    <a:lnTo>
                      <a:pt x="7239" y="57"/>
                    </a:lnTo>
                    <a:lnTo>
                      <a:pt x="7112" y="34"/>
                    </a:lnTo>
                    <a:lnTo>
                      <a:pt x="7031" y="23"/>
                    </a:lnTo>
                    <a:lnTo>
                      <a:pt x="6946" y="11"/>
                    </a:lnTo>
                    <a:lnTo>
                      <a:pt x="6862" y="3"/>
                    </a:lnTo>
                    <a:lnTo>
                      <a:pt x="67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15" name="Freeform 29"/>
              <p:cNvSpPr/>
              <p:nvPr/>
            </p:nvSpPr>
            <p:spPr bwMode="auto">
              <a:xfrm>
                <a:off x="2131459" y="464783"/>
                <a:ext cx="3137135" cy="2314683"/>
              </a:xfrm>
              <a:custGeom>
                <a:avLst/>
                <a:gdLst>
                  <a:gd name="T0" fmla="*/ 0 w 5733"/>
                  <a:gd name="T1" fmla="*/ 4230 h 4230"/>
                  <a:gd name="T2" fmla="*/ 0 w 5733"/>
                  <a:gd name="T3" fmla="*/ 1691 h 4230"/>
                  <a:gd name="T4" fmla="*/ 5733 w 5733"/>
                  <a:gd name="T5" fmla="*/ 0 h 4230"/>
                  <a:gd name="T6" fmla="*/ 5733 w 5733"/>
                  <a:gd name="T7" fmla="*/ 3583 h 4230"/>
                  <a:gd name="T8" fmla="*/ 0 w 5733"/>
                  <a:gd name="T9" fmla="*/ 4230 h 4230"/>
                </a:gdLst>
                <a:ahLst/>
                <a:cxnLst>
                  <a:cxn ang="0">
                    <a:pos x="T0" y="T1"/>
                  </a:cxn>
                  <a:cxn ang="0">
                    <a:pos x="T2" y="T3"/>
                  </a:cxn>
                  <a:cxn ang="0">
                    <a:pos x="T4" y="T5"/>
                  </a:cxn>
                  <a:cxn ang="0">
                    <a:pos x="T6" y="T7"/>
                  </a:cxn>
                  <a:cxn ang="0">
                    <a:pos x="T8" y="T9"/>
                  </a:cxn>
                </a:cxnLst>
                <a:rect l="0" t="0" r="r" b="b"/>
                <a:pathLst>
                  <a:path w="5733" h="4230">
                    <a:moveTo>
                      <a:pt x="0" y="4230"/>
                    </a:moveTo>
                    <a:lnTo>
                      <a:pt x="0" y="1691"/>
                    </a:lnTo>
                    <a:lnTo>
                      <a:pt x="5733" y="0"/>
                    </a:lnTo>
                    <a:lnTo>
                      <a:pt x="5733" y="3583"/>
                    </a:lnTo>
                    <a:lnTo>
                      <a:pt x="0" y="4230"/>
                    </a:lnTo>
                    <a:close/>
                  </a:path>
                </a:pathLst>
              </a:custGeom>
              <a:gradFill flip="none" rotWithShape="1">
                <a:gsLst>
                  <a:gs pos="0">
                    <a:srgbClr val="BCBEC0">
                      <a:tint val="66000"/>
                      <a:satMod val="160000"/>
                    </a:srgbClr>
                  </a:gs>
                  <a:gs pos="50000">
                    <a:srgbClr val="BCBEC0">
                      <a:tint val="44500"/>
                      <a:satMod val="160000"/>
                    </a:srgbClr>
                  </a:gs>
                  <a:gs pos="100000">
                    <a:srgbClr val="BCBEC0">
                      <a:tint val="23500"/>
                      <a:satMod val="160000"/>
                    </a:srgbClr>
                  </a:gs>
                </a:gsLst>
                <a:lin ang="16200000" scaled="1"/>
                <a:tileRect/>
              </a:gradFill>
              <a:ln>
                <a:noFill/>
              </a:ln>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16" name="Freeform 30"/>
              <p:cNvSpPr/>
              <p:nvPr/>
            </p:nvSpPr>
            <p:spPr bwMode="auto">
              <a:xfrm>
                <a:off x="2131459" y="464783"/>
                <a:ext cx="3137135" cy="2314683"/>
              </a:xfrm>
              <a:custGeom>
                <a:avLst/>
                <a:gdLst>
                  <a:gd name="T0" fmla="*/ 0 w 5733"/>
                  <a:gd name="T1" fmla="*/ 4230 h 4230"/>
                  <a:gd name="T2" fmla="*/ 0 w 5733"/>
                  <a:gd name="T3" fmla="*/ 1691 h 4230"/>
                  <a:gd name="T4" fmla="*/ 5733 w 5733"/>
                  <a:gd name="T5" fmla="*/ 0 h 4230"/>
                  <a:gd name="T6" fmla="*/ 5733 w 5733"/>
                  <a:gd name="T7" fmla="*/ 3583 h 4230"/>
                  <a:gd name="T8" fmla="*/ 0 w 5733"/>
                  <a:gd name="T9" fmla="*/ 4230 h 4230"/>
                </a:gdLst>
                <a:ahLst/>
                <a:cxnLst>
                  <a:cxn ang="0">
                    <a:pos x="T0" y="T1"/>
                  </a:cxn>
                  <a:cxn ang="0">
                    <a:pos x="T2" y="T3"/>
                  </a:cxn>
                  <a:cxn ang="0">
                    <a:pos x="T4" y="T5"/>
                  </a:cxn>
                  <a:cxn ang="0">
                    <a:pos x="T6" y="T7"/>
                  </a:cxn>
                  <a:cxn ang="0">
                    <a:pos x="T8" y="T9"/>
                  </a:cxn>
                </a:cxnLst>
                <a:rect l="0" t="0" r="r" b="b"/>
                <a:pathLst>
                  <a:path w="5733" h="4230">
                    <a:moveTo>
                      <a:pt x="0" y="4230"/>
                    </a:moveTo>
                    <a:lnTo>
                      <a:pt x="0" y="1691"/>
                    </a:lnTo>
                    <a:lnTo>
                      <a:pt x="5733" y="0"/>
                    </a:lnTo>
                    <a:lnTo>
                      <a:pt x="5733" y="3583"/>
                    </a:lnTo>
                    <a:lnTo>
                      <a:pt x="0" y="4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17" name="Freeform 31"/>
              <p:cNvSpPr/>
              <p:nvPr/>
            </p:nvSpPr>
            <p:spPr bwMode="auto">
              <a:xfrm>
                <a:off x="5264763" y="464783"/>
                <a:ext cx="71682" cy="2076649"/>
              </a:xfrm>
              <a:custGeom>
                <a:avLst/>
                <a:gdLst>
                  <a:gd name="T0" fmla="*/ 131 w 131"/>
                  <a:gd name="T1" fmla="*/ 3795 h 3795"/>
                  <a:gd name="T2" fmla="*/ 123 w 131"/>
                  <a:gd name="T3" fmla="*/ 193 h 3795"/>
                  <a:gd name="T4" fmla="*/ 0 w 131"/>
                  <a:gd name="T5" fmla="*/ 0 h 3795"/>
                  <a:gd name="T6" fmla="*/ 0 w 131"/>
                  <a:gd name="T7" fmla="*/ 3583 h 3795"/>
                  <a:gd name="T8" fmla="*/ 131 w 131"/>
                  <a:gd name="T9" fmla="*/ 3795 h 3795"/>
                </a:gdLst>
                <a:ahLst/>
                <a:cxnLst>
                  <a:cxn ang="0">
                    <a:pos x="T0" y="T1"/>
                  </a:cxn>
                  <a:cxn ang="0">
                    <a:pos x="T2" y="T3"/>
                  </a:cxn>
                  <a:cxn ang="0">
                    <a:pos x="T4" y="T5"/>
                  </a:cxn>
                  <a:cxn ang="0">
                    <a:pos x="T6" y="T7"/>
                  </a:cxn>
                  <a:cxn ang="0">
                    <a:pos x="T8" y="T9"/>
                  </a:cxn>
                </a:cxnLst>
                <a:rect l="0" t="0" r="r" b="b"/>
                <a:pathLst>
                  <a:path w="131" h="3795">
                    <a:moveTo>
                      <a:pt x="131" y="3795"/>
                    </a:moveTo>
                    <a:lnTo>
                      <a:pt x="123" y="193"/>
                    </a:lnTo>
                    <a:lnTo>
                      <a:pt x="0" y="0"/>
                    </a:lnTo>
                    <a:lnTo>
                      <a:pt x="0" y="3583"/>
                    </a:lnTo>
                    <a:lnTo>
                      <a:pt x="131" y="3795"/>
                    </a:lnTo>
                    <a:close/>
                  </a:path>
                </a:pathLst>
              </a:custGeom>
              <a:gradFill flip="none" rotWithShape="1">
                <a:gsLst>
                  <a:gs pos="0">
                    <a:srgbClr val="A7A9AC">
                      <a:tint val="66000"/>
                      <a:satMod val="160000"/>
                    </a:srgbClr>
                  </a:gs>
                  <a:gs pos="50000">
                    <a:srgbClr val="A7A9AC">
                      <a:tint val="44500"/>
                      <a:satMod val="160000"/>
                    </a:srgbClr>
                  </a:gs>
                  <a:gs pos="100000">
                    <a:srgbClr val="A7A9AC">
                      <a:tint val="23500"/>
                      <a:satMod val="160000"/>
                    </a:srgbClr>
                  </a:gs>
                </a:gsLst>
                <a:lin ang="16200000" scaled="1"/>
                <a:tileRect/>
              </a:gradFill>
              <a:ln>
                <a:noFill/>
              </a:ln>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18" name="Freeform 32"/>
              <p:cNvSpPr/>
              <p:nvPr/>
            </p:nvSpPr>
            <p:spPr bwMode="auto">
              <a:xfrm>
                <a:off x="1927349" y="1139487"/>
                <a:ext cx="3138774" cy="2314684"/>
              </a:xfrm>
              <a:custGeom>
                <a:avLst/>
                <a:gdLst>
                  <a:gd name="T0" fmla="*/ 0 w 5736"/>
                  <a:gd name="T1" fmla="*/ 4230 h 4230"/>
                  <a:gd name="T2" fmla="*/ 0 w 5736"/>
                  <a:gd name="T3" fmla="*/ 1691 h 4230"/>
                  <a:gd name="T4" fmla="*/ 5736 w 5736"/>
                  <a:gd name="T5" fmla="*/ 0 h 4230"/>
                  <a:gd name="T6" fmla="*/ 5736 w 5736"/>
                  <a:gd name="T7" fmla="*/ 3583 h 4230"/>
                  <a:gd name="T8" fmla="*/ 0 w 5736"/>
                  <a:gd name="T9" fmla="*/ 4230 h 4230"/>
                </a:gdLst>
                <a:ahLst/>
                <a:cxnLst>
                  <a:cxn ang="0">
                    <a:pos x="T0" y="T1"/>
                  </a:cxn>
                  <a:cxn ang="0">
                    <a:pos x="T2" y="T3"/>
                  </a:cxn>
                  <a:cxn ang="0">
                    <a:pos x="T4" y="T5"/>
                  </a:cxn>
                  <a:cxn ang="0">
                    <a:pos x="T6" y="T7"/>
                  </a:cxn>
                  <a:cxn ang="0">
                    <a:pos x="T8" y="T9"/>
                  </a:cxn>
                </a:cxnLst>
                <a:rect l="0" t="0" r="r" b="b"/>
                <a:pathLst>
                  <a:path w="5736" h="4230">
                    <a:moveTo>
                      <a:pt x="0" y="4230"/>
                    </a:moveTo>
                    <a:lnTo>
                      <a:pt x="0" y="1691"/>
                    </a:lnTo>
                    <a:lnTo>
                      <a:pt x="5736" y="0"/>
                    </a:lnTo>
                    <a:lnTo>
                      <a:pt x="5736" y="3583"/>
                    </a:lnTo>
                    <a:lnTo>
                      <a:pt x="0" y="4230"/>
                    </a:lnTo>
                    <a:close/>
                  </a:path>
                </a:pathLst>
              </a:custGeom>
              <a:solidFill>
                <a:srgbClr val="F1F2F2"/>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19" name="Freeform 33"/>
              <p:cNvSpPr/>
              <p:nvPr/>
            </p:nvSpPr>
            <p:spPr bwMode="auto">
              <a:xfrm>
                <a:off x="1927351" y="1139489"/>
                <a:ext cx="3138776" cy="2314683"/>
              </a:xfrm>
              <a:custGeom>
                <a:avLst/>
                <a:gdLst>
                  <a:gd name="T0" fmla="*/ 0 w 5736"/>
                  <a:gd name="T1" fmla="*/ 4230 h 4230"/>
                  <a:gd name="T2" fmla="*/ 0 w 5736"/>
                  <a:gd name="T3" fmla="*/ 1691 h 4230"/>
                  <a:gd name="T4" fmla="*/ 5736 w 5736"/>
                  <a:gd name="T5" fmla="*/ 0 h 4230"/>
                  <a:gd name="T6" fmla="*/ 5736 w 5736"/>
                  <a:gd name="T7" fmla="*/ 3583 h 4230"/>
                  <a:gd name="T8" fmla="*/ 0 w 5736"/>
                  <a:gd name="T9" fmla="*/ 4230 h 4230"/>
                </a:gdLst>
                <a:ahLst/>
                <a:cxnLst>
                  <a:cxn ang="0">
                    <a:pos x="T0" y="T1"/>
                  </a:cxn>
                  <a:cxn ang="0">
                    <a:pos x="T2" y="T3"/>
                  </a:cxn>
                  <a:cxn ang="0">
                    <a:pos x="T4" y="T5"/>
                  </a:cxn>
                  <a:cxn ang="0">
                    <a:pos x="T6" y="T7"/>
                  </a:cxn>
                  <a:cxn ang="0">
                    <a:pos x="T8" y="T9"/>
                  </a:cxn>
                </a:cxnLst>
                <a:rect l="0" t="0" r="r" b="b"/>
                <a:pathLst>
                  <a:path w="5736" h="4230">
                    <a:moveTo>
                      <a:pt x="0" y="4230"/>
                    </a:moveTo>
                    <a:lnTo>
                      <a:pt x="0" y="1691"/>
                    </a:lnTo>
                    <a:lnTo>
                      <a:pt x="5736" y="0"/>
                    </a:lnTo>
                    <a:lnTo>
                      <a:pt x="5736" y="3583"/>
                    </a:lnTo>
                    <a:lnTo>
                      <a:pt x="0" y="42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20" name="Freeform 34"/>
              <p:cNvSpPr/>
              <p:nvPr/>
            </p:nvSpPr>
            <p:spPr bwMode="auto">
              <a:xfrm>
                <a:off x="1638426" y="3220514"/>
                <a:ext cx="2367762" cy="2403330"/>
              </a:xfrm>
              <a:custGeom>
                <a:avLst/>
                <a:gdLst>
                  <a:gd name="T0" fmla="*/ 4327 w 4327"/>
                  <a:gd name="T1" fmla="*/ 0 h 4392"/>
                  <a:gd name="T2" fmla="*/ 2419 w 4327"/>
                  <a:gd name="T3" fmla="*/ 215 h 4392"/>
                  <a:gd name="T4" fmla="*/ 2416 w 4327"/>
                  <a:gd name="T5" fmla="*/ 809 h 4392"/>
                  <a:gd name="T6" fmla="*/ 2416 w 4327"/>
                  <a:gd name="T7" fmla="*/ 809 h 4392"/>
                  <a:gd name="T8" fmla="*/ 2419 w 4327"/>
                  <a:gd name="T9" fmla="*/ 786 h 4392"/>
                  <a:gd name="T10" fmla="*/ 2419 w 4327"/>
                  <a:gd name="T11" fmla="*/ 786 h 4392"/>
                  <a:gd name="T12" fmla="*/ 2419 w 4327"/>
                  <a:gd name="T13" fmla="*/ 886 h 4392"/>
                  <a:gd name="T14" fmla="*/ 2419 w 4327"/>
                  <a:gd name="T15" fmla="*/ 886 h 4392"/>
                  <a:gd name="T16" fmla="*/ 2419 w 4327"/>
                  <a:gd name="T17" fmla="*/ 886 h 4392"/>
                  <a:gd name="T18" fmla="*/ 2419 w 4327"/>
                  <a:gd name="T19" fmla="*/ 897 h 4392"/>
                  <a:gd name="T20" fmla="*/ 2412 w 4327"/>
                  <a:gd name="T21" fmla="*/ 928 h 4392"/>
                  <a:gd name="T22" fmla="*/ 2404 w 4327"/>
                  <a:gd name="T23" fmla="*/ 944 h 4392"/>
                  <a:gd name="T24" fmla="*/ 2392 w 4327"/>
                  <a:gd name="T25" fmla="*/ 963 h 4392"/>
                  <a:gd name="T26" fmla="*/ 2377 w 4327"/>
                  <a:gd name="T27" fmla="*/ 982 h 4392"/>
                  <a:gd name="T28" fmla="*/ 2358 w 4327"/>
                  <a:gd name="T29" fmla="*/ 994 h 4392"/>
                  <a:gd name="T30" fmla="*/ 2358 w 4327"/>
                  <a:gd name="T31" fmla="*/ 994 h 4392"/>
                  <a:gd name="T32" fmla="*/ 2323 w 4327"/>
                  <a:gd name="T33" fmla="*/ 1013 h 4392"/>
                  <a:gd name="T34" fmla="*/ 2288 w 4327"/>
                  <a:gd name="T35" fmla="*/ 1024 h 4392"/>
                  <a:gd name="T36" fmla="*/ 2219 w 4327"/>
                  <a:gd name="T37" fmla="*/ 1044 h 4392"/>
                  <a:gd name="T38" fmla="*/ 2150 w 4327"/>
                  <a:gd name="T39" fmla="*/ 1063 h 4392"/>
                  <a:gd name="T40" fmla="*/ 2080 w 4327"/>
                  <a:gd name="T41" fmla="*/ 1078 h 4392"/>
                  <a:gd name="T42" fmla="*/ 2030 w 4327"/>
                  <a:gd name="T43" fmla="*/ 1098 h 4392"/>
                  <a:gd name="T44" fmla="*/ 2030 w 4327"/>
                  <a:gd name="T45" fmla="*/ 1098 h 4392"/>
                  <a:gd name="T46" fmla="*/ 1972 w 4327"/>
                  <a:gd name="T47" fmla="*/ 1121 h 4392"/>
                  <a:gd name="T48" fmla="*/ 1972 w 4327"/>
                  <a:gd name="T49" fmla="*/ 1121 h 4392"/>
                  <a:gd name="T50" fmla="*/ 1903 w 4327"/>
                  <a:gd name="T51" fmla="*/ 1136 h 4392"/>
                  <a:gd name="T52" fmla="*/ 1838 w 4327"/>
                  <a:gd name="T53" fmla="*/ 1144 h 4392"/>
                  <a:gd name="T54" fmla="*/ 1776 w 4327"/>
                  <a:gd name="T55" fmla="*/ 1148 h 4392"/>
                  <a:gd name="T56" fmla="*/ 1776 w 4327"/>
                  <a:gd name="T57" fmla="*/ 1148 h 4392"/>
                  <a:gd name="T58" fmla="*/ 1757 w 4327"/>
                  <a:gd name="T59" fmla="*/ 1148 h 4392"/>
                  <a:gd name="T60" fmla="*/ 1757 w 4327"/>
                  <a:gd name="T61" fmla="*/ 1148 h 4392"/>
                  <a:gd name="T62" fmla="*/ 142 w 4327"/>
                  <a:gd name="T63" fmla="*/ 1013 h 4392"/>
                  <a:gd name="T64" fmla="*/ 142 w 4327"/>
                  <a:gd name="T65" fmla="*/ 1013 h 4392"/>
                  <a:gd name="T66" fmla="*/ 38 w 4327"/>
                  <a:gd name="T67" fmla="*/ 1005 h 4392"/>
                  <a:gd name="T68" fmla="*/ 0 w 4327"/>
                  <a:gd name="T69" fmla="*/ 4392 h 4392"/>
                  <a:gd name="T70" fmla="*/ 4323 w 4327"/>
                  <a:gd name="T71" fmla="*/ 4030 h 4392"/>
                  <a:gd name="T72" fmla="*/ 4323 w 4327"/>
                  <a:gd name="T73" fmla="*/ 4030 h 4392"/>
                  <a:gd name="T74" fmla="*/ 4315 w 4327"/>
                  <a:gd name="T75" fmla="*/ 3024 h 4392"/>
                  <a:gd name="T76" fmla="*/ 4315 w 4327"/>
                  <a:gd name="T77" fmla="*/ 2015 h 4392"/>
                  <a:gd name="T78" fmla="*/ 4315 w 4327"/>
                  <a:gd name="T79" fmla="*/ 1005 h 4392"/>
                  <a:gd name="T80" fmla="*/ 4323 w 4327"/>
                  <a:gd name="T81" fmla="*/ 504 h 4392"/>
                  <a:gd name="T82" fmla="*/ 4327 w 4327"/>
                  <a:gd name="T83" fmla="*/ 0 h 4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27" h="4392">
                    <a:moveTo>
                      <a:pt x="4327" y="0"/>
                    </a:moveTo>
                    <a:lnTo>
                      <a:pt x="2419" y="215"/>
                    </a:lnTo>
                    <a:lnTo>
                      <a:pt x="2416" y="809"/>
                    </a:lnTo>
                    <a:lnTo>
                      <a:pt x="2416" y="809"/>
                    </a:lnTo>
                    <a:lnTo>
                      <a:pt x="2419" y="786"/>
                    </a:lnTo>
                    <a:lnTo>
                      <a:pt x="2419" y="786"/>
                    </a:lnTo>
                    <a:lnTo>
                      <a:pt x="2419" y="886"/>
                    </a:lnTo>
                    <a:lnTo>
                      <a:pt x="2419" y="886"/>
                    </a:lnTo>
                    <a:lnTo>
                      <a:pt x="2419" y="886"/>
                    </a:lnTo>
                    <a:lnTo>
                      <a:pt x="2419" y="897"/>
                    </a:lnTo>
                    <a:lnTo>
                      <a:pt x="2412" y="928"/>
                    </a:lnTo>
                    <a:lnTo>
                      <a:pt x="2404" y="944"/>
                    </a:lnTo>
                    <a:lnTo>
                      <a:pt x="2392" y="963"/>
                    </a:lnTo>
                    <a:lnTo>
                      <a:pt x="2377" y="982"/>
                    </a:lnTo>
                    <a:lnTo>
                      <a:pt x="2358" y="994"/>
                    </a:lnTo>
                    <a:lnTo>
                      <a:pt x="2358" y="994"/>
                    </a:lnTo>
                    <a:lnTo>
                      <a:pt x="2323" y="1013"/>
                    </a:lnTo>
                    <a:lnTo>
                      <a:pt x="2288" y="1024"/>
                    </a:lnTo>
                    <a:lnTo>
                      <a:pt x="2219" y="1044"/>
                    </a:lnTo>
                    <a:lnTo>
                      <a:pt x="2150" y="1063"/>
                    </a:lnTo>
                    <a:lnTo>
                      <a:pt x="2080" y="1078"/>
                    </a:lnTo>
                    <a:lnTo>
                      <a:pt x="2030" y="1098"/>
                    </a:lnTo>
                    <a:lnTo>
                      <a:pt x="2030" y="1098"/>
                    </a:lnTo>
                    <a:lnTo>
                      <a:pt x="1972" y="1121"/>
                    </a:lnTo>
                    <a:lnTo>
                      <a:pt x="1972" y="1121"/>
                    </a:lnTo>
                    <a:lnTo>
                      <a:pt x="1903" y="1136"/>
                    </a:lnTo>
                    <a:lnTo>
                      <a:pt x="1838" y="1144"/>
                    </a:lnTo>
                    <a:lnTo>
                      <a:pt x="1776" y="1148"/>
                    </a:lnTo>
                    <a:lnTo>
                      <a:pt x="1776" y="1148"/>
                    </a:lnTo>
                    <a:lnTo>
                      <a:pt x="1757" y="1148"/>
                    </a:lnTo>
                    <a:lnTo>
                      <a:pt x="1757" y="1148"/>
                    </a:lnTo>
                    <a:lnTo>
                      <a:pt x="142" y="1013"/>
                    </a:lnTo>
                    <a:lnTo>
                      <a:pt x="142" y="1013"/>
                    </a:lnTo>
                    <a:lnTo>
                      <a:pt x="38" y="1005"/>
                    </a:lnTo>
                    <a:lnTo>
                      <a:pt x="0" y="4392"/>
                    </a:lnTo>
                    <a:lnTo>
                      <a:pt x="4323" y="4030"/>
                    </a:lnTo>
                    <a:lnTo>
                      <a:pt x="4323" y="4030"/>
                    </a:lnTo>
                    <a:lnTo>
                      <a:pt x="4315" y="3024"/>
                    </a:lnTo>
                    <a:lnTo>
                      <a:pt x="4315" y="2015"/>
                    </a:lnTo>
                    <a:lnTo>
                      <a:pt x="4315" y="1005"/>
                    </a:lnTo>
                    <a:lnTo>
                      <a:pt x="4323" y="504"/>
                    </a:lnTo>
                    <a:lnTo>
                      <a:pt x="4327" y="0"/>
                    </a:lnTo>
                    <a:close/>
                  </a:path>
                </a:pathLst>
              </a:custGeom>
              <a:solidFill>
                <a:srgbClr val="E8E9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21" name="Freeform 35"/>
              <p:cNvSpPr/>
              <p:nvPr/>
            </p:nvSpPr>
            <p:spPr bwMode="auto">
              <a:xfrm>
                <a:off x="1638426" y="3220514"/>
                <a:ext cx="2367762" cy="2403330"/>
              </a:xfrm>
              <a:custGeom>
                <a:avLst/>
                <a:gdLst>
                  <a:gd name="T0" fmla="*/ 4327 w 4327"/>
                  <a:gd name="T1" fmla="*/ 0 h 4392"/>
                  <a:gd name="T2" fmla="*/ 2419 w 4327"/>
                  <a:gd name="T3" fmla="*/ 215 h 4392"/>
                  <a:gd name="T4" fmla="*/ 2416 w 4327"/>
                  <a:gd name="T5" fmla="*/ 809 h 4392"/>
                  <a:gd name="T6" fmla="*/ 2416 w 4327"/>
                  <a:gd name="T7" fmla="*/ 809 h 4392"/>
                  <a:gd name="T8" fmla="*/ 2419 w 4327"/>
                  <a:gd name="T9" fmla="*/ 786 h 4392"/>
                  <a:gd name="T10" fmla="*/ 2419 w 4327"/>
                  <a:gd name="T11" fmla="*/ 786 h 4392"/>
                  <a:gd name="T12" fmla="*/ 2419 w 4327"/>
                  <a:gd name="T13" fmla="*/ 886 h 4392"/>
                  <a:gd name="T14" fmla="*/ 2419 w 4327"/>
                  <a:gd name="T15" fmla="*/ 886 h 4392"/>
                  <a:gd name="T16" fmla="*/ 2419 w 4327"/>
                  <a:gd name="T17" fmla="*/ 886 h 4392"/>
                  <a:gd name="T18" fmla="*/ 2419 w 4327"/>
                  <a:gd name="T19" fmla="*/ 897 h 4392"/>
                  <a:gd name="T20" fmla="*/ 2412 w 4327"/>
                  <a:gd name="T21" fmla="*/ 928 h 4392"/>
                  <a:gd name="T22" fmla="*/ 2404 w 4327"/>
                  <a:gd name="T23" fmla="*/ 944 h 4392"/>
                  <a:gd name="T24" fmla="*/ 2392 w 4327"/>
                  <a:gd name="T25" fmla="*/ 963 h 4392"/>
                  <a:gd name="T26" fmla="*/ 2377 w 4327"/>
                  <a:gd name="T27" fmla="*/ 982 h 4392"/>
                  <a:gd name="T28" fmla="*/ 2358 w 4327"/>
                  <a:gd name="T29" fmla="*/ 994 h 4392"/>
                  <a:gd name="T30" fmla="*/ 2358 w 4327"/>
                  <a:gd name="T31" fmla="*/ 994 h 4392"/>
                  <a:gd name="T32" fmla="*/ 2323 w 4327"/>
                  <a:gd name="T33" fmla="*/ 1013 h 4392"/>
                  <a:gd name="T34" fmla="*/ 2288 w 4327"/>
                  <a:gd name="T35" fmla="*/ 1024 h 4392"/>
                  <a:gd name="T36" fmla="*/ 2219 w 4327"/>
                  <a:gd name="T37" fmla="*/ 1044 h 4392"/>
                  <a:gd name="T38" fmla="*/ 2150 w 4327"/>
                  <a:gd name="T39" fmla="*/ 1063 h 4392"/>
                  <a:gd name="T40" fmla="*/ 2080 w 4327"/>
                  <a:gd name="T41" fmla="*/ 1078 h 4392"/>
                  <a:gd name="T42" fmla="*/ 2030 w 4327"/>
                  <a:gd name="T43" fmla="*/ 1098 h 4392"/>
                  <a:gd name="T44" fmla="*/ 2030 w 4327"/>
                  <a:gd name="T45" fmla="*/ 1098 h 4392"/>
                  <a:gd name="T46" fmla="*/ 1972 w 4327"/>
                  <a:gd name="T47" fmla="*/ 1121 h 4392"/>
                  <a:gd name="T48" fmla="*/ 1972 w 4327"/>
                  <a:gd name="T49" fmla="*/ 1121 h 4392"/>
                  <a:gd name="T50" fmla="*/ 1903 w 4327"/>
                  <a:gd name="T51" fmla="*/ 1136 h 4392"/>
                  <a:gd name="T52" fmla="*/ 1838 w 4327"/>
                  <a:gd name="T53" fmla="*/ 1144 h 4392"/>
                  <a:gd name="T54" fmla="*/ 1776 w 4327"/>
                  <a:gd name="T55" fmla="*/ 1148 h 4392"/>
                  <a:gd name="T56" fmla="*/ 1776 w 4327"/>
                  <a:gd name="T57" fmla="*/ 1148 h 4392"/>
                  <a:gd name="T58" fmla="*/ 1757 w 4327"/>
                  <a:gd name="T59" fmla="*/ 1148 h 4392"/>
                  <a:gd name="T60" fmla="*/ 1757 w 4327"/>
                  <a:gd name="T61" fmla="*/ 1148 h 4392"/>
                  <a:gd name="T62" fmla="*/ 142 w 4327"/>
                  <a:gd name="T63" fmla="*/ 1013 h 4392"/>
                  <a:gd name="T64" fmla="*/ 142 w 4327"/>
                  <a:gd name="T65" fmla="*/ 1013 h 4392"/>
                  <a:gd name="T66" fmla="*/ 38 w 4327"/>
                  <a:gd name="T67" fmla="*/ 1005 h 4392"/>
                  <a:gd name="T68" fmla="*/ 0 w 4327"/>
                  <a:gd name="T69" fmla="*/ 4392 h 4392"/>
                  <a:gd name="T70" fmla="*/ 4323 w 4327"/>
                  <a:gd name="T71" fmla="*/ 4030 h 4392"/>
                  <a:gd name="T72" fmla="*/ 4323 w 4327"/>
                  <a:gd name="T73" fmla="*/ 4030 h 4392"/>
                  <a:gd name="T74" fmla="*/ 4315 w 4327"/>
                  <a:gd name="T75" fmla="*/ 3024 h 4392"/>
                  <a:gd name="T76" fmla="*/ 4315 w 4327"/>
                  <a:gd name="T77" fmla="*/ 2015 h 4392"/>
                  <a:gd name="T78" fmla="*/ 4315 w 4327"/>
                  <a:gd name="T79" fmla="*/ 1005 h 4392"/>
                  <a:gd name="T80" fmla="*/ 4323 w 4327"/>
                  <a:gd name="T81" fmla="*/ 504 h 4392"/>
                  <a:gd name="T82" fmla="*/ 4327 w 4327"/>
                  <a:gd name="T83" fmla="*/ 0 h 4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327" h="4392">
                    <a:moveTo>
                      <a:pt x="4327" y="0"/>
                    </a:moveTo>
                    <a:lnTo>
                      <a:pt x="2419" y="215"/>
                    </a:lnTo>
                    <a:lnTo>
                      <a:pt x="2416" y="809"/>
                    </a:lnTo>
                    <a:lnTo>
                      <a:pt x="2416" y="809"/>
                    </a:lnTo>
                    <a:lnTo>
                      <a:pt x="2419" y="786"/>
                    </a:lnTo>
                    <a:lnTo>
                      <a:pt x="2419" y="786"/>
                    </a:lnTo>
                    <a:lnTo>
                      <a:pt x="2419" y="886"/>
                    </a:lnTo>
                    <a:lnTo>
                      <a:pt x="2419" y="886"/>
                    </a:lnTo>
                    <a:lnTo>
                      <a:pt x="2419" y="886"/>
                    </a:lnTo>
                    <a:lnTo>
                      <a:pt x="2419" y="897"/>
                    </a:lnTo>
                    <a:lnTo>
                      <a:pt x="2412" y="928"/>
                    </a:lnTo>
                    <a:lnTo>
                      <a:pt x="2404" y="944"/>
                    </a:lnTo>
                    <a:lnTo>
                      <a:pt x="2392" y="963"/>
                    </a:lnTo>
                    <a:lnTo>
                      <a:pt x="2377" y="982"/>
                    </a:lnTo>
                    <a:lnTo>
                      <a:pt x="2358" y="994"/>
                    </a:lnTo>
                    <a:lnTo>
                      <a:pt x="2358" y="994"/>
                    </a:lnTo>
                    <a:lnTo>
                      <a:pt x="2323" y="1013"/>
                    </a:lnTo>
                    <a:lnTo>
                      <a:pt x="2288" y="1024"/>
                    </a:lnTo>
                    <a:lnTo>
                      <a:pt x="2219" y="1044"/>
                    </a:lnTo>
                    <a:lnTo>
                      <a:pt x="2150" y="1063"/>
                    </a:lnTo>
                    <a:lnTo>
                      <a:pt x="2080" y="1078"/>
                    </a:lnTo>
                    <a:lnTo>
                      <a:pt x="2030" y="1098"/>
                    </a:lnTo>
                    <a:lnTo>
                      <a:pt x="2030" y="1098"/>
                    </a:lnTo>
                    <a:lnTo>
                      <a:pt x="1972" y="1121"/>
                    </a:lnTo>
                    <a:lnTo>
                      <a:pt x="1972" y="1121"/>
                    </a:lnTo>
                    <a:lnTo>
                      <a:pt x="1903" y="1136"/>
                    </a:lnTo>
                    <a:lnTo>
                      <a:pt x="1838" y="1144"/>
                    </a:lnTo>
                    <a:lnTo>
                      <a:pt x="1776" y="1148"/>
                    </a:lnTo>
                    <a:lnTo>
                      <a:pt x="1776" y="1148"/>
                    </a:lnTo>
                    <a:lnTo>
                      <a:pt x="1757" y="1148"/>
                    </a:lnTo>
                    <a:lnTo>
                      <a:pt x="1757" y="1148"/>
                    </a:lnTo>
                    <a:lnTo>
                      <a:pt x="142" y="1013"/>
                    </a:lnTo>
                    <a:lnTo>
                      <a:pt x="142" y="1013"/>
                    </a:lnTo>
                    <a:lnTo>
                      <a:pt x="38" y="1005"/>
                    </a:lnTo>
                    <a:lnTo>
                      <a:pt x="0" y="4392"/>
                    </a:lnTo>
                    <a:lnTo>
                      <a:pt x="4323" y="4030"/>
                    </a:lnTo>
                    <a:lnTo>
                      <a:pt x="4323" y="4030"/>
                    </a:lnTo>
                    <a:lnTo>
                      <a:pt x="4315" y="3024"/>
                    </a:lnTo>
                    <a:lnTo>
                      <a:pt x="4315" y="2015"/>
                    </a:lnTo>
                    <a:lnTo>
                      <a:pt x="4315" y="1005"/>
                    </a:lnTo>
                    <a:lnTo>
                      <a:pt x="4323" y="504"/>
                    </a:lnTo>
                    <a:lnTo>
                      <a:pt x="43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22" name="Freeform 36"/>
              <p:cNvSpPr/>
              <p:nvPr/>
            </p:nvSpPr>
            <p:spPr bwMode="auto">
              <a:xfrm>
                <a:off x="2863074" y="2083967"/>
                <a:ext cx="1161719" cy="1254197"/>
              </a:xfrm>
              <a:custGeom>
                <a:avLst/>
                <a:gdLst>
                  <a:gd name="T0" fmla="*/ 528 w 2123"/>
                  <a:gd name="T1" fmla="*/ 0 h 2292"/>
                  <a:gd name="T2" fmla="*/ 0 w 2123"/>
                  <a:gd name="T3" fmla="*/ 154 h 2292"/>
                  <a:gd name="T4" fmla="*/ 104 w 2123"/>
                  <a:gd name="T5" fmla="*/ 235 h 2292"/>
                  <a:gd name="T6" fmla="*/ 104 w 2123"/>
                  <a:gd name="T7" fmla="*/ 235 h 2292"/>
                  <a:gd name="T8" fmla="*/ 120 w 2123"/>
                  <a:gd name="T9" fmla="*/ 247 h 2292"/>
                  <a:gd name="T10" fmla="*/ 135 w 2123"/>
                  <a:gd name="T11" fmla="*/ 266 h 2292"/>
                  <a:gd name="T12" fmla="*/ 151 w 2123"/>
                  <a:gd name="T13" fmla="*/ 289 h 2292"/>
                  <a:gd name="T14" fmla="*/ 166 w 2123"/>
                  <a:gd name="T15" fmla="*/ 316 h 2292"/>
                  <a:gd name="T16" fmla="*/ 178 w 2123"/>
                  <a:gd name="T17" fmla="*/ 354 h 2292"/>
                  <a:gd name="T18" fmla="*/ 189 w 2123"/>
                  <a:gd name="T19" fmla="*/ 397 h 2292"/>
                  <a:gd name="T20" fmla="*/ 193 w 2123"/>
                  <a:gd name="T21" fmla="*/ 447 h 2292"/>
                  <a:gd name="T22" fmla="*/ 181 w 2123"/>
                  <a:gd name="T23" fmla="*/ 2292 h 2292"/>
                  <a:gd name="T24" fmla="*/ 2089 w 2123"/>
                  <a:gd name="T25" fmla="*/ 2077 h 2292"/>
                  <a:gd name="T26" fmla="*/ 2089 w 2123"/>
                  <a:gd name="T27" fmla="*/ 2077 h 2292"/>
                  <a:gd name="T28" fmla="*/ 2104 w 2123"/>
                  <a:gd name="T29" fmla="*/ 1360 h 2292"/>
                  <a:gd name="T30" fmla="*/ 2123 w 2123"/>
                  <a:gd name="T31" fmla="*/ 643 h 2292"/>
                  <a:gd name="T32" fmla="*/ 582 w 2123"/>
                  <a:gd name="T33" fmla="*/ 1106 h 2292"/>
                  <a:gd name="T34" fmla="*/ 601 w 2123"/>
                  <a:gd name="T35" fmla="*/ 4 h 2292"/>
                  <a:gd name="T36" fmla="*/ 528 w 2123"/>
                  <a:gd name="T37" fmla="*/ 0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3" h="2292">
                    <a:moveTo>
                      <a:pt x="528" y="0"/>
                    </a:moveTo>
                    <a:lnTo>
                      <a:pt x="0" y="154"/>
                    </a:lnTo>
                    <a:lnTo>
                      <a:pt x="104" y="235"/>
                    </a:lnTo>
                    <a:lnTo>
                      <a:pt x="104" y="235"/>
                    </a:lnTo>
                    <a:lnTo>
                      <a:pt x="120" y="247"/>
                    </a:lnTo>
                    <a:lnTo>
                      <a:pt x="135" y="266"/>
                    </a:lnTo>
                    <a:lnTo>
                      <a:pt x="151" y="289"/>
                    </a:lnTo>
                    <a:lnTo>
                      <a:pt x="166" y="316"/>
                    </a:lnTo>
                    <a:lnTo>
                      <a:pt x="178" y="354"/>
                    </a:lnTo>
                    <a:lnTo>
                      <a:pt x="189" y="397"/>
                    </a:lnTo>
                    <a:lnTo>
                      <a:pt x="193" y="447"/>
                    </a:lnTo>
                    <a:lnTo>
                      <a:pt x="181" y="2292"/>
                    </a:lnTo>
                    <a:lnTo>
                      <a:pt x="2089" y="2077"/>
                    </a:lnTo>
                    <a:lnTo>
                      <a:pt x="2089" y="2077"/>
                    </a:lnTo>
                    <a:lnTo>
                      <a:pt x="2104" y="1360"/>
                    </a:lnTo>
                    <a:lnTo>
                      <a:pt x="2123" y="643"/>
                    </a:lnTo>
                    <a:lnTo>
                      <a:pt x="582" y="1106"/>
                    </a:lnTo>
                    <a:lnTo>
                      <a:pt x="601" y="4"/>
                    </a:lnTo>
                    <a:lnTo>
                      <a:pt x="528" y="0"/>
                    </a:lnTo>
                    <a:close/>
                  </a:path>
                </a:pathLst>
              </a:custGeom>
              <a:solidFill>
                <a:schemeClr val="tx1">
                  <a:alpha val="10000"/>
                </a:schemeClr>
              </a:solidFill>
              <a:ln>
                <a:noFill/>
              </a:ln>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23" name="Freeform 37"/>
              <p:cNvSpPr/>
              <p:nvPr/>
            </p:nvSpPr>
            <p:spPr bwMode="auto">
              <a:xfrm>
                <a:off x="2863074" y="2083967"/>
                <a:ext cx="1161719" cy="1254197"/>
              </a:xfrm>
              <a:custGeom>
                <a:avLst/>
                <a:gdLst>
                  <a:gd name="T0" fmla="*/ 528 w 2123"/>
                  <a:gd name="T1" fmla="*/ 0 h 2292"/>
                  <a:gd name="T2" fmla="*/ 0 w 2123"/>
                  <a:gd name="T3" fmla="*/ 154 h 2292"/>
                  <a:gd name="T4" fmla="*/ 104 w 2123"/>
                  <a:gd name="T5" fmla="*/ 235 h 2292"/>
                  <a:gd name="T6" fmla="*/ 104 w 2123"/>
                  <a:gd name="T7" fmla="*/ 235 h 2292"/>
                  <a:gd name="T8" fmla="*/ 120 w 2123"/>
                  <a:gd name="T9" fmla="*/ 247 h 2292"/>
                  <a:gd name="T10" fmla="*/ 135 w 2123"/>
                  <a:gd name="T11" fmla="*/ 266 h 2292"/>
                  <a:gd name="T12" fmla="*/ 151 w 2123"/>
                  <a:gd name="T13" fmla="*/ 289 h 2292"/>
                  <a:gd name="T14" fmla="*/ 166 w 2123"/>
                  <a:gd name="T15" fmla="*/ 316 h 2292"/>
                  <a:gd name="T16" fmla="*/ 178 w 2123"/>
                  <a:gd name="T17" fmla="*/ 354 h 2292"/>
                  <a:gd name="T18" fmla="*/ 189 w 2123"/>
                  <a:gd name="T19" fmla="*/ 397 h 2292"/>
                  <a:gd name="T20" fmla="*/ 193 w 2123"/>
                  <a:gd name="T21" fmla="*/ 447 h 2292"/>
                  <a:gd name="T22" fmla="*/ 181 w 2123"/>
                  <a:gd name="T23" fmla="*/ 2292 h 2292"/>
                  <a:gd name="T24" fmla="*/ 2089 w 2123"/>
                  <a:gd name="T25" fmla="*/ 2077 h 2292"/>
                  <a:gd name="T26" fmla="*/ 2089 w 2123"/>
                  <a:gd name="T27" fmla="*/ 2077 h 2292"/>
                  <a:gd name="T28" fmla="*/ 2104 w 2123"/>
                  <a:gd name="T29" fmla="*/ 1360 h 2292"/>
                  <a:gd name="T30" fmla="*/ 2123 w 2123"/>
                  <a:gd name="T31" fmla="*/ 643 h 2292"/>
                  <a:gd name="T32" fmla="*/ 582 w 2123"/>
                  <a:gd name="T33" fmla="*/ 1106 h 2292"/>
                  <a:gd name="T34" fmla="*/ 601 w 2123"/>
                  <a:gd name="T35" fmla="*/ 4 h 2292"/>
                  <a:gd name="T36" fmla="*/ 528 w 2123"/>
                  <a:gd name="T37" fmla="*/ 0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3" h="2292">
                    <a:moveTo>
                      <a:pt x="528" y="0"/>
                    </a:moveTo>
                    <a:lnTo>
                      <a:pt x="0" y="154"/>
                    </a:lnTo>
                    <a:lnTo>
                      <a:pt x="104" y="235"/>
                    </a:lnTo>
                    <a:lnTo>
                      <a:pt x="104" y="235"/>
                    </a:lnTo>
                    <a:lnTo>
                      <a:pt x="120" y="247"/>
                    </a:lnTo>
                    <a:lnTo>
                      <a:pt x="135" y="266"/>
                    </a:lnTo>
                    <a:lnTo>
                      <a:pt x="151" y="289"/>
                    </a:lnTo>
                    <a:lnTo>
                      <a:pt x="166" y="316"/>
                    </a:lnTo>
                    <a:lnTo>
                      <a:pt x="178" y="354"/>
                    </a:lnTo>
                    <a:lnTo>
                      <a:pt x="189" y="397"/>
                    </a:lnTo>
                    <a:lnTo>
                      <a:pt x="193" y="447"/>
                    </a:lnTo>
                    <a:lnTo>
                      <a:pt x="181" y="2292"/>
                    </a:lnTo>
                    <a:lnTo>
                      <a:pt x="2089" y="2077"/>
                    </a:lnTo>
                    <a:lnTo>
                      <a:pt x="2089" y="2077"/>
                    </a:lnTo>
                    <a:lnTo>
                      <a:pt x="2104" y="1360"/>
                    </a:lnTo>
                    <a:lnTo>
                      <a:pt x="2123" y="643"/>
                    </a:lnTo>
                    <a:lnTo>
                      <a:pt x="582" y="1106"/>
                    </a:lnTo>
                    <a:lnTo>
                      <a:pt x="601" y="4"/>
                    </a:lnTo>
                    <a:lnTo>
                      <a:pt x="5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24" name="Freeform 38"/>
              <p:cNvSpPr/>
              <p:nvPr/>
            </p:nvSpPr>
            <p:spPr bwMode="auto">
              <a:xfrm>
                <a:off x="5060108" y="1139489"/>
                <a:ext cx="79892" cy="2076648"/>
              </a:xfrm>
              <a:custGeom>
                <a:avLst/>
                <a:gdLst>
                  <a:gd name="T0" fmla="*/ 146 w 146"/>
                  <a:gd name="T1" fmla="*/ 3795 h 3795"/>
                  <a:gd name="T2" fmla="*/ 139 w 146"/>
                  <a:gd name="T3" fmla="*/ 193 h 3795"/>
                  <a:gd name="T4" fmla="*/ 0 w 146"/>
                  <a:gd name="T5" fmla="*/ 0 h 3795"/>
                  <a:gd name="T6" fmla="*/ 0 w 146"/>
                  <a:gd name="T7" fmla="*/ 3583 h 3795"/>
                  <a:gd name="T8" fmla="*/ 146 w 146"/>
                  <a:gd name="T9" fmla="*/ 3795 h 3795"/>
                </a:gdLst>
                <a:ahLst/>
                <a:cxnLst>
                  <a:cxn ang="0">
                    <a:pos x="T0" y="T1"/>
                  </a:cxn>
                  <a:cxn ang="0">
                    <a:pos x="T2" y="T3"/>
                  </a:cxn>
                  <a:cxn ang="0">
                    <a:pos x="T4" y="T5"/>
                  </a:cxn>
                  <a:cxn ang="0">
                    <a:pos x="T6" y="T7"/>
                  </a:cxn>
                  <a:cxn ang="0">
                    <a:pos x="T8" y="T9"/>
                  </a:cxn>
                </a:cxnLst>
                <a:rect l="0" t="0" r="r" b="b"/>
                <a:pathLst>
                  <a:path w="146" h="3795">
                    <a:moveTo>
                      <a:pt x="146" y="3795"/>
                    </a:moveTo>
                    <a:lnTo>
                      <a:pt x="139" y="193"/>
                    </a:lnTo>
                    <a:lnTo>
                      <a:pt x="0" y="0"/>
                    </a:lnTo>
                    <a:lnTo>
                      <a:pt x="0" y="3583"/>
                    </a:lnTo>
                    <a:lnTo>
                      <a:pt x="146" y="3795"/>
                    </a:lnTo>
                    <a:close/>
                  </a:path>
                </a:pathLst>
              </a:custGeom>
              <a:gradFill flip="none" rotWithShape="1">
                <a:gsLst>
                  <a:gs pos="0">
                    <a:srgbClr val="A7A9AC">
                      <a:tint val="66000"/>
                      <a:satMod val="160000"/>
                    </a:srgbClr>
                  </a:gs>
                  <a:gs pos="50000">
                    <a:srgbClr val="A7A9AC">
                      <a:tint val="44500"/>
                      <a:satMod val="160000"/>
                    </a:srgbClr>
                  </a:gs>
                  <a:gs pos="100000">
                    <a:srgbClr val="A7A9AC">
                      <a:tint val="23500"/>
                      <a:satMod val="160000"/>
                    </a:srgbClr>
                  </a:gs>
                </a:gsLst>
                <a:lin ang="5400000" scaled="1"/>
                <a:tileRect/>
              </a:gradFill>
              <a:ln>
                <a:noFill/>
              </a:ln>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25" name="Freeform 39"/>
              <p:cNvSpPr/>
              <p:nvPr/>
            </p:nvSpPr>
            <p:spPr bwMode="auto">
              <a:xfrm>
                <a:off x="1159621" y="2039643"/>
                <a:ext cx="1809064" cy="1806875"/>
              </a:xfrm>
              <a:custGeom>
                <a:avLst/>
                <a:gdLst>
                  <a:gd name="T0" fmla="*/ 39 w 3306"/>
                  <a:gd name="T1" fmla="*/ 959 h 3302"/>
                  <a:gd name="T2" fmla="*/ 39 w 3306"/>
                  <a:gd name="T3" fmla="*/ 959 h 3302"/>
                  <a:gd name="T4" fmla="*/ 43 w 3306"/>
                  <a:gd name="T5" fmla="*/ 944 h 3302"/>
                  <a:gd name="T6" fmla="*/ 54 w 3306"/>
                  <a:gd name="T7" fmla="*/ 925 h 3302"/>
                  <a:gd name="T8" fmla="*/ 70 w 3306"/>
                  <a:gd name="T9" fmla="*/ 898 h 3302"/>
                  <a:gd name="T10" fmla="*/ 89 w 3306"/>
                  <a:gd name="T11" fmla="*/ 871 h 3302"/>
                  <a:gd name="T12" fmla="*/ 116 w 3306"/>
                  <a:gd name="T13" fmla="*/ 840 h 3302"/>
                  <a:gd name="T14" fmla="*/ 150 w 3306"/>
                  <a:gd name="T15" fmla="*/ 809 h 3302"/>
                  <a:gd name="T16" fmla="*/ 193 w 3306"/>
                  <a:gd name="T17" fmla="*/ 778 h 3302"/>
                  <a:gd name="T18" fmla="*/ 2639 w 3306"/>
                  <a:gd name="T19" fmla="*/ 12 h 3302"/>
                  <a:gd name="T20" fmla="*/ 2639 w 3306"/>
                  <a:gd name="T21" fmla="*/ 12 h 3302"/>
                  <a:gd name="T22" fmla="*/ 2659 w 3306"/>
                  <a:gd name="T23" fmla="*/ 4 h 3302"/>
                  <a:gd name="T24" fmla="*/ 2701 w 3306"/>
                  <a:gd name="T25" fmla="*/ 0 h 3302"/>
                  <a:gd name="T26" fmla="*/ 2732 w 3306"/>
                  <a:gd name="T27" fmla="*/ 0 h 3302"/>
                  <a:gd name="T28" fmla="*/ 2770 w 3306"/>
                  <a:gd name="T29" fmla="*/ 0 h 3302"/>
                  <a:gd name="T30" fmla="*/ 2805 w 3306"/>
                  <a:gd name="T31" fmla="*/ 12 h 3302"/>
                  <a:gd name="T32" fmla="*/ 2847 w 3306"/>
                  <a:gd name="T33" fmla="*/ 27 h 3302"/>
                  <a:gd name="T34" fmla="*/ 3217 w 3306"/>
                  <a:gd name="T35" fmla="*/ 316 h 3302"/>
                  <a:gd name="T36" fmla="*/ 3217 w 3306"/>
                  <a:gd name="T37" fmla="*/ 316 h 3302"/>
                  <a:gd name="T38" fmla="*/ 3233 w 3306"/>
                  <a:gd name="T39" fmla="*/ 328 h 3302"/>
                  <a:gd name="T40" fmla="*/ 3248 w 3306"/>
                  <a:gd name="T41" fmla="*/ 347 h 3302"/>
                  <a:gd name="T42" fmla="*/ 3264 w 3306"/>
                  <a:gd name="T43" fmla="*/ 370 h 3302"/>
                  <a:gd name="T44" fmla="*/ 3279 w 3306"/>
                  <a:gd name="T45" fmla="*/ 397 h 3302"/>
                  <a:gd name="T46" fmla="*/ 3291 w 3306"/>
                  <a:gd name="T47" fmla="*/ 435 h 3302"/>
                  <a:gd name="T48" fmla="*/ 3302 w 3306"/>
                  <a:gd name="T49" fmla="*/ 478 h 3302"/>
                  <a:gd name="T50" fmla="*/ 3306 w 3306"/>
                  <a:gd name="T51" fmla="*/ 528 h 3302"/>
                  <a:gd name="T52" fmla="*/ 3291 w 3306"/>
                  <a:gd name="T53" fmla="*/ 3040 h 3302"/>
                  <a:gd name="T54" fmla="*/ 3291 w 3306"/>
                  <a:gd name="T55" fmla="*/ 3040 h 3302"/>
                  <a:gd name="T56" fmla="*/ 3287 w 3306"/>
                  <a:gd name="T57" fmla="*/ 3051 h 3302"/>
                  <a:gd name="T58" fmla="*/ 3279 w 3306"/>
                  <a:gd name="T59" fmla="*/ 3082 h 3302"/>
                  <a:gd name="T60" fmla="*/ 3271 w 3306"/>
                  <a:gd name="T61" fmla="*/ 3098 h 3302"/>
                  <a:gd name="T62" fmla="*/ 3260 w 3306"/>
                  <a:gd name="T63" fmla="*/ 3117 h 3302"/>
                  <a:gd name="T64" fmla="*/ 3248 w 3306"/>
                  <a:gd name="T65" fmla="*/ 3136 h 3302"/>
                  <a:gd name="T66" fmla="*/ 3229 w 3306"/>
                  <a:gd name="T67" fmla="*/ 3148 h 3302"/>
                  <a:gd name="T68" fmla="*/ 2840 w 3306"/>
                  <a:gd name="T69" fmla="*/ 3275 h 3302"/>
                  <a:gd name="T70" fmla="*/ 2840 w 3306"/>
                  <a:gd name="T71" fmla="*/ 3275 h 3302"/>
                  <a:gd name="T72" fmla="*/ 2763 w 3306"/>
                  <a:gd name="T73" fmla="*/ 3290 h 3302"/>
                  <a:gd name="T74" fmla="*/ 2689 w 3306"/>
                  <a:gd name="T75" fmla="*/ 3298 h 3302"/>
                  <a:gd name="T76" fmla="*/ 2655 w 3306"/>
                  <a:gd name="T77" fmla="*/ 3302 h 3302"/>
                  <a:gd name="T78" fmla="*/ 2624 w 3306"/>
                  <a:gd name="T79" fmla="*/ 3302 h 3302"/>
                  <a:gd name="T80" fmla="*/ 96 w 3306"/>
                  <a:gd name="T81" fmla="*/ 3090 h 3302"/>
                  <a:gd name="T82" fmla="*/ 96 w 3306"/>
                  <a:gd name="T83" fmla="*/ 3090 h 3302"/>
                  <a:gd name="T84" fmla="*/ 85 w 3306"/>
                  <a:gd name="T85" fmla="*/ 3086 h 3302"/>
                  <a:gd name="T86" fmla="*/ 70 w 3306"/>
                  <a:gd name="T87" fmla="*/ 3078 h 3302"/>
                  <a:gd name="T88" fmla="*/ 50 w 3306"/>
                  <a:gd name="T89" fmla="*/ 3063 h 3302"/>
                  <a:gd name="T90" fmla="*/ 35 w 3306"/>
                  <a:gd name="T91" fmla="*/ 3048 h 3302"/>
                  <a:gd name="T92" fmla="*/ 16 w 3306"/>
                  <a:gd name="T93" fmla="*/ 3021 h 3302"/>
                  <a:gd name="T94" fmla="*/ 4 w 3306"/>
                  <a:gd name="T95" fmla="*/ 2986 h 3302"/>
                  <a:gd name="T96" fmla="*/ 0 w 3306"/>
                  <a:gd name="T97" fmla="*/ 2947 h 3302"/>
                  <a:gd name="T98" fmla="*/ 39 w 3306"/>
                  <a:gd name="T99" fmla="*/ 959 h 3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06" h="3302">
                    <a:moveTo>
                      <a:pt x="39" y="959"/>
                    </a:moveTo>
                    <a:lnTo>
                      <a:pt x="39" y="959"/>
                    </a:lnTo>
                    <a:lnTo>
                      <a:pt x="43" y="944"/>
                    </a:lnTo>
                    <a:lnTo>
                      <a:pt x="54" y="925"/>
                    </a:lnTo>
                    <a:lnTo>
                      <a:pt x="70" y="898"/>
                    </a:lnTo>
                    <a:lnTo>
                      <a:pt x="89" y="871"/>
                    </a:lnTo>
                    <a:lnTo>
                      <a:pt x="116" y="840"/>
                    </a:lnTo>
                    <a:lnTo>
                      <a:pt x="150" y="809"/>
                    </a:lnTo>
                    <a:lnTo>
                      <a:pt x="193" y="778"/>
                    </a:lnTo>
                    <a:lnTo>
                      <a:pt x="2639" y="12"/>
                    </a:lnTo>
                    <a:lnTo>
                      <a:pt x="2639" y="12"/>
                    </a:lnTo>
                    <a:lnTo>
                      <a:pt x="2659" y="4"/>
                    </a:lnTo>
                    <a:lnTo>
                      <a:pt x="2701" y="0"/>
                    </a:lnTo>
                    <a:lnTo>
                      <a:pt x="2732" y="0"/>
                    </a:lnTo>
                    <a:lnTo>
                      <a:pt x="2770" y="0"/>
                    </a:lnTo>
                    <a:lnTo>
                      <a:pt x="2805" y="12"/>
                    </a:lnTo>
                    <a:lnTo>
                      <a:pt x="2847" y="27"/>
                    </a:lnTo>
                    <a:lnTo>
                      <a:pt x="3217" y="316"/>
                    </a:lnTo>
                    <a:lnTo>
                      <a:pt x="3217" y="316"/>
                    </a:lnTo>
                    <a:lnTo>
                      <a:pt x="3233" y="328"/>
                    </a:lnTo>
                    <a:lnTo>
                      <a:pt x="3248" y="347"/>
                    </a:lnTo>
                    <a:lnTo>
                      <a:pt x="3264" y="370"/>
                    </a:lnTo>
                    <a:lnTo>
                      <a:pt x="3279" y="397"/>
                    </a:lnTo>
                    <a:lnTo>
                      <a:pt x="3291" y="435"/>
                    </a:lnTo>
                    <a:lnTo>
                      <a:pt x="3302" y="478"/>
                    </a:lnTo>
                    <a:lnTo>
                      <a:pt x="3306" y="528"/>
                    </a:lnTo>
                    <a:lnTo>
                      <a:pt x="3291" y="3040"/>
                    </a:lnTo>
                    <a:lnTo>
                      <a:pt x="3291" y="3040"/>
                    </a:lnTo>
                    <a:lnTo>
                      <a:pt x="3287" y="3051"/>
                    </a:lnTo>
                    <a:lnTo>
                      <a:pt x="3279" y="3082"/>
                    </a:lnTo>
                    <a:lnTo>
                      <a:pt x="3271" y="3098"/>
                    </a:lnTo>
                    <a:lnTo>
                      <a:pt x="3260" y="3117"/>
                    </a:lnTo>
                    <a:lnTo>
                      <a:pt x="3248" y="3136"/>
                    </a:lnTo>
                    <a:lnTo>
                      <a:pt x="3229" y="3148"/>
                    </a:lnTo>
                    <a:lnTo>
                      <a:pt x="2840" y="3275"/>
                    </a:lnTo>
                    <a:lnTo>
                      <a:pt x="2840" y="3275"/>
                    </a:lnTo>
                    <a:lnTo>
                      <a:pt x="2763" y="3290"/>
                    </a:lnTo>
                    <a:lnTo>
                      <a:pt x="2689" y="3298"/>
                    </a:lnTo>
                    <a:lnTo>
                      <a:pt x="2655" y="3302"/>
                    </a:lnTo>
                    <a:lnTo>
                      <a:pt x="2624" y="3302"/>
                    </a:lnTo>
                    <a:lnTo>
                      <a:pt x="96" y="3090"/>
                    </a:lnTo>
                    <a:lnTo>
                      <a:pt x="96" y="3090"/>
                    </a:lnTo>
                    <a:lnTo>
                      <a:pt x="85" y="3086"/>
                    </a:lnTo>
                    <a:lnTo>
                      <a:pt x="70" y="3078"/>
                    </a:lnTo>
                    <a:lnTo>
                      <a:pt x="50" y="3063"/>
                    </a:lnTo>
                    <a:lnTo>
                      <a:pt x="35" y="3048"/>
                    </a:lnTo>
                    <a:lnTo>
                      <a:pt x="16" y="3021"/>
                    </a:lnTo>
                    <a:lnTo>
                      <a:pt x="4" y="2986"/>
                    </a:lnTo>
                    <a:lnTo>
                      <a:pt x="0" y="2947"/>
                    </a:lnTo>
                    <a:lnTo>
                      <a:pt x="39" y="959"/>
                    </a:lnTo>
                    <a:close/>
                  </a:path>
                </a:pathLst>
              </a:custGeom>
              <a:solidFill>
                <a:schemeClr val="accent4">
                  <a:lumMod val="75000"/>
                </a:schemeClr>
              </a:solidFill>
              <a:ln>
                <a:noFill/>
              </a:ln>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26" name="Freeform 40"/>
              <p:cNvSpPr/>
              <p:nvPr/>
            </p:nvSpPr>
            <p:spPr bwMode="auto">
              <a:xfrm>
                <a:off x="1159621" y="2039643"/>
                <a:ext cx="1809064" cy="1806875"/>
              </a:xfrm>
              <a:custGeom>
                <a:avLst/>
                <a:gdLst>
                  <a:gd name="T0" fmla="*/ 39 w 3306"/>
                  <a:gd name="T1" fmla="*/ 959 h 3302"/>
                  <a:gd name="T2" fmla="*/ 39 w 3306"/>
                  <a:gd name="T3" fmla="*/ 959 h 3302"/>
                  <a:gd name="T4" fmla="*/ 43 w 3306"/>
                  <a:gd name="T5" fmla="*/ 944 h 3302"/>
                  <a:gd name="T6" fmla="*/ 54 w 3306"/>
                  <a:gd name="T7" fmla="*/ 925 h 3302"/>
                  <a:gd name="T8" fmla="*/ 70 w 3306"/>
                  <a:gd name="T9" fmla="*/ 898 h 3302"/>
                  <a:gd name="T10" fmla="*/ 89 w 3306"/>
                  <a:gd name="T11" fmla="*/ 871 h 3302"/>
                  <a:gd name="T12" fmla="*/ 116 w 3306"/>
                  <a:gd name="T13" fmla="*/ 840 h 3302"/>
                  <a:gd name="T14" fmla="*/ 150 w 3306"/>
                  <a:gd name="T15" fmla="*/ 809 h 3302"/>
                  <a:gd name="T16" fmla="*/ 193 w 3306"/>
                  <a:gd name="T17" fmla="*/ 778 h 3302"/>
                  <a:gd name="T18" fmla="*/ 2639 w 3306"/>
                  <a:gd name="T19" fmla="*/ 12 h 3302"/>
                  <a:gd name="T20" fmla="*/ 2639 w 3306"/>
                  <a:gd name="T21" fmla="*/ 12 h 3302"/>
                  <a:gd name="T22" fmla="*/ 2659 w 3306"/>
                  <a:gd name="T23" fmla="*/ 4 h 3302"/>
                  <a:gd name="T24" fmla="*/ 2701 w 3306"/>
                  <a:gd name="T25" fmla="*/ 0 h 3302"/>
                  <a:gd name="T26" fmla="*/ 2732 w 3306"/>
                  <a:gd name="T27" fmla="*/ 0 h 3302"/>
                  <a:gd name="T28" fmla="*/ 2770 w 3306"/>
                  <a:gd name="T29" fmla="*/ 0 h 3302"/>
                  <a:gd name="T30" fmla="*/ 2805 w 3306"/>
                  <a:gd name="T31" fmla="*/ 12 h 3302"/>
                  <a:gd name="T32" fmla="*/ 2847 w 3306"/>
                  <a:gd name="T33" fmla="*/ 27 h 3302"/>
                  <a:gd name="T34" fmla="*/ 3217 w 3306"/>
                  <a:gd name="T35" fmla="*/ 316 h 3302"/>
                  <a:gd name="T36" fmla="*/ 3217 w 3306"/>
                  <a:gd name="T37" fmla="*/ 316 h 3302"/>
                  <a:gd name="T38" fmla="*/ 3233 w 3306"/>
                  <a:gd name="T39" fmla="*/ 328 h 3302"/>
                  <a:gd name="T40" fmla="*/ 3248 w 3306"/>
                  <a:gd name="T41" fmla="*/ 347 h 3302"/>
                  <a:gd name="T42" fmla="*/ 3264 w 3306"/>
                  <a:gd name="T43" fmla="*/ 370 h 3302"/>
                  <a:gd name="T44" fmla="*/ 3279 w 3306"/>
                  <a:gd name="T45" fmla="*/ 397 h 3302"/>
                  <a:gd name="T46" fmla="*/ 3291 w 3306"/>
                  <a:gd name="T47" fmla="*/ 435 h 3302"/>
                  <a:gd name="T48" fmla="*/ 3302 w 3306"/>
                  <a:gd name="T49" fmla="*/ 478 h 3302"/>
                  <a:gd name="T50" fmla="*/ 3306 w 3306"/>
                  <a:gd name="T51" fmla="*/ 528 h 3302"/>
                  <a:gd name="T52" fmla="*/ 3291 w 3306"/>
                  <a:gd name="T53" fmla="*/ 3040 h 3302"/>
                  <a:gd name="T54" fmla="*/ 3291 w 3306"/>
                  <a:gd name="T55" fmla="*/ 3040 h 3302"/>
                  <a:gd name="T56" fmla="*/ 3287 w 3306"/>
                  <a:gd name="T57" fmla="*/ 3051 h 3302"/>
                  <a:gd name="T58" fmla="*/ 3279 w 3306"/>
                  <a:gd name="T59" fmla="*/ 3082 h 3302"/>
                  <a:gd name="T60" fmla="*/ 3271 w 3306"/>
                  <a:gd name="T61" fmla="*/ 3098 h 3302"/>
                  <a:gd name="T62" fmla="*/ 3260 w 3306"/>
                  <a:gd name="T63" fmla="*/ 3117 h 3302"/>
                  <a:gd name="T64" fmla="*/ 3248 w 3306"/>
                  <a:gd name="T65" fmla="*/ 3136 h 3302"/>
                  <a:gd name="T66" fmla="*/ 3229 w 3306"/>
                  <a:gd name="T67" fmla="*/ 3148 h 3302"/>
                  <a:gd name="T68" fmla="*/ 2840 w 3306"/>
                  <a:gd name="T69" fmla="*/ 3275 h 3302"/>
                  <a:gd name="T70" fmla="*/ 2840 w 3306"/>
                  <a:gd name="T71" fmla="*/ 3275 h 3302"/>
                  <a:gd name="T72" fmla="*/ 2763 w 3306"/>
                  <a:gd name="T73" fmla="*/ 3290 h 3302"/>
                  <a:gd name="T74" fmla="*/ 2689 w 3306"/>
                  <a:gd name="T75" fmla="*/ 3298 h 3302"/>
                  <a:gd name="T76" fmla="*/ 2655 w 3306"/>
                  <a:gd name="T77" fmla="*/ 3302 h 3302"/>
                  <a:gd name="T78" fmla="*/ 2624 w 3306"/>
                  <a:gd name="T79" fmla="*/ 3302 h 3302"/>
                  <a:gd name="T80" fmla="*/ 96 w 3306"/>
                  <a:gd name="T81" fmla="*/ 3090 h 3302"/>
                  <a:gd name="T82" fmla="*/ 96 w 3306"/>
                  <a:gd name="T83" fmla="*/ 3090 h 3302"/>
                  <a:gd name="T84" fmla="*/ 85 w 3306"/>
                  <a:gd name="T85" fmla="*/ 3086 h 3302"/>
                  <a:gd name="T86" fmla="*/ 70 w 3306"/>
                  <a:gd name="T87" fmla="*/ 3078 h 3302"/>
                  <a:gd name="T88" fmla="*/ 50 w 3306"/>
                  <a:gd name="T89" fmla="*/ 3063 h 3302"/>
                  <a:gd name="T90" fmla="*/ 35 w 3306"/>
                  <a:gd name="T91" fmla="*/ 3048 h 3302"/>
                  <a:gd name="T92" fmla="*/ 16 w 3306"/>
                  <a:gd name="T93" fmla="*/ 3021 h 3302"/>
                  <a:gd name="T94" fmla="*/ 4 w 3306"/>
                  <a:gd name="T95" fmla="*/ 2986 h 3302"/>
                  <a:gd name="T96" fmla="*/ 0 w 3306"/>
                  <a:gd name="T97" fmla="*/ 2947 h 3302"/>
                  <a:gd name="T98" fmla="*/ 39 w 3306"/>
                  <a:gd name="T99" fmla="*/ 959 h 3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306" h="3302">
                    <a:moveTo>
                      <a:pt x="39" y="959"/>
                    </a:moveTo>
                    <a:lnTo>
                      <a:pt x="39" y="959"/>
                    </a:lnTo>
                    <a:lnTo>
                      <a:pt x="43" y="944"/>
                    </a:lnTo>
                    <a:lnTo>
                      <a:pt x="54" y="925"/>
                    </a:lnTo>
                    <a:lnTo>
                      <a:pt x="70" y="898"/>
                    </a:lnTo>
                    <a:lnTo>
                      <a:pt x="89" y="871"/>
                    </a:lnTo>
                    <a:lnTo>
                      <a:pt x="116" y="840"/>
                    </a:lnTo>
                    <a:lnTo>
                      <a:pt x="150" y="809"/>
                    </a:lnTo>
                    <a:lnTo>
                      <a:pt x="193" y="778"/>
                    </a:lnTo>
                    <a:lnTo>
                      <a:pt x="2639" y="12"/>
                    </a:lnTo>
                    <a:lnTo>
                      <a:pt x="2639" y="12"/>
                    </a:lnTo>
                    <a:lnTo>
                      <a:pt x="2659" y="4"/>
                    </a:lnTo>
                    <a:lnTo>
                      <a:pt x="2701" y="0"/>
                    </a:lnTo>
                    <a:lnTo>
                      <a:pt x="2732" y="0"/>
                    </a:lnTo>
                    <a:lnTo>
                      <a:pt x="2770" y="0"/>
                    </a:lnTo>
                    <a:lnTo>
                      <a:pt x="2805" y="12"/>
                    </a:lnTo>
                    <a:lnTo>
                      <a:pt x="2847" y="27"/>
                    </a:lnTo>
                    <a:lnTo>
                      <a:pt x="3217" y="316"/>
                    </a:lnTo>
                    <a:lnTo>
                      <a:pt x="3217" y="316"/>
                    </a:lnTo>
                    <a:lnTo>
                      <a:pt x="3233" y="328"/>
                    </a:lnTo>
                    <a:lnTo>
                      <a:pt x="3248" y="347"/>
                    </a:lnTo>
                    <a:lnTo>
                      <a:pt x="3264" y="370"/>
                    </a:lnTo>
                    <a:lnTo>
                      <a:pt x="3279" y="397"/>
                    </a:lnTo>
                    <a:lnTo>
                      <a:pt x="3291" y="435"/>
                    </a:lnTo>
                    <a:lnTo>
                      <a:pt x="3302" y="478"/>
                    </a:lnTo>
                    <a:lnTo>
                      <a:pt x="3306" y="528"/>
                    </a:lnTo>
                    <a:lnTo>
                      <a:pt x="3291" y="3040"/>
                    </a:lnTo>
                    <a:lnTo>
                      <a:pt x="3291" y="3040"/>
                    </a:lnTo>
                    <a:lnTo>
                      <a:pt x="3287" y="3051"/>
                    </a:lnTo>
                    <a:lnTo>
                      <a:pt x="3279" y="3082"/>
                    </a:lnTo>
                    <a:lnTo>
                      <a:pt x="3271" y="3098"/>
                    </a:lnTo>
                    <a:lnTo>
                      <a:pt x="3260" y="3117"/>
                    </a:lnTo>
                    <a:lnTo>
                      <a:pt x="3248" y="3136"/>
                    </a:lnTo>
                    <a:lnTo>
                      <a:pt x="3229" y="3148"/>
                    </a:lnTo>
                    <a:lnTo>
                      <a:pt x="2840" y="3275"/>
                    </a:lnTo>
                    <a:lnTo>
                      <a:pt x="2840" y="3275"/>
                    </a:lnTo>
                    <a:lnTo>
                      <a:pt x="2763" y="3290"/>
                    </a:lnTo>
                    <a:lnTo>
                      <a:pt x="2689" y="3298"/>
                    </a:lnTo>
                    <a:lnTo>
                      <a:pt x="2655" y="3302"/>
                    </a:lnTo>
                    <a:lnTo>
                      <a:pt x="2624" y="3302"/>
                    </a:lnTo>
                    <a:lnTo>
                      <a:pt x="96" y="3090"/>
                    </a:lnTo>
                    <a:lnTo>
                      <a:pt x="96" y="3090"/>
                    </a:lnTo>
                    <a:lnTo>
                      <a:pt x="85" y="3086"/>
                    </a:lnTo>
                    <a:lnTo>
                      <a:pt x="70" y="3078"/>
                    </a:lnTo>
                    <a:lnTo>
                      <a:pt x="50" y="3063"/>
                    </a:lnTo>
                    <a:lnTo>
                      <a:pt x="35" y="3048"/>
                    </a:lnTo>
                    <a:lnTo>
                      <a:pt x="16" y="3021"/>
                    </a:lnTo>
                    <a:lnTo>
                      <a:pt x="4" y="2986"/>
                    </a:lnTo>
                    <a:lnTo>
                      <a:pt x="0" y="2947"/>
                    </a:lnTo>
                    <a:lnTo>
                      <a:pt x="39" y="95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en-US" sz="1600">
                  <a:latin typeface="Calibri"/>
                  <a:ea typeface="微软雅黑"/>
                  <a:cs typeface="+mn-ea"/>
                  <a:sym typeface="Calibri"/>
                </a:endParaRPr>
              </a:p>
            </p:txBody>
          </p:sp>
          <p:sp>
            <p:nvSpPr>
              <p:cNvPr id="27" name="Freeform 56"/>
              <p:cNvSpPr/>
              <p:nvPr/>
            </p:nvSpPr>
            <p:spPr bwMode="auto">
              <a:xfrm>
                <a:off x="1104899" y="1982734"/>
                <a:ext cx="4642499" cy="4321835"/>
              </a:xfrm>
              <a:custGeom>
                <a:avLst/>
                <a:gdLst>
                  <a:gd name="T0" fmla="*/ 65 w 8484"/>
                  <a:gd name="T1" fmla="*/ 1248 h 7898"/>
                  <a:gd name="T2" fmla="*/ 65 w 8484"/>
                  <a:gd name="T3" fmla="*/ 1194 h 7898"/>
                  <a:gd name="T4" fmla="*/ 77 w 8484"/>
                  <a:gd name="T5" fmla="*/ 1137 h 7898"/>
                  <a:gd name="T6" fmla="*/ 104 w 8484"/>
                  <a:gd name="T7" fmla="*/ 1067 h 7898"/>
                  <a:gd name="T8" fmla="*/ 150 w 8484"/>
                  <a:gd name="T9" fmla="*/ 990 h 7898"/>
                  <a:gd name="T10" fmla="*/ 220 w 8484"/>
                  <a:gd name="T11" fmla="*/ 917 h 7898"/>
                  <a:gd name="T12" fmla="*/ 324 w 8484"/>
                  <a:gd name="T13" fmla="*/ 844 h 7898"/>
                  <a:gd name="T14" fmla="*/ 462 w 8484"/>
                  <a:gd name="T15" fmla="*/ 786 h 7898"/>
                  <a:gd name="T16" fmla="*/ 2843 w 8484"/>
                  <a:gd name="T17" fmla="*/ 116 h 7898"/>
                  <a:gd name="T18" fmla="*/ 6773 w 8484"/>
                  <a:gd name="T19" fmla="*/ 31 h 7898"/>
                  <a:gd name="T20" fmla="*/ 6820 w 8484"/>
                  <a:gd name="T21" fmla="*/ 19 h 7898"/>
                  <a:gd name="T22" fmla="*/ 6935 w 8484"/>
                  <a:gd name="T23" fmla="*/ 4 h 7898"/>
                  <a:gd name="T24" fmla="*/ 7058 w 8484"/>
                  <a:gd name="T25" fmla="*/ 4 h 7898"/>
                  <a:gd name="T26" fmla="*/ 7151 w 8484"/>
                  <a:gd name="T27" fmla="*/ 19 h 7898"/>
                  <a:gd name="T28" fmla="*/ 7251 w 8484"/>
                  <a:gd name="T29" fmla="*/ 50 h 7898"/>
                  <a:gd name="T30" fmla="*/ 8260 w 8484"/>
                  <a:gd name="T31" fmla="*/ 817 h 7898"/>
                  <a:gd name="T32" fmla="*/ 8272 w 8484"/>
                  <a:gd name="T33" fmla="*/ 821 h 7898"/>
                  <a:gd name="T34" fmla="*/ 8334 w 8484"/>
                  <a:gd name="T35" fmla="*/ 851 h 7898"/>
                  <a:gd name="T36" fmla="*/ 8376 w 8484"/>
                  <a:gd name="T37" fmla="*/ 886 h 7898"/>
                  <a:gd name="T38" fmla="*/ 8418 w 8484"/>
                  <a:gd name="T39" fmla="*/ 936 h 7898"/>
                  <a:gd name="T40" fmla="*/ 8457 w 8484"/>
                  <a:gd name="T41" fmla="*/ 1002 h 7898"/>
                  <a:gd name="T42" fmla="*/ 8480 w 8484"/>
                  <a:gd name="T43" fmla="*/ 1090 h 7898"/>
                  <a:gd name="T44" fmla="*/ 8484 w 8484"/>
                  <a:gd name="T45" fmla="*/ 1202 h 7898"/>
                  <a:gd name="T46" fmla="*/ 8442 w 8484"/>
                  <a:gd name="T47" fmla="*/ 7228 h 7898"/>
                  <a:gd name="T48" fmla="*/ 8430 w 8484"/>
                  <a:gd name="T49" fmla="*/ 7289 h 7898"/>
                  <a:gd name="T50" fmla="*/ 8395 w 8484"/>
                  <a:gd name="T51" fmla="*/ 7378 h 7898"/>
                  <a:gd name="T52" fmla="*/ 8349 w 8484"/>
                  <a:gd name="T53" fmla="*/ 7447 h 7898"/>
                  <a:gd name="T54" fmla="*/ 8307 w 8484"/>
                  <a:gd name="T55" fmla="*/ 7486 h 7898"/>
                  <a:gd name="T56" fmla="*/ 7290 w 8484"/>
                  <a:gd name="T57" fmla="*/ 7829 h 7898"/>
                  <a:gd name="T58" fmla="*/ 7232 w 8484"/>
                  <a:gd name="T59" fmla="*/ 7844 h 7898"/>
                  <a:gd name="T60" fmla="*/ 6997 w 8484"/>
                  <a:gd name="T61" fmla="*/ 7883 h 7898"/>
                  <a:gd name="T62" fmla="*/ 6816 w 8484"/>
                  <a:gd name="T63" fmla="*/ 7898 h 7898"/>
                  <a:gd name="T64" fmla="*/ 250 w 8484"/>
                  <a:gd name="T65" fmla="*/ 7355 h 7898"/>
                  <a:gd name="T66" fmla="*/ 239 w 8484"/>
                  <a:gd name="T67" fmla="*/ 7351 h 7898"/>
                  <a:gd name="T68" fmla="*/ 173 w 8484"/>
                  <a:gd name="T69" fmla="*/ 7320 h 7898"/>
                  <a:gd name="T70" fmla="*/ 131 w 8484"/>
                  <a:gd name="T71" fmla="*/ 7289 h 7898"/>
                  <a:gd name="T72" fmla="*/ 85 w 8484"/>
                  <a:gd name="T73" fmla="*/ 7239 h 7898"/>
                  <a:gd name="T74" fmla="*/ 42 w 8484"/>
                  <a:gd name="T75" fmla="*/ 7174 h 7898"/>
                  <a:gd name="T76" fmla="*/ 12 w 8484"/>
                  <a:gd name="T77" fmla="*/ 7089 h 7898"/>
                  <a:gd name="T78" fmla="*/ 0 w 8484"/>
                  <a:gd name="T79" fmla="*/ 6985 h 7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484" h="7898">
                    <a:moveTo>
                      <a:pt x="65" y="1248"/>
                    </a:moveTo>
                    <a:lnTo>
                      <a:pt x="65" y="1248"/>
                    </a:lnTo>
                    <a:lnTo>
                      <a:pt x="65" y="1237"/>
                    </a:lnTo>
                    <a:lnTo>
                      <a:pt x="65" y="1194"/>
                    </a:lnTo>
                    <a:lnTo>
                      <a:pt x="73" y="1167"/>
                    </a:lnTo>
                    <a:lnTo>
                      <a:pt x="77" y="1137"/>
                    </a:lnTo>
                    <a:lnTo>
                      <a:pt x="89" y="1106"/>
                    </a:lnTo>
                    <a:lnTo>
                      <a:pt x="104" y="1067"/>
                    </a:lnTo>
                    <a:lnTo>
                      <a:pt x="123" y="1029"/>
                    </a:lnTo>
                    <a:lnTo>
                      <a:pt x="150" y="990"/>
                    </a:lnTo>
                    <a:lnTo>
                      <a:pt x="181" y="952"/>
                    </a:lnTo>
                    <a:lnTo>
                      <a:pt x="220" y="917"/>
                    </a:lnTo>
                    <a:lnTo>
                      <a:pt x="270" y="878"/>
                    </a:lnTo>
                    <a:lnTo>
                      <a:pt x="324" y="844"/>
                    </a:lnTo>
                    <a:lnTo>
                      <a:pt x="389" y="813"/>
                    </a:lnTo>
                    <a:lnTo>
                      <a:pt x="462" y="786"/>
                    </a:lnTo>
                    <a:lnTo>
                      <a:pt x="2770" y="112"/>
                    </a:lnTo>
                    <a:lnTo>
                      <a:pt x="2843" y="116"/>
                    </a:lnTo>
                    <a:lnTo>
                      <a:pt x="2824" y="1217"/>
                    </a:lnTo>
                    <a:lnTo>
                      <a:pt x="6773" y="31"/>
                    </a:lnTo>
                    <a:lnTo>
                      <a:pt x="6773" y="31"/>
                    </a:lnTo>
                    <a:lnTo>
                      <a:pt x="6820" y="19"/>
                    </a:lnTo>
                    <a:lnTo>
                      <a:pt x="6870" y="12"/>
                    </a:lnTo>
                    <a:lnTo>
                      <a:pt x="6935" y="4"/>
                    </a:lnTo>
                    <a:lnTo>
                      <a:pt x="7016" y="0"/>
                    </a:lnTo>
                    <a:lnTo>
                      <a:pt x="7058" y="4"/>
                    </a:lnTo>
                    <a:lnTo>
                      <a:pt x="7105" y="12"/>
                    </a:lnTo>
                    <a:lnTo>
                      <a:pt x="7151" y="19"/>
                    </a:lnTo>
                    <a:lnTo>
                      <a:pt x="7201" y="31"/>
                    </a:lnTo>
                    <a:lnTo>
                      <a:pt x="7251" y="50"/>
                    </a:lnTo>
                    <a:lnTo>
                      <a:pt x="7305" y="73"/>
                    </a:lnTo>
                    <a:lnTo>
                      <a:pt x="8260" y="817"/>
                    </a:lnTo>
                    <a:lnTo>
                      <a:pt x="8260" y="817"/>
                    </a:lnTo>
                    <a:lnTo>
                      <a:pt x="8272" y="821"/>
                    </a:lnTo>
                    <a:lnTo>
                      <a:pt x="8299" y="832"/>
                    </a:lnTo>
                    <a:lnTo>
                      <a:pt x="8334" y="851"/>
                    </a:lnTo>
                    <a:lnTo>
                      <a:pt x="8357" y="867"/>
                    </a:lnTo>
                    <a:lnTo>
                      <a:pt x="8376" y="886"/>
                    </a:lnTo>
                    <a:lnTo>
                      <a:pt x="8399" y="909"/>
                    </a:lnTo>
                    <a:lnTo>
                      <a:pt x="8418" y="936"/>
                    </a:lnTo>
                    <a:lnTo>
                      <a:pt x="8438" y="967"/>
                    </a:lnTo>
                    <a:lnTo>
                      <a:pt x="8457" y="1002"/>
                    </a:lnTo>
                    <a:lnTo>
                      <a:pt x="8469" y="1044"/>
                    </a:lnTo>
                    <a:lnTo>
                      <a:pt x="8480" y="1090"/>
                    </a:lnTo>
                    <a:lnTo>
                      <a:pt x="8484" y="1144"/>
                    </a:lnTo>
                    <a:lnTo>
                      <a:pt x="8484" y="1202"/>
                    </a:lnTo>
                    <a:lnTo>
                      <a:pt x="8442" y="7228"/>
                    </a:lnTo>
                    <a:lnTo>
                      <a:pt x="8442" y="7228"/>
                    </a:lnTo>
                    <a:lnTo>
                      <a:pt x="8434" y="7259"/>
                    </a:lnTo>
                    <a:lnTo>
                      <a:pt x="8430" y="7289"/>
                    </a:lnTo>
                    <a:lnTo>
                      <a:pt x="8415" y="7332"/>
                    </a:lnTo>
                    <a:lnTo>
                      <a:pt x="8395" y="7378"/>
                    </a:lnTo>
                    <a:lnTo>
                      <a:pt x="8368" y="7424"/>
                    </a:lnTo>
                    <a:lnTo>
                      <a:pt x="8349" y="7447"/>
                    </a:lnTo>
                    <a:lnTo>
                      <a:pt x="8330" y="7467"/>
                    </a:lnTo>
                    <a:lnTo>
                      <a:pt x="8307" y="7486"/>
                    </a:lnTo>
                    <a:lnTo>
                      <a:pt x="8280" y="7505"/>
                    </a:lnTo>
                    <a:lnTo>
                      <a:pt x="7290" y="7829"/>
                    </a:lnTo>
                    <a:lnTo>
                      <a:pt x="7290" y="7829"/>
                    </a:lnTo>
                    <a:lnTo>
                      <a:pt x="7232" y="7844"/>
                    </a:lnTo>
                    <a:lnTo>
                      <a:pt x="7089" y="7867"/>
                    </a:lnTo>
                    <a:lnTo>
                      <a:pt x="6997" y="7883"/>
                    </a:lnTo>
                    <a:lnTo>
                      <a:pt x="6904" y="7890"/>
                    </a:lnTo>
                    <a:lnTo>
                      <a:pt x="6816" y="7898"/>
                    </a:lnTo>
                    <a:lnTo>
                      <a:pt x="6735" y="7898"/>
                    </a:lnTo>
                    <a:lnTo>
                      <a:pt x="250" y="7355"/>
                    </a:lnTo>
                    <a:lnTo>
                      <a:pt x="250" y="7355"/>
                    </a:lnTo>
                    <a:lnTo>
                      <a:pt x="239" y="7351"/>
                    </a:lnTo>
                    <a:lnTo>
                      <a:pt x="212" y="7340"/>
                    </a:lnTo>
                    <a:lnTo>
                      <a:pt x="173" y="7320"/>
                    </a:lnTo>
                    <a:lnTo>
                      <a:pt x="154" y="7305"/>
                    </a:lnTo>
                    <a:lnTo>
                      <a:pt x="131" y="7289"/>
                    </a:lnTo>
                    <a:lnTo>
                      <a:pt x="108" y="7266"/>
                    </a:lnTo>
                    <a:lnTo>
                      <a:pt x="85" y="7239"/>
                    </a:lnTo>
                    <a:lnTo>
                      <a:pt x="62" y="7209"/>
                    </a:lnTo>
                    <a:lnTo>
                      <a:pt x="42" y="7174"/>
                    </a:lnTo>
                    <a:lnTo>
                      <a:pt x="27" y="7135"/>
                    </a:lnTo>
                    <a:lnTo>
                      <a:pt x="12" y="7089"/>
                    </a:lnTo>
                    <a:lnTo>
                      <a:pt x="4" y="7039"/>
                    </a:lnTo>
                    <a:lnTo>
                      <a:pt x="0" y="6985"/>
                    </a:lnTo>
                    <a:lnTo>
                      <a:pt x="65" y="1248"/>
                    </a:lnTo>
                    <a:close/>
                  </a:path>
                </a:pathLst>
              </a:custGeom>
              <a:gradFill flip="none" rotWithShape="1">
                <a:gsLst>
                  <a:gs pos="58000">
                    <a:schemeClr val="accent1"/>
                  </a:gs>
                  <a:gs pos="100000">
                    <a:schemeClr val="accent2"/>
                  </a:gs>
                </a:gsLst>
                <a:lin ang="8100000" scaled="1"/>
                <a:tileRect/>
              </a:gradFill>
              <a:ln>
                <a:noFill/>
              </a:ln>
            </p:spPr>
            <p:txBody>
              <a:bodyPr vert="horz" wrap="square" lIns="91440" tIns="45720" rIns="91440" bIns="45720" numCol="1" anchor="t" anchorCtr="0" compatLnSpc="1"/>
              <a:lstStyle/>
              <a:p>
                <a:endParaRPr lang="en-US" sz="1600">
                  <a:latin typeface="Calibri"/>
                  <a:ea typeface="微软雅黑"/>
                  <a:cs typeface="+mn-ea"/>
                  <a:sym typeface="Calibri"/>
                </a:endParaRPr>
              </a:p>
            </p:txBody>
          </p:sp>
        </p:grpSp>
        <p:sp>
          <p:nvSpPr>
            <p:cNvPr id="28" name="Oval 25"/>
            <p:cNvSpPr/>
            <p:nvPr/>
          </p:nvSpPr>
          <p:spPr>
            <a:xfrm>
              <a:off x="10498421" y="3208271"/>
              <a:ext cx="504681" cy="504681"/>
            </a:xfrm>
            <a:prstGeom prst="ellipse">
              <a:avLst/>
            </a:prstGeom>
            <a:solidFill>
              <a:schemeClr val="bg1">
                <a:lumMod val="65000"/>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Calibri"/>
                <a:ea typeface="微软雅黑"/>
                <a:cs typeface="+mn-ea"/>
                <a:sym typeface="Calibri"/>
              </a:endParaRPr>
            </a:p>
          </p:txBody>
        </p:sp>
        <p:sp>
          <p:nvSpPr>
            <p:cNvPr id="29" name="Rectangle 26"/>
            <p:cNvSpPr/>
            <p:nvPr/>
          </p:nvSpPr>
          <p:spPr>
            <a:xfrm>
              <a:off x="10432468" y="3275417"/>
              <a:ext cx="636587" cy="561523"/>
            </a:xfrm>
            <a:prstGeom prst="rect">
              <a:avLst/>
            </a:prstGeom>
          </p:spPr>
          <p:txBody>
            <a:bodyPr wrap="none">
              <a:spAutoFit/>
            </a:bodyPr>
            <a:lstStyle/>
            <a:p>
              <a:pPr algn="ctr"/>
              <a:r>
                <a:rPr lang="en-US" b="1" dirty="0">
                  <a:solidFill>
                    <a:schemeClr val="tx2">
                      <a:lumMod val="50000"/>
                    </a:schemeClr>
                  </a:solidFill>
                  <a:latin typeface="Calibri"/>
                  <a:ea typeface="微软雅黑"/>
                  <a:cs typeface="+mn-ea"/>
                  <a:sym typeface="Calibri"/>
                </a:rPr>
                <a:t>01</a:t>
              </a:r>
            </a:p>
          </p:txBody>
        </p:sp>
        <p:sp>
          <p:nvSpPr>
            <p:cNvPr id="30" name="Freeform 633"/>
            <p:cNvSpPr>
              <a:spLocks noEditPoints="1"/>
            </p:cNvSpPr>
            <p:nvPr/>
          </p:nvSpPr>
          <p:spPr bwMode="auto">
            <a:xfrm rot="5400000">
              <a:off x="10033765" y="4170351"/>
              <a:ext cx="485939" cy="485939"/>
            </a:xfrm>
            <a:custGeom>
              <a:avLst/>
              <a:gdLst>
                <a:gd name="T0" fmla="*/ 157 w 157"/>
                <a:gd name="T1" fmla="*/ 34 h 156"/>
                <a:gd name="T2" fmla="*/ 153 w 157"/>
                <a:gd name="T3" fmla="*/ 49 h 156"/>
                <a:gd name="T4" fmla="*/ 145 w 157"/>
                <a:gd name="T5" fmla="*/ 66 h 156"/>
                <a:gd name="T6" fmla="*/ 109 w 157"/>
                <a:gd name="T7" fmla="*/ 108 h 156"/>
                <a:gd name="T8" fmla="*/ 90 w 157"/>
                <a:gd name="T9" fmla="*/ 127 h 156"/>
                <a:gd name="T10" fmla="*/ 59 w 157"/>
                <a:gd name="T11" fmla="*/ 148 h 156"/>
                <a:gd name="T12" fmla="*/ 38 w 157"/>
                <a:gd name="T13" fmla="*/ 156 h 156"/>
                <a:gd name="T14" fmla="*/ 24 w 157"/>
                <a:gd name="T15" fmla="*/ 153 h 156"/>
                <a:gd name="T16" fmla="*/ 2 w 157"/>
                <a:gd name="T17" fmla="*/ 132 h 156"/>
                <a:gd name="T18" fmla="*/ 0 w 157"/>
                <a:gd name="T19" fmla="*/ 129 h 156"/>
                <a:gd name="T20" fmla="*/ 39 w 157"/>
                <a:gd name="T21" fmla="*/ 89 h 156"/>
                <a:gd name="T22" fmla="*/ 42 w 157"/>
                <a:gd name="T23" fmla="*/ 88 h 156"/>
                <a:gd name="T24" fmla="*/ 66 w 157"/>
                <a:gd name="T25" fmla="*/ 103 h 156"/>
                <a:gd name="T26" fmla="*/ 89 w 157"/>
                <a:gd name="T27" fmla="*/ 44 h 156"/>
                <a:gd name="T28" fmla="*/ 89 w 157"/>
                <a:gd name="T29" fmla="*/ 41 h 156"/>
                <a:gd name="T30" fmla="*/ 127 w 157"/>
                <a:gd name="T31" fmla="*/ 1 h 156"/>
                <a:gd name="T32" fmla="*/ 130 w 157"/>
                <a:gd name="T33" fmla="*/ 0 h 156"/>
                <a:gd name="T34" fmla="*/ 133 w 157"/>
                <a:gd name="T35" fmla="*/ 1 h 156"/>
                <a:gd name="T36" fmla="*/ 150 w 157"/>
                <a:gd name="T37" fmla="*/ 20 h 156"/>
                <a:gd name="T38" fmla="*/ 156 w 157"/>
                <a:gd name="T39" fmla="*/ 26 h 156"/>
                <a:gd name="T40" fmla="*/ 157 w 157"/>
                <a:gd name="T41" fmla="*/ 34 h 156"/>
                <a:gd name="T42" fmla="*/ 24 w 157"/>
                <a:gd name="T43" fmla="*/ 145 h 156"/>
                <a:gd name="T44" fmla="*/ 27 w 157"/>
                <a:gd name="T45" fmla="*/ 147 h 156"/>
                <a:gd name="T46" fmla="*/ 38 w 157"/>
                <a:gd name="T47" fmla="*/ 148 h 156"/>
                <a:gd name="T48" fmla="*/ 57 w 157"/>
                <a:gd name="T49" fmla="*/ 141 h 156"/>
                <a:gd name="T50" fmla="*/ 85 w 157"/>
                <a:gd name="T51" fmla="*/ 120 h 156"/>
                <a:gd name="T52" fmla="*/ 103 w 157"/>
                <a:gd name="T53" fmla="*/ 103 h 156"/>
                <a:gd name="T54" fmla="*/ 127 w 157"/>
                <a:gd name="T55" fmla="*/ 77 h 156"/>
                <a:gd name="T56" fmla="*/ 141 w 157"/>
                <a:gd name="T57" fmla="*/ 57 h 156"/>
                <a:gd name="T58" fmla="*/ 148 w 157"/>
                <a:gd name="T59" fmla="*/ 42 h 156"/>
                <a:gd name="T60" fmla="*/ 149 w 157"/>
                <a:gd name="T61" fmla="*/ 34 h 156"/>
                <a:gd name="T62" fmla="*/ 145 w 157"/>
                <a:gd name="T63" fmla="*/ 25 h 156"/>
                <a:gd name="T64" fmla="*/ 97 w 157"/>
                <a:gd name="T65" fmla="*/ 42 h 156"/>
                <a:gd name="T66" fmla="*/ 110 w 157"/>
                <a:gd name="T67" fmla="*/ 62 h 156"/>
                <a:gd name="T68" fmla="*/ 109 w 157"/>
                <a:gd name="T69" fmla="*/ 69 h 156"/>
                <a:gd name="T70" fmla="*/ 70 w 157"/>
                <a:gd name="T71" fmla="*/ 108 h 156"/>
                <a:gd name="T72" fmla="*/ 62 w 157"/>
                <a:gd name="T73" fmla="*/ 109 h 156"/>
                <a:gd name="T74" fmla="*/ 10 w 157"/>
                <a:gd name="T75" fmla="*/ 129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7" h="156">
                  <a:moveTo>
                    <a:pt x="157" y="34"/>
                  </a:moveTo>
                  <a:lnTo>
                    <a:pt x="157" y="34"/>
                  </a:lnTo>
                  <a:lnTo>
                    <a:pt x="156" y="41"/>
                  </a:lnTo>
                  <a:lnTo>
                    <a:pt x="153" y="49"/>
                  </a:lnTo>
                  <a:lnTo>
                    <a:pt x="150" y="57"/>
                  </a:lnTo>
                  <a:lnTo>
                    <a:pt x="145" y="66"/>
                  </a:lnTo>
                  <a:lnTo>
                    <a:pt x="130" y="85"/>
                  </a:lnTo>
                  <a:lnTo>
                    <a:pt x="109" y="108"/>
                  </a:lnTo>
                  <a:lnTo>
                    <a:pt x="109" y="108"/>
                  </a:lnTo>
                  <a:lnTo>
                    <a:pt x="90" y="127"/>
                  </a:lnTo>
                  <a:lnTo>
                    <a:pt x="74" y="139"/>
                  </a:lnTo>
                  <a:lnTo>
                    <a:pt x="59" y="148"/>
                  </a:lnTo>
                  <a:lnTo>
                    <a:pt x="47" y="153"/>
                  </a:lnTo>
                  <a:lnTo>
                    <a:pt x="38" y="156"/>
                  </a:lnTo>
                  <a:lnTo>
                    <a:pt x="30" y="156"/>
                  </a:lnTo>
                  <a:lnTo>
                    <a:pt x="24" y="153"/>
                  </a:lnTo>
                  <a:lnTo>
                    <a:pt x="19" y="151"/>
                  </a:lnTo>
                  <a:lnTo>
                    <a:pt x="2" y="132"/>
                  </a:lnTo>
                  <a:lnTo>
                    <a:pt x="2" y="132"/>
                  </a:lnTo>
                  <a:lnTo>
                    <a:pt x="0" y="129"/>
                  </a:lnTo>
                  <a:lnTo>
                    <a:pt x="2" y="127"/>
                  </a:lnTo>
                  <a:lnTo>
                    <a:pt x="39" y="89"/>
                  </a:lnTo>
                  <a:lnTo>
                    <a:pt x="39" y="89"/>
                  </a:lnTo>
                  <a:lnTo>
                    <a:pt x="42" y="88"/>
                  </a:lnTo>
                  <a:lnTo>
                    <a:pt x="45" y="89"/>
                  </a:lnTo>
                  <a:lnTo>
                    <a:pt x="66" y="103"/>
                  </a:lnTo>
                  <a:lnTo>
                    <a:pt x="102" y="65"/>
                  </a:lnTo>
                  <a:lnTo>
                    <a:pt x="89" y="44"/>
                  </a:lnTo>
                  <a:lnTo>
                    <a:pt x="89" y="44"/>
                  </a:lnTo>
                  <a:lnTo>
                    <a:pt x="89" y="41"/>
                  </a:lnTo>
                  <a:lnTo>
                    <a:pt x="90" y="40"/>
                  </a:lnTo>
                  <a:lnTo>
                    <a:pt x="127" y="1"/>
                  </a:lnTo>
                  <a:lnTo>
                    <a:pt x="127" y="1"/>
                  </a:lnTo>
                  <a:lnTo>
                    <a:pt x="130" y="0"/>
                  </a:lnTo>
                  <a:lnTo>
                    <a:pt x="130" y="0"/>
                  </a:lnTo>
                  <a:lnTo>
                    <a:pt x="133" y="1"/>
                  </a:lnTo>
                  <a:lnTo>
                    <a:pt x="150" y="20"/>
                  </a:lnTo>
                  <a:lnTo>
                    <a:pt x="150" y="20"/>
                  </a:lnTo>
                  <a:lnTo>
                    <a:pt x="153" y="22"/>
                  </a:lnTo>
                  <a:lnTo>
                    <a:pt x="156" y="26"/>
                  </a:lnTo>
                  <a:lnTo>
                    <a:pt x="157" y="34"/>
                  </a:lnTo>
                  <a:lnTo>
                    <a:pt x="157" y="34"/>
                  </a:lnTo>
                  <a:close/>
                  <a:moveTo>
                    <a:pt x="10" y="129"/>
                  </a:moveTo>
                  <a:lnTo>
                    <a:pt x="24" y="145"/>
                  </a:lnTo>
                  <a:lnTo>
                    <a:pt x="24" y="145"/>
                  </a:lnTo>
                  <a:lnTo>
                    <a:pt x="27" y="147"/>
                  </a:lnTo>
                  <a:lnTo>
                    <a:pt x="31" y="148"/>
                  </a:lnTo>
                  <a:lnTo>
                    <a:pt x="38" y="148"/>
                  </a:lnTo>
                  <a:lnTo>
                    <a:pt x="46" y="147"/>
                  </a:lnTo>
                  <a:lnTo>
                    <a:pt x="57" y="141"/>
                  </a:lnTo>
                  <a:lnTo>
                    <a:pt x="69" y="133"/>
                  </a:lnTo>
                  <a:lnTo>
                    <a:pt x="85" y="120"/>
                  </a:lnTo>
                  <a:lnTo>
                    <a:pt x="103" y="103"/>
                  </a:lnTo>
                  <a:lnTo>
                    <a:pt x="103" y="103"/>
                  </a:lnTo>
                  <a:lnTo>
                    <a:pt x="117" y="89"/>
                  </a:lnTo>
                  <a:lnTo>
                    <a:pt x="127" y="77"/>
                  </a:lnTo>
                  <a:lnTo>
                    <a:pt x="135" y="66"/>
                  </a:lnTo>
                  <a:lnTo>
                    <a:pt x="141" y="57"/>
                  </a:lnTo>
                  <a:lnTo>
                    <a:pt x="145" y="49"/>
                  </a:lnTo>
                  <a:lnTo>
                    <a:pt x="148" y="42"/>
                  </a:lnTo>
                  <a:lnTo>
                    <a:pt x="149" y="34"/>
                  </a:lnTo>
                  <a:lnTo>
                    <a:pt x="149" y="34"/>
                  </a:lnTo>
                  <a:lnTo>
                    <a:pt x="148" y="29"/>
                  </a:lnTo>
                  <a:lnTo>
                    <a:pt x="145" y="25"/>
                  </a:lnTo>
                  <a:lnTo>
                    <a:pt x="130" y="9"/>
                  </a:lnTo>
                  <a:lnTo>
                    <a:pt x="97" y="42"/>
                  </a:lnTo>
                  <a:lnTo>
                    <a:pt x="110" y="62"/>
                  </a:lnTo>
                  <a:lnTo>
                    <a:pt x="110" y="62"/>
                  </a:lnTo>
                  <a:lnTo>
                    <a:pt x="110" y="66"/>
                  </a:lnTo>
                  <a:lnTo>
                    <a:pt x="109" y="69"/>
                  </a:lnTo>
                  <a:lnTo>
                    <a:pt x="70" y="108"/>
                  </a:lnTo>
                  <a:lnTo>
                    <a:pt x="70" y="108"/>
                  </a:lnTo>
                  <a:lnTo>
                    <a:pt x="66" y="111"/>
                  </a:lnTo>
                  <a:lnTo>
                    <a:pt x="62" y="109"/>
                  </a:lnTo>
                  <a:lnTo>
                    <a:pt x="43" y="97"/>
                  </a:lnTo>
                  <a:lnTo>
                    <a:pt x="10" y="129"/>
                  </a:lnTo>
                  <a:close/>
                </a:path>
              </a:pathLst>
            </a:custGeom>
            <a:solidFill>
              <a:schemeClr val="bg1"/>
            </a:solidFill>
            <a:ln>
              <a:noFill/>
            </a:ln>
          </p:spPr>
          <p:txBody>
            <a:bodyPr vert="horz" wrap="square" lIns="91440" tIns="45720" rIns="91440" bIns="45720" numCol="1" anchor="t" anchorCtr="0" compatLnSpc="1"/>
            <a:lstStyle/>
            <a:p>
              <a:endParaRPr lang="en-US" sz="1600">
                <a:latin typeface="Calibri"/>
                <a:ea typeface="微软雅黑"/>
                <a:cs typeface="+mn-ea"/>
                <a:sym typeface="Calibri"/>
              </a:endParaRPr>
            </a:p>
          </p:txBody>
        </p:sp>
      </p:grpSp>
      <p:sp>
        <p:nvSpPr>
          <p:cNvPr id="31" name="Rectangle 4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9691828" y="5893222"/>
            <a:ext cx="2430363" cy="600164"/>
          </a:xfrm>
          <a:prstGeom prst="rect">
            <a:avLst/>
          </a:prstGeom>
        </p:spPr>
        <p:txBody>
          <a:bodyPr wrap="square">
            <a:spAutoFit/>
          </a:bodyPr>
          <a:lstStyle/>
          <a:p>
            <a:pPr>
              <a:buClr>
                <a:srgbClr val="E24848"/>
              </a:buClr>
              <a:defRPr/>
            </a:pPr>
            <a:r>
              <a:rPr lang="en-US" sz="1100" noProof="1">
                <a:solidFill>
                  <a:schemeClr val="tx2">
                    <a:lumMod val="50000"/>
                  </a:schemeClr>
                </a:solidFill>
                <a:latin typeface="Calibri"/>
                <a:ea typeface="微软雅黑"/>
                <a:cs typeface="+mn-ea"/>
                <a:sym typeface="Calibri"/>
              </a:rPr>
              <a:t>Lorem ipsum dolor sit amet, consectetur adipiscing elit. Nulla imperdiet volutpat dui at fermentum. </a:t>
            </a:r>
          </a:p>
        </p:txBody>
      </p:sp>
      <p:grpSp>
        <p:nvGrpSpPr>
          <p:cNvPr id="32" name="Group 4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9790361" y="5727396"/>
            <a:ext cx="820532" cy="45719"/>
            <a:chOff x="4886324" y="1149215"/>
            <a:chExt cx="2017487" cy="45720"/>
          </a:xfrm>
          <a:solidFill>
            <a:schemeClr val="accent1"/>
          </a:solidFill>
        </p:grpSpPr>
        <p:sp>
          <p:nvSpPr>
            <p:cNvPr id="33" name="Rectangle 45"/>
            <p:cNvSpPr/>
            <p:nvPr/>
          </p:nvSpPr>
          <p:spPr>
            <a:xfrm>
              <a:off x="4886325" y="1149216"/>
              <a:ext cx="2017486"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cs typeface="+mn-ea"/>
                <a:sym typeface="Calibri"/>
              </a:endParaRPr>
            </a:p>
          </p:txBody>
        </p:sp>
        <p:sp>
          <p:nvSpPr>
            <p:cNvPr id="34" name="Rectangle 46"/>
            <p:cNvSpPr/>
            <p:nvPr/>
          </p:nvSpPr>
          <p:spPr>
            <a:xfrm>
              <a:off x="4886324" y="1149215"/>
              <a:ext cx="1039699" cy="457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64F6D"/>
                </a:solidFill>
                <a:latin typeface="Calibri"/>
                <a:ea typeface="微软雅黑"/>
                <a:cs typeface="+mn-ea"/>
                <a:sym typeface="Calibri"/>
              </a:endParaRPr>
            </a:p>
          </p:txBody>
        </p:sp>
      </p:grpSp>
      <p:sp>
        <p:nvSpPr>
          <p:cNvPr id="53" name="Rectangle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378593" y="624226"/>
            <a:ext cx="2695090" cy="261610"/>
          </a:xfrm>
          <a:prstGeom prst="rect">
            <a:avLst/>
          </a:prstGeom>
        </p:spPr>
        <p:txBody>
          <a:bodyPr wrap="square">
            <a:spAutoFit/>
          </a:bodyPr>
          <a:lstStyle/>
          <a:p>
            <a:pPr algn="r">
              <a:buClr>
                <a:srgbClr val="E24848"/>
              </a:buClr>
              <a:defRPr/>
            </a:pPr>
            <a:r>
              <a:rPr lang="en-US" sz="1100" noProof="1">
                <a:solidFill>
                  <a:schemeClr val="tx1">
                    <a:lumMod val="85000"/>
                    <a:lumOff val="15000"/>
                  </a:schemeClr>
                </a:solidFill>
                <a:latin typeface="Calibri"/>
                <a:ea typeface="微软雅黑"/>
                <a:cs typeface="+mn-ea"/>
                <a:sym typeface="Calibri"/>
              </a:rPr>
              <a:t>Insert  Your Great Subtitle Here</a:t>
            </a:r>
          </a:p>
        </p:txBody>
      </p:sp>
      <p:sp>
        <p:nvSpPr>
          <p:cNvPr id="54" name="Title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793592" y="942448"/>
            <a:ext cx="7994808" cy="426978"/>
          </a:xfrm>
          <a:prstGeom prst="rect">
            <a:avLst/>
          </a:prstGeom>
        </p:spPr>
        <p:txBody>
          <a:bodyPr vert="horz" lIns="91440" tIns="45720" rIns="91440" bIns="45720" rtlCol="0" anchor="ctr">
            <a:noAutofit/>
          </a:bodyPr>
          <a:lstStyle>
            <a:defPPr>
              <a:defRPr lang="en-US"/>
            </a:defPPr>
            <a:lvl1pPr algn="r" defTabSz="913765">
              <a:spcBef>
                <a:spcPct val="0"/>
              </a:spcBef>
              <a:defRPr sz="2800">
                <a:solidFill>
                  <a:schemeClr val="tx1">
                    <a:lumMod val="85000"/>
                    <a:lumOff val="15000"/>
                  </a:schemeClr>
                </a:solidFill>
                <a:latin typeface="Playfair Display" panose="00000500000000000000" pitchFamily="50" charset="0"/>
                <a:ea typeface="Roboto Light" panose="02000000000000000000" pitchFamily="2" charset="0"/>
                <a:cs typeface="Lato Light" panose="020F0502020204030203" pitchFamily="34" charset="0"/>
              </a:defRPr>
            </a:lvl1pPr>
          </a:lstStyle>
          <a:p>
            <a:pPr algn="l"/>
            <a:r>
              <a:rPr lang="en-US" b="1" dirty="0">
                <a:latin typeface="Calibri"/>
                <a:ea typeface="微软雅黑"/>
                <a:cs typeface="+mn-ea"/>
                <a:sym typeface="Calibri"/>
              </a:rPr>
              <a:t>We Are Business ,  </a:t>
            </a:r>
            <a:r>
              <a:rPr lang="en-US" b="1" dirty="0">
                <a:gradFill>
                  <a:gsLst>
                    <a:gs pos="100000">
                      <a:schemeClr val="accent2"/>
                    </a:gs>
                    <a:gs pos="0">
                      <a:schemeClr val="accent1"/>
                    </a:gs>
                  </a:gsLst>
                  <a:path path="circle">
                    <a:fillToRect l="100000" t="100000"/>
                  </a:path>
                </a:gradFill>
                <a:latin typeface="Calibri"/>
                <a:ea typeface="微软雅黑"/>
                <a:cs typeface="+mn-ea"/>
                <a:sym typeface="Calibri"/>
              </a:rPr>
              <a:t>We Learn From The Best </a:t>
            </a:r>
          </a:p>
        </p:txBody>
      </p:sp>
      <p:sp>
        <p:nvSpPr>
          <p:cNvPr id="55" name="Rectangle 1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29595" y="1861592"/>
            <a:ext cx="7154779" cy="711926"/>
          </a:xfrm>
          <a:prstGeom prst="rect">
            <a:avLst/>
          </a:prstGeom>
        </p:spPr>
        <p:txBody>
          <a:bodyPr wrap="square">
            <a:spAutoFit/>
          </a:bodyPr>
          <a:lstStyle/>
          <a:p>
            <a:pPr>
              <a:lnSpc>
                <a:spcPct val="114000"/>
              </a:lnSpc>
              <a:defRPr/>
            </a:pPr>
            <a:r>
              <a:rPr lang="en-US" altLang="zh-CN" sz="1200" dirty="0">
                <a:solidFill>
                  <a:schemeClr val="tx1">
                    <a:lumMod val="85000"/>
                    <a:lumOff val="15000"/>
                  </a:schemeClr>
                </a:solidFill>
                <a:latin typeface="Calibri"/>
                <a:ea typeface="微软雅黑"/>
                <a:cs typeface="+mn-ea"/>
                <a:sym typeface="Calibri"/>
              </a:rPr>
              <a:t>This is some text. Place your preferred texts here. You can change it as you want. This is some text. This is some text. Place your preferred texts here. You can change it as you want. This is some text.</a:t>
            </a:r>
          </a:p>
          <a:p>
            <a:pPr>
              <a:lnSpc>
                <a:spcPct val="114000"/>
              </a:lnSpc>
              <a:defRPr/>
            </a:pPr>
            <a:r>
              <a:rPr lang="en-US" altLang="zh-CN" sz="1200" b="1" i="1" dirty="0">
                <a:solidFill>
                  <a:schemeClr val="tx1">
                    <a:lumMod val="85000"/>
                    <a:lumOff val="15000"/>
                  </a:schemeClr>
                </a:solidFill>
                <a:latin typeface="Calibri"/>
                <a:ea typeface="微软雅黑"/>
                <a:cs typeface="+mn-ea"/>
                <a:sym typeface="Calibri"/>
              </a:rPr>
              <a:t>This is some text. Place your preferred texts here. You can change it as you want. This is some text</a:t>
            </a:r>
            <a:r>
              <a:rPr lang="en-US" altLang="zh-CN" sz="1200" dirty="0">
                <a:solidFill>
                  <a:schemeClr val="tx1">
                    <a:lumMod val="85000"/>
                    <a:lumOff val="15000"/>
                  </a:schemeClr>
                </a:solidFill>
                <a:latin typeface="Calibri"/>
                <a:ea typeface="微软雅黑"/>
                <a:cs typeface="+mn-ea"/>
                <a:sym typeface="Calibri"/>
              </a:rPr>
              <a:t>. </a:t>
            </a:r>
          </a:p>
        </p:txBody>
      </p:sp>
      <p:pic>
        <p:nvPicPr>
          <p:cNvPr id="58" name="图片 5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rotWithShape="1">
          <a:blip r:embed="rId4" cstate="screen">
            <a:extLst>
              <a:ext uri="{28A0092B-C50C-407E-A947-70E740481C1C}">
                <a14:useLocalDpi xmlns:a14="http://schemas.microsoft.com/office/drawing/2010/main"/>
              </a:ext>
            </a:extLst>
          </a:blip>
          <a:srcRect/>
          <a:stretch>
            <a:fillRect/>
          </a:stretch>
        </p:blipFill>
        <p:spPr>
          <a:xfrm>
            <a:off x="8710196" y="119714"/>
            <a:ext cx="4393626" cy="2965939"/>
          </a:xfrm>
          <a:prstGeom prst="rect">
            <a:avLst/>
          </a:prstGeom>
        </p:spPr>
      </p:pic>
      <p:sp>
        <p:nvSpPr>
          <p:cNvPr id="59" name="Rectangle 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0449878" y="1887949"/>
            <a:ext cx="1440552" cy="487072"/>
          </a:xfrm>
          <a:prstGeom prst="rect">
            <a:avLst/>
          </a:prstGeom>
        </p:spPr>
        <p:txBody>
          <a:bodyPr vert="horz" wrap="square" lIns="91440" tIns="45720" rIns="91440" bIns="45720" rtlCol="0" anchor="ctr">
            <a:noAutofit/>
          </a:bodyPr>
          <a:lstStyle/>
          <a:p>
            <a:pPr>
              <a:lnSpc>
                <a:spcPct val="90000"/>
              </a:lnSpc>
              <a:spcBef>
                <a:spcPct val="0"/>
              </a:spcBef>
            </a:pPr>
            <a:r>
              <a:rPr lang="en-US" sz="1400" b="1" noProof="1">
                <a:solidFill>
                  <a:schemeClr val="bg1">
                    <a:lumMod val="85000"/>
                  </a:schemeClr>
                </a:solidFill>
                <a:latin typeface="Calibri"/>
                <a:ea typeface="微软雅黑"/>
                <a:cs typeface="+mn-ea"/>
                <a:sym typeface="Calibri"/>
              </a:rPr>
              <a:t>Product </a:t>
            </a:r>
          </a:p>
        </p:txBody>
      </p:sp>
      <p:sp>
        <p:nvSpPr>
          <p:cNvPr id="60" name="Rectangle 1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0449878" y="2266771"/>
            <a:ext cx="1585518" cy="646331"/>
          </a:xfrm>
          <a:prstGeom prst="rect">
            <a:avLst/>
          </a:prstGeom>
        </p:spPr>
        <p:txBody>
          <a:bodyPr wrap="square">
            <a:spAutoFit/>
          </a:bodyPr>
          <a:lstStyle/>
          <a:p>
            <a:pPr>
              <a:buClr>
                <a:srgbClr val="E24848"/>
              </a:buClr>
              <a:defRPr/>
            </a:pPr>
            <a:r>
              <a:rPr lang="en-US" sz="900" noProof="1">
                <a:solidFill>
                  <a:schemeClr val="bg1">
                    <a:lumMod val="85000"/>
                  </a:schemeClr>
                </a:solidFill>
                <a:latin typeface="Calibri"/>
                <a:ea typeface="微软雅黑"/>
                <a:cs typeface="+mn-ea"/>
                <a:sym typeface="Calibri"/>
              </a:rPr>
              <a:t>Lorem ipsum dolor sit amet, consectetur adipiscing elit. Nulla imperdiet volutpat t ferme Lorem</a:t>
            </a:r>
          </a:p>
        </p:txBody>
      </p:sp>
      <p:sp>
        <p:nvSpPr>
          <p:cNvPr id="61"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1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0" y="0"/>
            <a:ext cx="12192000" cy="6947848"/>
            <a:chOff x="0" y="0"/>
            <a:chExt cx="12192000" cy="6947848"/>
          </a:xfrm>
        </p:grpSpPr>
        <p:sp>
          <p:nvSpPr>
            <p:cNvPr id="38" name="Rectangle 2"/>
            <p:cNvSpPr/>
            <p:nvPr userDrawn="1"/>
          </p:nvSpPr>
          <p:spPr>
            <a:xfrm>
              <a:off x="0" y="0"/>
              <a:ext cx="12192000"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cs typeface="+mn-ea"/>
                <a:sym typeface="Calibri"/>
              </a:endParaRPr>
            </a:p>
          </p:txBody>
        </p:sp>
        <p:grpSp>
          <p:nvGrpSpPr>
            <p:cNvPr id="39" name="Group 3"/>
            <p:cNvGrpSpPr/>
            <p:nvPr userDrawn="1"/>
          </p:nvGrpSpPr>
          <p:grpSpPr>
            <a:xfrm>
              <a:off x="488387" y="214952"/>
              <a:ext cx="11520027" cy="6732896"/>
              <a:chOff x="875939" y="347191"/>
              <a:chExt cx="11520027" cy="6732896"/>
            </a:xfrm>
          </p:grpSpPr>
          <p:sp>
            <p:nvSpPr>
              <p:cNvPr id="41" name="Oval 4"/>
              <p:cNvSpPr/>
              <p:nvPr/>
            </p:nvSpPr>
            <p:spPr>
              <a:xfrm>
                <a:off x="1176427" y="419100"/>
                <a:ext cx="9839146" cy="5562600"/>
              </a:xfrm>
              <a:prstGeom prst="ellipse">
                <a:avLst/>
              </a:prstGeom>
              <a:solidFill>
                <a:schemeClr val="accent2">
                  <a:lumMod val="40000"/>
                  <a:lumOff val="60000"/>
                  <a:alpha val="42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2" name="Freeform: Shape 5"/>
              <p:cNvSpPr/>
              <p:nvPr/>
            </p:nvSpPr>
            <p:spPr>
              <a:xfrm>
                <a:off x="3026619" y="1462018"/>
                <a:ext cx="7671821" cy="3548067"/>
              </a:xfrm>
              <a:custGeom>
                <a:avLst/>
                <a:gdLst>
                  <a:gd name="connsiteX0" fmla="*/ 257355 w 7671821"/>
                  <a:gd name="connsiteY0" fmla="*/ 1814410 h 3548067"/>
                  <a:gd name="connsiteX1" fmla="*/ 3057705 w 7671821"/>
                  <a:gd name="connsiteY1" fmla="*/ 3547960 h 3548067"/>
                  <a:gd name="connsiteX2" fmla="*/ 6982005 w 7671821"/>
                  <a:gd name="connsiteY2" fmla="*/ 1890610 h 3548067"/>
                  <a:gd name="connsiteX3" fmla="*/ 7496355 w 7671821"/>
                  <a:gd name="connsiteY3" fmla="*/ 233260 h 3548067"/>
                  <a:gd name="connsiteX4" fmla="*/ 5038905 w 7671821"/>
                  <a:gd name="connsiteY4" fmla="*/ 1147660 h 3548067"/>
                  <a:gd name="connsiteX5" fmla="*/ 1857555 w 7671821"/>
                  <a:gd name="connsiteY5" fmla="*/ 4660 h 3548067"/>
                  <a:gd name="connsiteX6" fmla="*/ 66855 w 7671821"/>
                  <a:gd name="connsiteY6" fmla="*/ 785710 h 3548067"/>
                  <a:gd name="connsiteX7" fmla="*/ 371655 w 7671821"/>
                  <a:gd name="connsiteY7" fmla="*/ 1814410 h 3548067"/>
                  <a:gd name="connsiteX8" fmla="*/ 257355 w 7671821"/>
                  <a:gd name="connsiteY8" fmla="*/ 1814410 h 354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1821" h="3548067">
                    <a:moveTo>
                      <a:pt x="257355" y="1814410"/>
                    </a:moveTo>
                    <a:cubicBezTo>
                      <a:pt x="705030" y="2103335"/>
                      <a:pt x="1936930" y="3535260"/>
                      <a:pt x="3057705" y="3547960"/>
                    </a:cubicBezTo>
                    <a:cubicBezTo>
                      <a:pt x="4178480" y="3560660"/>
                      <a:pt x="6242230" y="2443060"/>
                      <a:pt x="6982005" y="1890610"/>
                    </a:cubicBezTo>
                    <a:cubicBezTo>
                      <a:pt x="7721780" y="1338160"/>
                      <a:pt x="7820205" y="357085"/>
                      <a:pt x="7496355" y="233260"/>
                    </a:cubicBezTo>
                    <a:cubicBezTo>
                      <a:pt x="7172505" y="109435"/>
                      <a:pt x="5978705" y="1185760"/>
                      <a:pt x="5038905" y="1147660"/>
                    </a:cubicBezTo>
                    <a:cubicBezTo>
                      <a:pt x="4099105" y="1109560"/>
                      <a:pt x="2686230" y="64985"/>
                      <a:pt x="1857555" y="4660"/>
                    </a:cubicBezTo>
                    <a:cubicBezTo>
                      <a:pt x="1028880" y="-55665"/>
                      <a:pt x="314505" y="484085"/>
                      <a:pt x="66855" y="785710"/>
                    </a:cubicBezTo>
                    <a:cubicBezTo>
                      <a:pt x="-180795" y="1087335"/>
                      <a:pt x="336730" y="1639785"/>
                      <a:pt x="371655" y="1814410"/>
                    </a:cubicBezTo>
                    <a:cubicBezTo>
                      <a:pt x="406580" y="1989035"/>
                      <a:pt x="-190320" y="1525485"/>
                      <a:pt x="257355" y="1814410"/>
                    </a:cubicBezTo>
                    <a:close/>
                  </a:path>
                </a:pathLst>
              </a:custGeom>
              <a:solidFill>
                <a:schemeClr val="accent3"/>
              </a:solidFill>
              <a:ln>
                <a:noFill/>
              </a:ln>
              <a:effectLst>
                <a:softEdge rad="1130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3" name="Freeform: Shape 6"/>
              <p:cNvSpPr/>
              <p:nvPr/>
            </p:nvSpPr>
            <p:spPr>
              <a:xfrm>
                <a:off x="2049059" y="617781"/>
                <a:ext cx="8966514" cy="3230254"/>
              </a:xfrm>
              <a:custGeom>
                <a:avLst/>
                <a:gdLst>
                  <a:gd name="connsiteX0" fmla="*/ 502774 w 8966514"/>
                  <a:gd name="connsiteY0" fmla="*/ 1029204 h 3230254"/>
                  <a:gd name="connsiteX1" fmla="*/ 3531724 w 8966514"/>
                  <a:gd name="connsiteY1" fmla="*/ 504 h 3230254"/>
                  <a:gd name="connsiteX2" fmla="*/ 5398624 w 8966514"/>
                  <a:gd name="connsiteY2" fmla="*/ 1162554 h 3230254"/>
                  <a:gd name="connsiteX3" fmla="*/ 8618074 w 8966514"/>
                  <a:gd name="connsiteY3" fmla="*/ 476754 h 3230254"/>
                  <a:gd name="connsiteX4" fmla="*/ 8656174 w 8966514"/>
                  <a:gd name="connsiteY4" fmla="*/ 1657854 h 3230254"/>
                  <a:gd name="connsiteX5" fmla="*/ 6636874 w 8966514"/>
                  <a:gd name="connsiteY5" fmla="*/ 3143754 h 3230254"/>
                  <a:gd name="connsiteX6" fmla="*/ 3855574 w 8966514"/>
                  <a:gd name="connsiteY6" fmla="*/ 2858004 h 3230254"/>
                  <a:gd name="connsiteX7" fmla="*/ 2350624 w 8966514"/>
                  <a:gd name="connsiteY7" fmla="*/ 1238754 h 3230254"/>
                  <a:gd name="connsiteX8" fmla="*/ 178924 w 8966514"/>
                  <a:gd name="connsiteY8" fmla="*/ 2000754 h 3230254"/>
                  <a:gd name="connsiteX9" fmla="*/ 502774 w 8966514"/>
                  <a:gd name="connsiteY9" fmla="*/ 1029204 h 323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66514" h="3230254">
                    <a:moveTo>
                      <a:pt x="502774" y="1029204"/>
                    </a:moveTo>
                    <a:cubicBezTo>
                      <a:pt x="1061574" y="695829"/>
                      <a:pt x="2715749" y="-21721"/>
                      <a:pt x="3531724" y="504"/>
                    </a:cubicBezTo>
                    <a:cubicBezTo>
                      <a:pt x="4347699" y="22729"/>
                      <a:pt x="4550899" y="1083179"/>
                      <a:pt x="5398624" y="1162554"/>
                    </a:cubicBezTo>
                    <a:cubicBezTo>
                      <a:pt x="6246349" y="1241929"/>
                      <a:pt x="8075149" y="394204"/>
                      <a:pt x="8618074" y="476754"/>
                    </a:cubicBezTo>
                    <a:cubicBezTo>
                      <a:pt x="9160999" y="559304"/>
                      <a:pt x="8986374" y="1213354"/>
                      <a:pt x="8656174" y="1657854"/>
                    </a:cubicBezTo>
                    <a:cubicBezTo>
                      <a:pt x="8325974" y="2102354"/>
                      <a:pt x="7436974" y="2943729"/>
                      <a:pt x="6636874" y="3143754"/>
                    </a:cubicBezTo>
                    <a:cubicBezTo>
                      <a:pt x="5836774" y="3343779"/>
                      <a:pt x="4569949" y="3175504"/>
                      <a:pt x="3855574" y="2858004"/>
                    </a:cubicBezTo>
                    <a:cubicBezTo>
                      <a:pt x="3141199" y="2540504"/>
                      <a:pt x="2963399" y="1381629"/>
                      <a:pt x="2350624" y="1238754"/>
                    </a:cubicBezTo>
                    <a:cubicBezTo>
                      <a:pt x="1737849" y="1095879"/>
                      <a:pt x="483724" y="2032504"/>
                      <a:pt x="178924" y="2000754"/>
                    </a:cubicBezTo>
                    <a:cubicBezTo>
                      <a:pt x="-125876" y="1969004"/>
                      <a:pt x="-56026" y="1362579"/>
                      <a:pt x="502774" y="1029204"/>
                    </a:cubicBezTo>
                    <a:close/>
                  </a:path>
                </a:pathLst>
              </a:custGeom>
              <a:ln>
                <a:noFill/>
              </a:ln>
              <a:effectLst>
                <a:softEdge rad="889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4" name="Freeform: Shape 7"/>
              <p:cNvSpPr/>
              <p:nvPr/>
            </p:nvSpPr>
            <p:spPr>
              <a:xfrm>
                <a:off x="2049059" y="1461957"/>
                <a:ext cx="7772400" cy="4400550"/>
              </a:xfrm>
              <a:custGeom>
                <a:avLst/>
                <a:gdLst>
                  <a:gd name="connsiteX0" fmla="*/ 3390900 w 7772400"/>
                  <a:gd name="connsiteY0" fmla="*/ 1504950 h 4400550"/>
                  <a:gd name="connsiteX1" fmla="*/ 1524000 w 7772400"/>
                  <a:gd name="connsiteY1" fmla="*/ 0 h 4400550"/>
                  <a:gd name="connsiteX2" fmla="*/ 0 w 7772400"/>
                  <a:gd name="connsiteY2" fmla="*/ 2838450 h 4400550"/>
                  <a:gd name="connsiteX3" fmla="*/ 3409950 w 7772400"/>
                  <a:gd name="connsiteY3" fmla="*/ 4400550 h 4400550"/>
                  <a:gd name="connsiteX4" fmla="*/ 7162800 w 7772400"/>
                  <a:gd name="connsiteY4" fmla="*/ 4133850 h 4400550"/>
                  <a:gd name="connsiteX5" fmla="*/ 7772400 w 7772400"/>
                  <a:gd name="connsiteY5" fmla="*/ 3333750 h 4400550"/>
                  <a:gd name="connsiteX6" fmla="*/ 3390900 w 7772400"/>
                  <a:gd name="connsiteY6" fmla="*/ 1504950 h 440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2400" h="4400550">
                    <a:moveTo>
                      <a:pt x="3390900" y="1504950"/>
                    </a:moveTo>
                    <a:lnTo>
                      <a:pt x="1524000" y="0"/>
                    </a:lnTo>
                    <a:lnTo>
                      <a:pt x="0" y="2838450"/>
                    </a:lnTo>
                    <a:lnTo>
                      <a:pt x="3409950" y="4400550"/>
                    </a:lnTo>
                    <a:lnTo>
                      <a:pt x="7162800" y="4133850"/>
                    </a:lnTo>
                    <a:lnTo>
                      <a:pt x="7772400" y="3333750"/>
                    </a:lnTo>
                    <a:lnTo>
                      <a:pt x="3390900" y="1504950"/>
                    </a:lnTo>
                    <a:close/>
                  </a:path>
                </a:pathLst>
              </a:custGeom>
              <a:solidFill>
                <a:schemeClr val="accent5"/>
              </a:solidFill>
              <a:ln>
                <a:noFill/>
              </a:ln>
              <a:effectLst>
                <a:softEdge rad="1130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5" name="Rectangle: Single Corner Rounded 8"/>
              <p:cNvSpPr/>
              <p:nvPr/>
            </p:nvSpPr>
            <p:spPr>
              <a:xfrm>
                <a:off x="875939" y="347191"/>
                <a:ext cx="4301360" cy="4400550"/>
              </a:xfrm>
              <a:prstGeom prst="round1Rect">
                <a:avLst/>
              </a:prstGeom>
              <a:solidFill>
                <a:schemeClr val="accent5">
                  <a:alpha val="42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atin typeface="Calibri"/>
                  <a:ea typeface="微软雅黑"/>
                  <a:cs typeface="+mn-ea"/>
                  <a:sym typeface="Calibri"/>
                </a:endParaRPr>
              </a:p>
            </p:txBody>
          </p:sp>
          <p:sp>
            <p:nvSpPr>
              <p:cNvPr id="46" name="Oval 9"/>
              <p:cNvSpPr/>
              <p:nvPr/>
            </p:nvSpPr>
            <p:spPr>
              <a:xfrm>
                <a:off x="2556820" y="1517487"/>
                <a:ext cx="9839146" cy="5562600"/>
              </a:xfrm>
              <a:prstGeom prst="ellipse">
                <a:avLst/>
              </a:prstGeom>
              <a:solidFill>
                <a:schemeClr val="accent2">
                  <a:lumMod val="40000"/>
                  <a:lumOff val="60000"/>
                  <a:alpha val="42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7" name="Freeform: Shape 10"/>
              <p:cNvSpPr/>
              <p:nvPr/>
            </p:nvSpPr>
            <p:spPr>
              <a:xfrm>
                <a:off x="4407012" y="2560405"/>
                <a:ext cx="7671821" cy="3548067"/>
              </a:xfrm>
              <a:custGeom>
                <a:avLst/>
                <a:gdLst>
                  <a:gd name="connsiteX0" fmla="*/ 257355 w 7671821"/>
                  <a:gd name="connsiteY0" fmla="*/ 1814410 h 3548067"/>
                  <a:gd name="connsiteX1" fmla="*/ 3057705 w 7671821"/>
                  <a:gd name="connsiteY1" fmla="*/ 3547960 h 3548067"/>
                  <a:gd name="connsiteX2" fmla="*/ 6982005 w 7671821"/>
                  <a:gd name="connsiteY2" fmla="*/ 1890610 h 3548067"/>
                  <a:gd name="connsiteX3" fmla="*/ 7496355 w 7671821"/>
                  <a:gd name="connsiteY3" fmla="*/ 233260 h 3548067"/>
                  <a:gd name="connsiteX4" fmla="*/ 5038905 w 7671821"/>
                  <a:gd name="connsiteY4" fmla="*/ 1147660 h 3548067"/>
                  <a:gd name="connsiteX5" fmla="*/ 1857555 w 7671821"/>
                  <a:gd name="connsiteY5" fmla="*/ 4660 h 3548067"/>
                  <a:gd name="connsiteX6" fmla="*/ 66855 w 7671821"/>
                  <a:gd name="connsiteY6" fmla="*/ 785710 h 3548067"/>
                  <a:gd name="connsiteX7" fmla="*/ 371655 w 7671821"/>
                  <a:gd name="connsiteY7" fmla="*/ 1814410 h 3548067"/>
                  <a:gd name="connsiteX8" fmla="*/ 257355 w 7671821"/>
                  <a:gd name="connsiteY8" fmla="*/ 1814410 h 3548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71821" h="3548067">
                    <a:moveTo>
                      <a:pt x="257355" y="1814410"/>
                    </a:moveTo>
                    <a:cubicBezTo>
                      <a:pt x="705030" y="2103335"/>
                      <a:pt x="1936930" y="3535260"/>
                      <a:pt x="3057705" y="3547960"/>
                    </a:cubicBezTo>
                    <a:cubicBezTo>
                      <a:pt x="4178480" y="3560660"/>
                      <a:pt x="6242230" y="2443060"/>
                      <a:pt x="6982005" y="1890610"/>
                    </a:cubicBezTo>
                    <a:cubicBezTo>
                      <a:pt x="7721780" y="1338160"/>
                      <a:pt x="7820205" y="357085"/>
                      <a:pt x="7496355" y="233260"/>
                    </a:cubicBezTo>
                    <a:cubicBezTo>
                      <a:pt x="7172505" y="109435"/>
                      <a:pt x="5978705" y="1185760"/>
                      <a:pt x="5038905" y="1147660"/>
                    </a:cubicBezTo>
                    <a:cubicBezTo>
                      <a:pt x="4099105" y="1109560"/>
                      <a:pt x="2686230" y="64985"/>
                      <a:pt x="1857555" y="4660"/>
                    </a:cubicBezTo>
                    <a:cubicBezTo>
                      <a:pt x="1028880" y="-55665"/>
                      <a:pt x="314505" y="484085"/>
                      <a:pt x="66855" y="785710"/>
                    </a:cubicBezTo>
                    <a:cubicBezTo>
                      <a:pt x="-180795" y="1087335"/>
                      <a:pt x="336730" y="1639785"/>
                      <a:pt x="371655" y="1814410"/>
                    </a:cubicBezTo>
                    <a:cubicBezTo>
                      <a:pt x="406580" y="1989035"/>
                      <a:pt x="-190320" y="1525485"/>
                      <a:pt x="257355" y="1814410"/>
                    </a:cubicBezTo>
                    <a:close/>
                  </a:path>
                </a:pathLst>
              </a:custGeom>
              <a:solidFill>
                <a:schemeClr val="accent3"/>
              </a:solidFill>
              <a:ln>
                <a:noFill/>
              </a:ln>
              <a:effectLst>
                <a:softEdge rad="1130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8" name="Freeform: Shape 11"/>
              <p:cNvSpPr/>
              <p:nvPr/>
            </p:nvSpPr>
            <p:spPr>
              <a:xfrm>
                <a:off x="3429452" y="1716168"/>
                <a:ext cx="8966514" cy="3230254"/>
              </a:xfrm>
              <a:custGeom>
                <a:avLst/>
                <a:gdLst>
                  <a:gd name="connsiteX0" fmla="*/ 502774 w 8966514"/>
                  <a:gd name="connsiteY0" fmla="*/ 1029204 h 3230254"/>
                  <a:gd name="connsiteX1" fmla="*/ 3531724 w 8966514"/>
                  <a:gd name="connsiteY1" fmla="*/ 504 h 3230254"/>
                  <a:gd name="connsiteX2" fmla="*/ 5398624 w 8966514"/>
                  <a:gd name="connsiteY2" fmla="*/ 1162554 h 3230254"/>
                  <a:gd name="connsiteX3" fmla="*/ 8618074 w 8966514"/>
                  <a:gd name="connsiteY3" fmla="*/ 476754 h 3230254"/>
                  <a:gd name="connsiteX4" fmla="*/ 8656174 w 8966514"/>
                  <a:gd name="connsiteY4" fmla="*/ 1657854 h 3230254"/>
                  <a:gd name="connsiteX5" fmla="*/ 6636874 w 8966514"/>
                  <a:gd name="connsiteY5" fmla="*/ 3143754 h 3230254"/>
                  <a:gd name="connsiteX6" fmla="*/ 3855574 w 8966514"/>
                  <a:gd name="connsiteY6" fmla="*/ 2858004 h 3230254"/>
                  <a:gd name="connsiteX7" fmla="*/ 2350624 w 8966514"/>
                  <a:gd name="connsiteY7" fmla="*/ 1238754 h 3230254"/>
                  <a:gd name="connsiteX8" fmla="*/ 178924 w 8966514"/>
                  <a:gd name="connsiteY8" fmla="*/ 2000754 h 3230254"/>
                  <a:gd name="connsiteX9" fmla="*/ 502774 w 8966514"/>
                  <a:gd name="connsiteY9" fmla="*/ 1029204 h 3230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66514" h="3230254">
                    <a:moveTo>
                      <a:pt x="502774" y="1029204"/>
                    </a:moveTo>
                    <a:cubicBezTo>
                      <a:pt x="1061574" y="695829"/>
                      <a:pt x="2715749" y="-21721"/>
                      <a:pt x="3531724" y="504"/>
                    </a:cubicBezTo>
                    <a:cubicBezTo>
                      <a:pt x="4347699" y="22729"/>
                      <a:pt x="4550899" y="1083179"/>
                      <a:pt x="5398624" y="1162554"/>
                    </a:cubicBezTo>
                    <a:cubicBezTo>
                      <a:pt x="6246349" y="1241929"/>
                      <a:pt x="8075149" y="394204"/>
                      <a:pt x="8618074" y="476754"/>
                    </a:cubicBezTo>
                    <a:cubicBezTo>
                      <a:pt x="9160999" y="559304"/>
                      <a:pt x="8986374" y="1213354"/>
                      <a:pt x="8656174" y="1657854"/>
                    </a:cubicBezTo>
                    <a:cubicBezTo>
                      <a:pt x="8325974" y="2102354"/>
                      <a:pt x="7436974" y="2943729"/>
                      <a:pt x="6636874" y="3143754"/>
                    </a:cubicBezTo>
                    <a:cubicBezTo>
                      <a:pt x="5836774" y="3343779"/>
                      <a:pt x="4569949" y="3175504"/>
                      <a:pt x="3855574" y="2858004"/>
                    </a:cubicBezTo>
                    <a:cubicBezTo>
                      <a:pt x="3141199" y="2540504"/>
                      <a:pt x="2963399" y="1381629"/>
                      <a:pt x="2350624" y="1238754"/>
                    </a:cubicBezTo>
                    <a:cubicBezTo>
                      <a:pt x="1737849" y="1095879"/>
                      <a:pt x="483724" y="2032504"/>
                      <a:pt x="178924" y="2000754"/>
                    </a:cubicBezTo>
                    <a:cubicBezTo>
                      <a:pt x="-125876" y="1969004"/>
                      <a:pt x="-56026" y="1362579"/>
                      <a:pt x="502774" y="1029204"/>
                    </a:cubicBezTo>
                    <a:close/>
                  </a:path>
                </a:pathLst>
              </a:custGeom>
              <a:ln>
                <a:noFill/>
              </a:ln>
              <a:effectLst>
                <a:softEdge rad="889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49" name="Freeform: Shape 12"/>
              <p:cNvSpPr/>
              <p:nvPr/>
            </p:nvSpPr>
            <p:spPr>
              <a:xfrm>
                <a:off x="3429452" y="2560344"/>
                <a:ext cx="7772400" cy="4400550"/>
              </a:xfrm>
              <a:custGeom>
                <a:avLst/>
                <a:gdLst>
                  <a:gd name="connsiteX0" fmla="*/ 3390900 w 7772400"/>
                  <a:gd name="connsiteY0" fmla="*/ 1504950 h 4400550"/>
                  <a:gd name="connsiteX1" fmla="*/ 1524000 w 7772400"/>
                  <a:gd name="connsiteY1" fmla="*/ 0 h 4400550"/>
                  <a:gd name="connsiteX2" fmla="*/ 0 w 7772400"/>
                  <a:gd name="connsiteY2" fmla="*/ 2838450 h 4400550"/>
                  <a:gd name="connsiteX3" fmla="*/ 3409950 w 7772400"/>
                  <a:gd name="connsiteY3" fmla="*/ 4400550 h 4400550"/>
                  <a:gd name="connsiteX4" fmla="*/ 7162800 w 7772400"/>
                  <a:gd name="connsiteY4" fmla="*/ 4133850 h 4400550"/>
                  <a:gd name="connsiteX5" fmla="*/ 7772400 w 7772400"/>
                  <a:gd name="connsiteY5" fmla="*/ 3333750 h 4400550"/>
                  <a:gd name="connsiteX6" fmla="*/ 3390900 w 7772400"/>
                  <a:gd name="connsiteY6" fmla="*/ 1504950 h 440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72400" h="4400550">
                    <a:moveTo>
                      <a:pt x="3390900" y="1504950"/>
                    </a:moveTo>
                    <a:lnTo>
                      <a:pt x="1524000" y="0"/>
                    </a:lnTo>
                    <a:lnTo>
                      <a:pt x="0" y="2838450"/>
                    </a:lnTo>
                    <a:lnTo>
                      <a:pt x="3409950" y="4400550"/>
                    </a:lnTo>
                    <a:lnTo>
                      <a:pt x="7162800" y="4133850"/>
                    </a:lnTo>
                    <a:lnTo>
                      <a:pt x="7772400" y="3333750"/>
                    </a:lnTo>
                    <a:lnTo>
                      <a:pt x="3390900" y="1504950"/>
                    </a:lnTo>
                    <a:close/>
                  </a:path>
                </a:pathLst>
              </a:custGeom>
              <a:solidFill>
                <a:schemeClr val="accent5"/>
              </a:solidFill>
              <a:ln>
                <a:noFill/>
              </a:ln>
              <a:effectLst>
                <a:softEdge rad="1130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50" name="Rectangle: Single Corner Rounded 13"/>
              <p:cNvSpPr/>
              <p:nvPr/>
            </p:nvSpPr>
            <p:spPr>
              <a:xfrm>
                <a:off x="2256332" y="1445578"/>
                <a:ext cx="4301360" cy="4400550"/>
              </a:xfrm>
              <a:prstGeom prst="round1Rect">
                <a:avLst/>
              </a:prstGeom>
              <a:solidFill>
                <a:schemeClr val="accent5">
                  <a:alpha val="42000"/>
                </a:schemeClr>
              </a:solidFill>
              <a:ln>
                <a:noFill/>
              </a:ln>
              <a:effectLst>
                <a:softEdge rad="12700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en-US">
                  <a:latin typeface="Calibri"/>
                  <a:ea typeface="微软雅黑"/>
                  <a:cs typeface="+mn-ea"/>
                  <a:sym typeface="Calibri"/>
                </a:endParaRPr>
              </a:p>
            </p:txBody>
          </p:sp>
        </p:grpSp>
        <p:sp>
          <p:nvSpPr>
            <p:cNvPr id="40" name="Rectangle 14"/>
            <p:cNvSpPr/>
            <p:nvPr userDrawn="1"/>
          </p:nvSpPr>
          <p:spPr>
            <a:xfrm>
              <a:off x="0" y="0"/>
              <a:ext cx="12192000" cy="6858000"/>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pic>
        <p:nvPicPr>
          <p:cNvPr id="4" name="图片占位符 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Grp="1" noChangeAspect="1"/>
          </p:cNvPicPr>
          <p:nvPr>
            <p:ph type="pic" sz="quarter" idx="10"/>
          </p:nvPr>
        </p:nvPicPr>
        <p:blipFill>
          <a:blip r:embed="rId3" cstate="screen">
            <a:extLst>
              <a:ext uri="{28A0092B-C50C-407E-A947-70E740481C1C}">
                <a14:useLocalDpi xmlns:a14="http://schemas.microsoft.com/office/drawing/2010/main"/>
              </a:ext>
            </a:extLst>
          </a:blip>
          <a:srcRect/>
          <a:stretch>
            <a:fillRect/>
          </a:stretch>
        </p:blipFill>
        <p:spPr/>
      </p:pic>
      <p:sp>
        <p:nvSpPr>
          <p:cNvPr id="5" name="Rectangle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4079875" y="1363662"/>
            <a:ext cx="310924" cy="4130675"/>
          </a:xfrm>
          <a:prstGeom prst="rect">
            <a:avLst/>
          </a:prstGeom>
          <a:gradFill>
            <a:gsLst>
              <a:gs pos="0">
                <a:schemeClr val="accent1">
                  <a:alpha val="0"/>
                </a:schemeClr>
              </a:gs>
              <a:gs pos="53000">
                <a:schemeClr val="accent1">
                  <a:alpha val="71000"/>
                </a:schemeClr>
              </a:gs>
              <a:gs pos="100000">
                <a:schemeClr val="accent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latin typeface="Calibri"/>
              <a:ea typeface="微软雅黑"/>
              <a:cs typeface="+mn-ea"/>
              <a:sym typeface="Calibri"/>
            </a:endParaRPr>
          </a:p>
        </p:txBody>
      </p:sp>
      <p:sp>
        <p:nvSpPr>
          <p:cNvPr id="6" name="TextBox 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8984039" y="2168533"/>
            <a:ext cx="1525546" cy="276999"/>
          </a:xfrm>
          <a:prstGeom prst="rect">
            <a:avLst/>
          </a:prstGeom>
          <a:noFill/>
        </p:spPr>
        <p:txBody>
          <a:bodyPr wrap="none" lIns="0" tIns="0" rIns="0" bIns="0" rtlCol="0">
            <a:spAutoFit/>
          </a:bodyPr>
          <a:lstStyle/>
          <a:p>
            <a:r>
              <a:rPr lang="vi-VN" b="1">
                <a:latin typeface="Calibri"/>
                <a:ea typeface="微软雅黑"/>
                <a:cs typeface="+mn-ea"/>
                <a:sym typeface="Calibri"/>
              </a:rPr>
              <a:t>No hidden costs</a:t>
            </a:r>
          </a:p>
        </p:txBody>
      </p:sp>
      <p:grpSp>
        <p:nvGrpSpPr>
          <p:cNvPr id="7" name="Group 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8984040" y="2639219"/>
            <a:ext cx="860970" cy="138312"/>
            <a:chOff x="2568102" y="4922196"/>
            <a:chExt cx="2301019" cy="369651"/>
          </a:xfrm>
        </p:grpSpPr>
        <p:sp>
          <p:nvSpPr>
            <p:cNvPr id="8" name="5-Point Star 7"/>
            <p:cNvSpPr/>
            <p:nvPr/>
          </p:nvSpPr>
          <p:spPr>
            <a:xfrm>
              <a:off x="2568102" y="4922196"/>
              <a:ext cx="369651" cy="369651"/>
            </a:xfrm>
            <a:prstGeom prst="star5">
              <a:avLst>
                <a:gd name="adj" fmla="val 24005"/>
                <a:gd name="hf" fmla="val 105146"/>
                <a:gd name="vf" fmla="val 110557"/>
              </a:avLst>
            </a:prstGeom>
            <a:solidFill>
              <a:srgbClr val="FDC4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a:ea typeface="微软雅黑"/>
                <a:cs typeface="+mn-ea"/>
                <a:sym typeface="Calibri"/>
              </a:endParaRPr>
            </a:p>
          </p:txBody>
        </p:sp>
        <p:sp>
          <p:nvSpPr>
            <p:cNvPr id="9" name="5-Point Star 8"/>
            <p:cNvSpPr/>
            <p:nvPr/>
          </p:nvSpPr>
          <p:spPr>
            <a:xfrm>
              <a:off x="3050944" y="4922196"/>
              <a:ext cx="369651" cy="369651"/>
            </a:xfrm>
            <a:prstGeom prst="star5">
              <a:avLst>
                <a:gd name="adj" fmla="val 24005"/>
                <a:gd name="hf" fmla="val 105146"/>
                <a:gd name="vf" fmla="val 110557"/>
              </a:avLst>
            </a:prstGeom>
            <a:solidFill>
              <a:srgbClr val="FDC4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a:ea typeface="微软雅黑"/>
                <a:cs typeface="+mn-ea"/>
                <a:sym typeface="Calibri"/>
              </a:endParaRPr>
            </a:p>
          </p:txBody>
        </p:sp>
        <p:sp>
          <p:nvSpPr>
            <p:cNvPr id="10" name="5-Point Star 9"/>
            <p:cNvSpPr/>
            <p:nvPr/>
          </p:nvSpPr>
          <p:spPr>
            <a:xfrm>
              <a:off x="3533786" y="4922196"/>
              <a:ext cx="369651" cy="369651"/>
            </a:xfrm>
            <a:prstGeom prst="star5">
              <a:avLst>
                <a:gd name="adj" fmla="val 24005"/>
                <a:gd name="hf" fmla="val 105146"/>
                <a:gd name="vf" fmla="val 110557"/>
              </a:avLst>
            </a:prstGeom>
            <a:solidFill>
              <a:srgbClr val="FDC4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a:ea typeface="微软雅黑"/>
                <a:cs typeface="+mn-ea"/>
                <a:sym typeface="Calibri"/>
              </a:endParaRPr>
            </a:p>
          </p:txBody>
        </p:sp>
        <p:sp>
          <p:nvSpPr>
            <p:cNvPr id="11" name="5-Point Star 10"/>
            <p:cNvSpPr/>
            <p:nvPr/>
          </p:nvSpPr>
          <p:spPr>
            <a:xfrm>
              <a:off x="4016628" y="4922196"/>
              <a:ext cx="369651" cy="369651"/>
            </a:xfrm>
            <a:prstGeom prst="star5">
              <a:avLst>
                <a:gd name="adj" fmla="val 24005"/>
                <a:gd name="hf" fmla="val 105146"/>
                <a:gd name="vf" fmla="val 110557"/>
              </a:avLst>
            </a:prstGeom>
            <a:solidFill>
              <a:srgbClr val="FDC4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a:ea typeface="微软雅黑"/>
                <a:cs typeface="+mn-ea"/>
                <a:sym typeface="Calibri"/>
              </a:endParaRPr>
            </a:p>
          </p:txBody>
        </p:sp>
        <p:sp>
          <p:nvSpPr>
            <p:cNvPr id="12" name="5-Point Star 11"/>
            <p:cNvSpPr/>
            <p:nvPr/>
          </p:nvSpPr>
          <p:spPr>
            <a:xfrm>
              <a:off x="4499470" y="4922196"/>
              <a:ext cx="369651" cy="369651"/>
            </a:xfrm>
            <a:prstGeom prst="star5">
              <a:avLst>
                <a:gd name="adj" fmla="val 24005"/>
                <a:gd name="hf" fmla="val 105146"/>
                <a:gd name="vf" fmla="val 110557"/>
              </a:avLst>
            </a:prstGeom>
            <a:solidFill>
              <a:srgbClr val="FDC4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latin typeface="Calibri"/>
                <a:ea typeface="微软雅黑"/>
                <a:cs typeface="+mn-ea"/>
                <a:sym typeface="Calibri"/>
              </a:endParaRPr>
            </a:p>
          </p:txBody>
        </p:sp>
      </p:grpSp>
      <p:sp>
        <p:nvSpPr>
          <p:cNvPr id="13" name="TextBox 1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8984039" y="3072404"/>
            <a:ext cx="621965" cy="246221"/>
          </a:xfrm>
          <a:prstGeom prst="rect">
            <a:avLst/>
          </a:prstGeom>
          <a:noFill/>
        </p:spPr>
        <p:txBody>
          <a:bodyPr wrap="none" lIns="0" tIns="0" rIns="0" bIns="0" rtlCol="0">
            <a:spAutoFit/>
          </a:bodyPr>
          <a:lstStyle/>
          <a:p>
            <a:pPr algn="l"/>
            <a:r>
              <a:rPr lang="vi-VN" sz="1600" b="1">
                <a:latin typeface="Calibri"/>
                <a:ea typeface="微软雅黑"/>
                <a:cs typeface="+mn-ea"/>
                <a:sym typeface="Calibri"/>
              </a:rPr>
              <a:t>$ 30.00</a:t>
            </a:r>
          </a:p>
        </p:txBody>
      </p:sp>
      <p:sp>
        <p:nvSpPr>
          <p:cNvPr id="14" name="TextBox 1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flipH="1">
            <a:off x="8984039" y="3429000"/>
            <a:ext cx="2048933" cy="619144"/>
          </a:xfrm>
          <a:prstGeom prst="rect">
            <a:avLst/>
          </a:prstGeom>
          <a:noFill/>
        </p:spPr>
        <p:txBody>
          <a:bodyPr wrap="square" lIns="0" tIns="0" rIns="0" bIns="0" rtlCol="0">
            <a:spAutoFit/>
          </a:bodyPr>
          <a:lstStyle/>
          <a:p>
            <a:pPr>
              <a:lnSpc>
                <a:spcPct val="125000"/>
              </a:lnSpc>
            </a:pPr>
            <a:r>
              <a:rPr lang="en-US" sz="1100" dirty="0">
                <a:latin typeface="Calibri"/>
                <a:ea typeface="微软雅黑"/>
                <a:cs typeface="+mn-ea"/>
                <a:sym typeface="Calibri"/>
              </a:rPr>
              <a:t>Lorem ipsum dolor sit </a:t>
            </a:r>
            <a:r>
              <a:rPr lang="en-US" sz="1100" dirty="0" err="1">
                <a:latin typeface="Calibri"/>
                <a:ea typeface="微软雅黑"/>
                <a:cs typeface="+mn-ea"/>
                <a:sym typeface="Calibri"/>
              </a:rPr>
              <a:t>amet</a:t>
            </a:r>
            <a:r>
              <a:rPr lang="en-US" sz="1100" dirty="0">
                <a:latin typeface="Calibri"/>
                <a:ea typeface="微软雅黑"/>
                <a:cs typeface="+mn-ea"/>
                <a:sym typeface="Calibri"/>
              </a:rPr>
              <a:t>, </a:t>
            </a:r>
            <a:r>
              <a:rPr lang="en-US" sz="1100" dirty="0" err="1">
                <a:latin typeface="Calibri"/>
                <a:ea typeface="微软雅黑"/>
                <a:cs typeface="+mn-ea"/>
                <a:sym typeface="Calibri"/>
              </a:rPr>
              <a:t>consectetur</a:t>
            </a:r>
            <a:r>
              <a:rPr lang="en-US" sz="1100" dirty="0">
                <a:latin typeface="Calibri"/>
                <a:ea typeface="微软雅黑"/>
                <a:cs typeface="+mn-ea"/>
                <a:sym typeface="Calibri"/>
              </a:rPr>
              <a:t> </a:t>
            </a:r>
            <a:r>
              <a:rPr lang="en-US" sz="1100" dirty="0" err="1">
                <a:latin typeface="Calibri"/>
                <a:ea typeface="微软雅黑"/>
                <a:cs typeface="+mn-ea"/>
                <a:sym typeface="Calibri"/>
              </a:rPr>
              <a:t>adipiscing</a:t>
            </a:r>
            <a:r>
              <a:rPr lang="en-US" sz="1100" dirty="0">
                <a:latin typeface="Calibri"/>
                <a:ea typeface="微软雅黑"/>
                <a:cs typeface="+mn-ea"/>
                <a:sym typeface="Calibri"/>
              </a:rPr>
              <a:t> </a:t>
            </a:r>
            <a:r>
              <a:rPr lang="en-US" sz="1100" dirty="0" err="1">
                <a:latin typeface="Calibri"/>
                <a:ea typeface="微软雅黑"/>
                <a:cs typeface="+mn-ea"/>
                <a:sym typeface="Calibri"/>
              </a:rPr>
              <a:t>elit</a:t>
            </a:r>
            <a:r>
              <a:rPr lang="en-US" sz="1100" dirty="0">
                <a:latin typeface="Calibri"/>
                <a:ea typeface="微软雅黑"/>
                <a:cs typeface="+mn-ea"/>
                <a:sym typeface="Calibri"/>
              </a:rPr>
              <a:t>, </a:t>
            </a:r>
            <a:r>
              <a:rPr lang="en-US" sz="1100" dirty="0" err="1">
                <a:latin typeface="Calibri"/>
                <a:ea typeface="微软雅黑"/>
                <a:cs typeface="+mn-ea"/>
                <a:sym typeface="Calibri"/>
              </a:rPr>
              <a:t>sed</a:t>
            </a:r>
            <a:r>
              <a:rPr lang="en-US" sz="1100" dirty="0">
                <a:latin typeface="Calibri"/>
                <a:ea typeface="微软雅黑"/>
                <a:cs typeface="+mn-ea"/>
                <a:sym typeface="Calibri"/>
              </a:rPr>
              <a:t> do </a:t>
            </a:r>
            <a:r>
              <a:rPr lang="en-US" sz="1100" dirty="0" err="1">
                <a:latin typeface="Calibri"/>
                <a:ea typeface="微软雅黑"/>
                <a:cs typeface="+mn-ea"/>
                <a:sym typeface="Calibri"/>
              </a:rPr>
              <a:t>eiusmod</a:t>
            </a:r>
            <a:endParaRPr lang="en-US" sz="1100" dirty="0">
              <a:latin typeface="Calibri"/>
              <a:ea typeface="微软雅黑"/>
              <a:cs typeface="+mn-ea"/>
              <a:sym typeface="Calibri"/>
            </a:endParaRPr>
          </a:p>
        </p:txBody>
      </p:sp>
      <p:sp>
        <p:nvSpPr>
          <p:cNvPr id="15" name="Rounded Rectangle 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984039" y="4350570"/>
            <a:ext cx="1236133" cy="257068"/>
          </a:xfrm>
          <a:prstGeom prst="roundRect">
            <a:avLst>
              <a:gd name="adj"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vi-VN">
              <a:latin typeface="Calibri"/>
              <a:ea typeface="微软雅黑"/>
              <a:cs typeface="+mn-ea"/>
              <a:sym typeface="Calibri"/>
            </a:endParaRPr>
          </a:p>
        </p:txBody>
      </p:sp>
      <p:sp>
        <p:nvSpPr>
          <p:cNvPr id="16" name="Shape 281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9086284" y="4406980"/>
            <a:ext cx="176303" cy="144248"/>
          </a:xfrm>
          <a:custGeom>
            <a:avLst/>
            <a:gdLst/>
            <a:ahLst/>
            <a:cxnLst>
              <a:cxn ang="0">
                <a:pos x="wd2" y="hd2"/>
              </a:cxn>
              <a:cxn ang="5400000">
                <a:pos x="wd2" y="hd2"/>
              </a:cxn>
              <a:cxn ang="10800000">
                <a:pos x="wd2" y="hd2"/>
              </a:cxn>
              <a:cxn ang="16200000">
                <a:pos x="wd2" y="hd2"/>
              </a:cxn>
            </a:cxnLst>
            <a:rect l="0" t="0" r="r" b="b"/>
            <a:pathLst>
              <a:path w="21600" h="21600" extrusionOk="0">
                <a:moveTo>
                  <a:pt x="20618" y="9600"/>
                </a:moveTo>
                <a:lnTo>
                  <a:pt x="982" y="9600"/>
                </a:lnTo>
                <a:lnTo>
                  <a:pt x="982" y="8400"/>
                </a:lnTo>
                <a:lnTo>
                  <a:pt x="20618" y="8400"/>
                </a:lnTo>
                <a:cubicBezTo>
                  <a:pt x="20618" y="8400"/>
                  <a:pt x="20618" y="9600"/>
                  <a:pt x="20618" y="9600"/>
                </a:cubicBezTo>
                <a:close/>
                <a:moveTo>
                  <a:pt x="19006" y="13200"/>
                </a:moveTo>
                <a:lnTo>
                  <a:pt x="15735" y="13200"/>
                </a:lnTo>
                <a:lnTo>
                  <a:pt x="16045" y="10800"/>
                </a:lnTo>
                <a:lnTo>
                  <a:pt x="19419" y="10800"/>
                </a:lnTo>
                <a:cubicBezTo>
                  <a:pt x="19419" y="10800"/>
                  <a:pt x="19006" y="13200"/>
                  <a:pt x="19006" y="13200"/>
                </a:cubicBezTo>
                <a:close/>
                <a:moveTo>
                  <a:pt x="18386" y="16800"/>
                </a:moveTo>
                <a:lnTo>
                  <a:pt x="15270" y="16800"/>
                </a:lnTo>
                <a:lnTo>
                  <a:pt x="15580" y="14400"/>
                </a:lnTo>
                <a:lnTo>
                  <a:pt x="18799" y="14400"/>
                </a:lnTo>
                <a:cubicBezTo>
                  <a:pt x="18799" y="14400"/>
                  <a:pt x="18386" y="16800"/>
                  <a:pt x="18386" y="16800"/>
                </a:cubicBezTo>
                <a:close/>
                <a:moveTo>
                  <a:pt x="17766" y="20400"/>
                </a:moveTo>
                <a:lnTo>
                  <a:pt x="14805" y="20400"/>
                </a:lnTo>
                <a:lnTo>
                  <a:pt x="15115" y="18000"/>
                </a:lnTo>
                <a:lnTo>
                  <a:pt x="18179" y="18000"/>
                </a:lnTo>
                <a:cubicBezTo>
                  <a:pt x="18179" y="18000"/>
                  <a:pt x="17766" y="20400"/>
                  <a:pt x="17766" y="20400"/>
                </a:cubicBezTo>
                <a:close/>
                <a:moveTo>
                  <a:pt x="11291" y="13200"/>
                </a:moveTo>
                <a:lnTo>
                  <a:pt x="11291" y="10800"/>
                </a:lnTo>
                <a:lnTo>
                  <a:pt x="15063" y="10800"/>
                </a:lnTo>
                <a:lnTo>
                  <a:pt x="14753" y="13200"/>
                </a:lnTo>
                <a:cubicBezTo>
                  <a:pt x="14753" y="13200"/>
                  <a:pt x="11291" y="13200"/>
                  <a:pt x="11291" y="13200"/>
                </a:cubicBezTo>
                <a:close/>
                <a:moveTo>
                  <a:pt x="14289" y="16800"/>
                </a:moveTo>
                <a:lnTo>
                  <a:pt x="11291" y="16800"/>
                </a:lnTo>
                <a:lnTo>
                  <a:pt x="11291" y="14400"/>
                </a:lnTo>
                <a:lnTo>
                  <a:pt x="14598" y="14400"/>
                </a:lnTo>
                <a:cubicBezTo>
                  <a:pt x="14598" y="14400"/>
                  <a:pt x="14289" y="16800"/>
                  <a:pt x="14289" y="16800"/>
                </a:cubicBezTo>
                <a:close/>
                <a:moveTo>
                  <a:pt x="13823" y="20400"/>
                </a:moveTo>
                <a:lnTo>
                  <a:pt x="11291" y="20400"/>
                </a:lnTo>
                <a:lnTo>
                  <a:pt x="11291" y="18000"/>
                </a:lnTo>
                <a:lnTo>
                  <a:pt x="14133" y="18000"/>
                </a:lnTo>
                <a:cubicBezTo>
                  <a:pt x="14133" y="18000"/>
                  <a:pt x="13823" y="20400"/>
                  <a:pt x="13823" y="20400"/>
                </a:cubicBezTo>
                <a:close/>
                <a:moveTo>
                  <a:pt x="10309" y="13200"/>
                </a:moveTo>
                <a:lnTo>
                  <a:pt x="6847" y="13200"/>
                </a:lnTo>
                <a:lnTo>
                  <a:pt x="6537" y="10800"/>
                </a:lnTo>
                <a:lnTo>
                  <a:pt x="10309" y="10800"/>
                </a:lnTo>
                <a:cubicBezTo>
                  <a:pt x="10309" y="10800"/>
                  <a:pt x="10309" y="13200"/>
                  <a:pt x="10309" y="13200"/>
                </a:cubicBezTo>
                <a:close/>
                <a:moveTo>
                  <a:pt x="10309" y="16800"/>
                </a:moveTo>
                <a:lnTo>
                  <a:pt x="7311" y="16800"/>
                </a:lnTo>
                <a:lnTo>
                  <a:pt x="7002" y="14400"/>
                </a:lnTo>
                <a:lnTo>
                  <a:pt x="10309" y="14400"/>
                </a:lnTo>
                <a:cubicBezTo>
                  <a:pt x="10309" y="14400"/>
                  <a:pt x="10309" y="16800"/>
                  <a:pt x="10309" y="16800"/>
                </a:cubicBezTo>
                <a:close/>
                <a:moveTo>
                  <a:pt x="10309" y="20400"/>
                </a:moveTo>
                <a:lnTo>
                  <a:pt x="7777" y="20400"/>
                </a:lnTo>
                <a:lnTo>
                  <a:pt x="7467" y="18000"/>
                </a:lnTo>
                <a:lnTo>
                  <a:pt x="10309" y="18000"/>
                </a:lnTo>
                <a:cubicBezTo>
                  <a:pt x="10309" y="18000"/>
                  <a:pt x="10309" y="20400"/>
                  <a:pt x="10309" y="20400"/>
                </a:cubicBezTo>
                <a:close/>
                <a:moveTo>
                  <a:pt x="3834" y="20400"/>
                </a:moveTo>
                <a:lnTo>
                  <a:pt x="3421" y="18000"/>
                </a:lnTo>
                <a:lnTo>
                  <a:pt x="6485" y="18000"/>
                </a:lnTo>
                <a:lnTo>
                  <a:pt x="6795" y="20400"/>
                </a:lnTo>
                <a:cubicBezTo>
                  <a:pt x="6795" y="20400"/>
                  <a:pt x="3834" y="20400"/>
                  <a:pt x="3834" y="20400"/>
                </a:cubicBezTo>
                <a:close/>
                <a:moveTo>
                  <a:pt x="2801" y="14400"/>
                </a:moveTo>
                <a:lnTo>
                  <a:pt x="6020" y="14400"/>
                </a:lnTo>
                <a:lnTo>
                  <a:pt x="6330" y="16800"/>
                </a:lnTo>
                <a:lnTo>
                  <a:pt x="3214" y="16800"/>
                </a:lnTo>
                <a:cubicBezTo>
                  <a:pt x="3214" y="16800"/>
                  <a:pt x="2801" y="14400"/>
                  <a:pt x="2801" y="14400"/>
                </a:cubicBezTo>
                <a:close/>
                <a:moveTo>
                  <a:pt x="2181" y="10800"/>
                </a:moveTo>
                <a:lnTo>
                  <a:pt x="5555" y="10800"/>
                </a:lnTo>
                <a:lnTo>
                  <a:pt x="5865" y="13200"/>
                </a:lnTo>
                <a:lnTo>
                  <a:pt x="2594" y="13200"/>
                </a:lnTo>
                <a:cubicBezTo>
                  <a:pt x="2594" y="13200"/>
                  <a:pt x="2181" y="10800"/>
                  <a:pt x="2181" y="10800"/>
                </a:cubicBezTo>
                <a:close/>
                <a:moveTo>
                  <a:pt x="10800" y="1320"/>
                </a:moveTo>
                <a:lnTo>
                  <a:pt x="17616" y="7200"/>
                </a:lnTo>
                <a:lnTo>
                  <a:pt x="3984" y="7200"/>
                </a:lnTo>
                <a:cubicBezTo>
                  <a:pt x="3984" y="7200"/>
                  <a:pt x="10800" y="1320"/>
                  <a:pt x="10800" y="1320"/>
                </a:cubicBezTo>
                <a:close/>
                <a:moveTo>
                  <a:pt x="20618" y="7200"/>
                </a:moveTo>
                <a:lnTo>
                  <a:pt x="19284" y="7200"/>
                </a:lnTo>
                <a:lnTo>
                  <a:pt x="11157" y="188"/>
                </a:lnTo>
                <a:lnTo>
                  <a:pt x="11155" y="190"/>
                </a:lnTo>
                <a:cubicBezTo>
                  <a:pt x="11066" y="74"/>
                  <a:pt x="10941" y="0"/>
                  <a:pt x="10800" y="0"/>
                </a:cubicBezTo>
                <a:cubicBezTo>
                  <a:pt x="10659" y="0"/>
                  <a:pt x="10534" y="74"/>
                  <a:pt x="10445" y="190"/>
                </a:cubicBezTo>
                <a:lnTo>
                  <a:pt x="10443" y="188"/>
                </a:lnTo>
                <a:lnTo>
                  <a:pt x="2316" y="7200"/>
                </a:lnTo>
                <a:lnTo>
                  <a:pt x="982" y="7200"/>
                </a:lnTo>
                <a:cubicBezTo>
                  <a:pt x="439" y="7200"/>
                  <a:pt x="0" y="7738"/>
                  <a:pt x="0" y="8400"/>
                </a:cubicBezTo>
                <a:lnTo>
                  <a:pt x="0" y="9600"/>
                </a:lnTo>
                <a:cubicBezTo>
                  <a:pt x="0" y="10262"/>
                  <a:pt x="439" y="10800"/>
                  <a:pt x="982" y="10800"/>
                </a:cubicBezTo>
                <a:lnTo>
                  <a:pt x="1178" y="10800"/>
                </a:lnTo>
                <a:lnTo>
                  <a:pt x="2960" y="21145"/>
                </a:lnTo>
                <a:lnTo>
                  <a:pt x="2969" y="21143"/>
                </a:lnTo>
                <a:cubicBezTo>
                  <a:pt x="3023" y="21403"/>
                  <a:pt x="3207" y="21600"/>
                  <a:pt x="3436" y="21600"/>
                </a:cubicBezTo>
                <a:lnTo>
                  <a:pt x="18164" y="21600"/>
                </a:lnTo>
                <a:cubicBezTo>
                  <a:pt x="18393" y="21600"/>
                  <a:pt x="18577" y="21403"/>
                  <a:pt x="18631" y="21143"/>
                </a:cubicBezTo>
                <a:lnTo>
                  <a:pt x="18640" y="21145"/>
                </a:lnTo>
                <a:lnTo>
                  <a:pt x="20422" y="10800"/>
                </a:lnTo>
                <a:lnTo>
                  <a:pt x="20618" y="10800"/>
                </a:lnTo>
                <a:cubicBezTo>
                  <a:pt x="21160" y="10800"/>
                  <a:pt x="21600" y="10262"/>
                  <a:pt x="21600" y="9600"/>
                </a:cubicBezTo>
                <a:lnTo>
                  <a:pt x="21600" y="8400"/>
                </a:lnTo>
                <a:cubicBezTo>
                  <a:pt x="21600" y="7738"/>
                  <a:pt x="21160" y="7200"/>
                  <a:pt x="20618" y="7200"/>
                </a:cubicBezTo>
              </a:path>
            </a:pathLst>
          </a:custGeom>
          <a:solidFill>
            <a:schemeClr val="bg1"/>
          </a:solidFill>
          <a:ln w="12700">
            <a:miter lim="400000"/>
          </a:ln>
        </p:spPr>
        <p:txBody>
          <a:bodyPr lIns="19045" tIns="19045" rIns="19045" bIns="19045" anchor="ctr"/>
          <a:lstStyle/>
          <a:p>
            <a:pPr defTabSz="228600">
              <a:defRPr sz="3000" cap="none">
                <a:solidFill>
                  <a:srgbClr val="FFFFFF"/>
                </a:solidFill>
                <a:effectLst>
                  <a:outerShdw blurRad="38100" dist="12700" dir="5400000" rotWithShape="0">
                    <a:srgbClr val="000000">
                      <a:alpha val="50000"/>
                    </a:srgbClr>
                  </a:outerShdw>
                </a:effectLst>
                <a:latin typeface="Gill Sans" panose="020B0602020204020204"/>
                <a:ea typeface="Gill Sans" panose="020B0602020204020204"/>
                <a:cs typeface="Gill Sans" panose="020B0602020204020204"/>
                <a:sym typeface="Gill Sans" panose="020B0602020204020204"/>
              </a:defRPr>
            </a:pPr>
            <a:endParaRPr sz="1500">
              <a:latin typeface="Calibri"/>
              <a:ea typeface="微软雅黑"/>
              <a:cs typeface="+mn-ea"/>
              <a:sym typeface="Calibri"/>
            </a:endParaRPr>
          </a:p>
        </p:txBody>
      </p:sp>
      <p:sp>
        <p:nvSpPr>
          <p:cNvPr id="17" name="TextBox 1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364832" y="4403172"/>
            <a:ext cx="644407" cy="161583"/>
          </a:xfrm>
          <a:prstGeom prst="rect">
            <a:avLst/>
          </a:prstGeom>
          <a:noFill/>
        </p:spPr>
        <p:txBody>
          <a:bodyPr wrap="none" lIns="0" tIns="0" rIns="0" bIns="0" rtlCol="0">
            <a:spAutoFit/>
          </a:bodyPr>
          <a:lstStyle/>
          <a:p>
            <a:pPr algn="l"/>
            <a:r>
              <a:rPr lang="vi-VN" sz="1050">
                <a:solidFill>
                  <a:schemeClr val="bg1"/>
                </a:solidFill>
                <a:latin typeface="Calibri"/>
                <a:ea typeface="微软雅黑"/>
                <a:cs typeface="+mn-ea"/>
                <a:sym typeface="Calibri"/>
              </a:rPr>
              <a:t>Add To Cart</a:t>
            </a:r>
          </a:p>
        </p:txBody>
      </p:sp>
      <p:sp>
        <p:nvSpPr>
          <p:cNvPr id="18" name="Oval 1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0354472" y="4350570"/>
            <a:ext cx="257068" cy="2570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vi-VN">
              <a:latin typeface="Calibri"/>
              <a:ea typeface="微软雅黑"/>
              <a:cs typeface="+mn-ea"/>
              <a:sym typeface="Calibri"/>
            </a:endParaRPr>
          </a:p>
        </p:txBody>
      </p:sp>
      <p:sp>
        <p:nvSpPr>
          <p:cNvPr id="19" name="Shape 263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0412695" y="4411564"/>
            <a:ext cx="139664" cy="139664"/>
          </a:xfrm>
          <a:custGeom>
            <a:avLst/>
            <a:gdLst/>
            <a:ahLst/>
            <a:cxnLst>
              <a:cxn ang="0">
                <a:pos x="wd2" y="hd2"/>
              </a:cxn>
              <a:cxn ang="5400000">
                <a:pos x="wd2" y="hd2"/>
              </a:cxn>
              <a:cxn ang="10800000">
                <a:pos x="wd2" y="hd2"/>
              </a:cxn>
              <a:cxn ang="16200000">
                <a:pos x="wd2" y="hd2"/>
              </a:cxn>
            </a:cxnLst>
            <a:rect l="0" t="0" r="r" b="b"/>
            <a:pathLst>
              <a:path w="21600" h="21600" extrusionOk="0">
                <a:moveTo>
                  <a:pt x="20579" y="7008"/>
                </a:moveTo>
                <a:cubicBezTo>
                  <a:pt x="20006" y="12260"/>
                  <a:pt x="12624" y="19436"/>
                  <a:pt x="10800" y="20538"/>
                </a:cubicBezTo>
                <a:cubicBezTo>
                  <a:pt x="8976" y="19436"/>
                  <a:pt x="1594" y="12260"/>
                  <a:pt x="1021" y="7001"/>
                </a:cubicBezTo>
                <a:cubicBezTo>
                  <a:pt x="1021" y="7001"/>
                  <a:pt x="982" y="6718"/>
                  <a:pt x="982" y="6382"/>
                </a:cubicBezTo>
                <a:cubicBezTo>
                  <a:pt x="982" y="3404"/>
                  <a:pt x="3404" y="982"/>
                  <a:pt x="6382" y="982"/>
                </a:cubicBezTo>
                <a:cubicBezTo>
                  <a:pt x="7780" y="982"/>
                  <a:pt x="9107" y="1518"/>
                  <a:pt x="10120" y="2491"/>
                </a:cubicBezTo>
                <a:lnTo>
                  <a:pt x="10800" y="3145"/>
                </a:lnTo>
                <a:lnTo>
                  <a:pt x="11480" y="2491"/>
                </a:lnTo>
                <a:cubicBezTo>
                  <a:pt x="12493" y="1518"/>
                  <a:pt x="13820" y="982"/>
                  <a:pt x="15218" y="982"/>
                </a:cubicBezTo>
                <a:cubicBezTo>
                  <a:pt x="18196" y="982"/>
                  <a:pt x="20618" y="3404"/>
                  <a:pt x="20618" y="6382"/>
                </a:cubicBezTo>
                <a:cubicBezTo>
                  <a:pt x="20618" y="6725"/>
                  <a:pt x="20579" y="7008"/>
                  <a:pt x="20579" y="7008"/>
                </a:cubicBezTo>
                <a:moveTo>
                  <a:pt x="21600" y="6382"/>
                </a:moveTo>
                <a:cubicBezTo>
                  <a:pt x="21600" y="2857"/>
                  <a:pt x="18743" y="0"/>
                  <a:pt x="15218" y="0"/>
                </a:cubicBezTo>
                <a:cubicBezTo>
                  <a:pt x="13502" y="0"/>
                  <a:pt x="11947" y="681"/>
                  <a:pt x="10800" y="1784"/>
                </a:cubicBezTo>
                <a:cubicBezTo>
                  <a:pt x="9653" y="681"/>
                  <a:pt x="8098" y="0"/>
                  <a:pt x="6382" y="0"/>
                </a:cubicBezTo>
                <a:cubicBezTo>
                  <a:pt x="2857" y="0"/>
                  <a:pt x="0" y="2857"/>
                  <a:pt x="0" y="6382"/>
                </a:cubicBezTo>
                <a:cubicBezTo>
                  <a:pt x="0" y="6792"/>
                  <a:pt x="65" y="7282"/>
                  <a:pt x="45" y="7115"/>
                </a:cubicBezTo>
                <a:cubicBezTo>
                  <a:pt x="733" y="13419"/>
                  <a:pt x="9855" y="21600"/>
                  <a:pt x="10800" y="21600"/>
                </a:cubicBezTo>
                <a:cubicBezTo>
                  <a:pt x="11745" y="21600"/>
                  <a:pt x="20867" y="13419"/>
                  <a:pt x="21555" y="7115"/>
                </a:cubicBezTo>
                <a:cubicBezTo>
                  <a:pt x="21536" y="7282"/>
                  <a:pt x="21600" y="6792"/>
                  <a:pt x="21600" y="6382"/>
                </a:cubicBezTo>
              </a:path>
            </a:pathLst>
          </a:custGeom>
          <a:solidFill>
            <a:schemeClr val="tx2"/>
          </a:solidFill>
          <a:ln w="12700">
            <a:miter lim="400000"/>
          </a:ln>
        </p:spPr>
        <p:txBody>
          <a:bodyPr lIns="19045" tIns="19045" rIns="19045" bIns="19045" anchor="ctr"/>
          <a:lstStyle/>
          <a:p>
            <a:pPr defTabSz="228600">
              <a:defRPr sz="3000" cap="none">
                <a:solidFill>
                  <a:srgbClr val="FFFFFF"/>
                </a:solidFill>
                <a:effectLst>
                  <a:outerShdw blurRad="38100" dist="12700" dir="5400000" rotWithShape="0">
                    <a:srgbClr val="000000">
                      <a:alpha val="50000"/>
                    </a:srgbClr>
                  </a:outerShdw>
                </a:effectLst>
                <a:latin typeface="Gill Sans" panose="020B0602020204020204"/>
                <a:ea typeface="Gill Sans" panose="020B0602020204020204"/>
                <a:cs typeface="Gill Sans" panose="020B0602020204020204"/>
                <a:sym typeface="Gill Sans" panose="020B0602020204020204"/>
              </a:defRPr>
            </a:pPr>
            <a:endParaRPr sz="1500">
              <a:latin typeface="Calibri"/>
              <a:ea typeface="微软雅黑"/>
              <a:cs typeface="+mn-ea"/>
              <a:sym typeface="Calibri"/>
            </a:endParaRPr>
          </a:p>
        </p:txBody>
      </p:sp>
      <p:sp>
        <p:nvSpPr>
          <p:cNvPr id="20" name="Oval 1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0745840" y="4350570"/>
            <a:ext cx="257068" cy="257068"/>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vi-VN">
              <a:latin typeface="Calibri"/>
              <a:ea typeface="微软雅黑"/>
              <a:cs typeface="+mn-ea"/>
              <a:sym typeface="Calibri"/>
            </a:endParaRPr>
          </a:p>
        </p:txBody>
      </p:sp>
      <p:sp>
        <p:nvSpPr>
          <p:cNvPr id="21" name="Shape 293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0778450" y="4418061"/>
            <a:ext cx="191848" cy="122085"/>
          </a:xfrm>
          <a:custGeom>
            <a:avLst/>
            <a:gdLst/>
            <a:ahLst/>
            <a:cxnLst>
              <a:cxn ang="0">
                <a:pos x="wd2" y="hd2"/>
              </a:cxn>
              <a:cxn ang="5400000">
                <a:pos x="wd2" y="hd2"/>
              </a:cxn>
              <a:cxn ang="10800000">
                <a:pos x="wd2" y="hd2"/>
              </a:cxn>
              <a:cxn ang="16200000">
                <a:pos x="wd2" y="hd2"/>
              </a:cxn>
            </a:cxnLst>
            <a:rect l="0" t="0" r="r" b="b"/>
            <a:pathLst>
              <a:path w="21600" h="21600" extrusionOk="0">
                <a:moveTo>
                  <a:pt x="15955" y="1543"/>
                </a:moveTo>
                <a:cubicBezTo>
                  <a:pt x="12837" y="1543"/>
                  <a:pt x="10309" y="5515"/>
                  <a:pt x="10309" y="10414"/>
                </a:cubicBezTo>
                <a:lnTo>
                  <a:pt x="10309" y="11186"/>
                </a:lnTo>
                <a:cubicBezTo>
                  <a:pt x="10309" y="15233"/>
                  <a:pt x="8221" y="18514"/>
                  <a:pt x="5645" y="18514"/>
                </a:cubicBezTo>
                <a:cubicBezTo>
                  <a:pt x="3070" y="18514"/>
                  <a:pt x="982" y="15233"/>
                  <a:pt x="982" y="11186"/>
                </a:cubicBezTo>
                <a:lnTo>
                  <a:pt x="982" y="10414"/>
                </a:lnTo>
                <a:cubicBezTo>
                  <a:pt x="982" y="6367"/>
                  <a:pt x="3070" y="3086"/>
                  <a:pt x="5645" y="3086"/>
                </a:cubicBezTo>
                <a:cubicBezTo>
                  <a:pt x="6670" y="3086"/>
                  <a:pt x="7575" y="3630"/>
                  <a:pt x="8321" y="4629"/>
                </a:cubicBezTo>
                <a:lnTo>
                  <a:pt x="6382" y="4629"/>
                </a:lnTo>
                <a:cubicBezTo>
                  <a:pt x="6110" y="4629"/>
                  <a:pt x="5891" y="4974"/>
                  <a:pt x="5891" y="5400"/>
                </a:cubicBezTo>
                <a:cubicBezTo>
                  <a:pt x="5891" y="5826"/>
                  <a:pt x="6110" y="6171"/>
                  <a:pt x="6382" y="6171"/>
                </a:cubicBezTo>
                <a:lnTo>
                  <a:pt x="9327" y="6171"/>
                </a:lnTo>
                <a:cubicBezTo>
                  <a:pt x="9599" y="6171"/>
                  <a:pt x="9818" y="5826"/>
                  <a:pt x="9818" y="5400"/>
                </a:cubicBezTo>
                <a:lnTo>
                  <a:pt x="9818" y="771"/>
                </a:lnTo>
                <a:cubicBezTo>
                  <a:pt x="9818" y="346"/>
                  <a:pt x="9599" y="0"/>
                  <a:pt x="9327" y="0"/>
                </a:cubicBezTo>
                <a:cubicBezTo>
                  <a:pt x="9056" y="0"/>
                  <a:pt x="8836" y="346"/>
                  <a:pt x="8836" y="771"/>
                </a:cubicBezTo>
                <a:lnTo>
                  <a:pt x="8836" y="3321"/>
                </a:lnTo>
                <a:cubicBezTo>
                  <a:pt x="7879" y="2160"/>
                  <a:pt x="6706" y="1543"/>
                  <a:pt x="5645" y="1543"/>
                </a:cubicBezTo>
                <a:cubicBezTo>
                  <a:pt x="2527" y="1543"/>
                  <a:pt x="0" y="5515"/>
                  <a:pt x="0" y="10414"/>
                </a:cubicBezTo>
                <a:lnTo>
                  <a:pt x="0" y="11186"/>
                </a:lnTo>
                <a:cubicBezTo>
                  <a:pt x="0" y="16085"/>
                  <a:pt x="2527" y="20057"/>
                  <a:pt x="5645" y="20057"/>
                </a:cubicBezTo>
                <a:cubicBezTo>
                  <a:pt x="8763" y="20057"/>
                  <a:pt x="11291" y="16085"/>
                  <a:pt x="11291" y="11186"/>
                </a:cubicBezTo>
                <a:lnTo>
                  <a:pt x="11291" y="10414"/>
                </a:lnTo>
                <a:cubicBezTo>
                  <a:pt x="11291" y="6367"/>
                  <a:pt x="13379" y="3086"/>
                  <a:pt x="15955" y="3086"/>
                </a:cubicBezTo>
                <a:cubicBezTo>
                  <a:pt x="18530" y="3086"/>
                  <a:pt x="20618" y="6367"/>
                  <a:pt x="20618" y="10414"/>
                </a:cubicBezTo>
                <a:lnTo>
                  <a:pt x="20618" y="11186"/>
                </a:lnTo>
                <a:cubicBezTo>
                  <a:pt x="20618" y="15233"/>
                  <a:pt x="18530" y="18514"/>
                  <a:pt x="15955" y="18514"/>
                </a:cubicBezTo>
                <a:cubicBezTo>
                  <a:pt x="14930" y="18514"/>
                  <a:pt x="14025" y="17970"/>
                  <a:pt x="13279" y="16971"/>
                </a:cubicBezTo>
                <a:lnTo>
                  <a:pt x="15218" y="16971"/>
                </a:lnTo>
                <a:cubicBezTo>
                  <a:pt x="15490" y="16971"/>
                  <a:pt x="15709" y="16626"/>
                  <a:pt x="15709" y="16200"/>
                </a:cubicBezTo>
                <a:cubicBezTo>
                  <a:pt x="15709" y="15774"/>
                  <a:pt x="15490" y="15429"/>
                  <a:pt x="15218" y="15429"/>
                </a:cubicBezTo>
                <a:lnTo>
                  <a:pt x="12273" y="15429"/>
                </a:lnTo>
                <a:cubicBezTo>
                  <a:pt x="12001" y="15429"/>
                  <a:pt x="11782" y="15774"/>
                  <a:pt x="11782" y="16200"/>
                </a:cubicBezTo>
                <a:lnTo>
                  <a:pt x="11782" y="20829"/>
                </a:lnTo>
                <a:cubicBezTo>
                  <a:pt x="11782" y="21255"/>
                  <a:pt x="12001" y="21600"/>
                  <a:pt x="12273" y="21600"/>
                </a:cubicBezTo>
                <a:cubicBezTo>
                  <a:pt x="12544" y="21600"/>
                  <a:pt x="12764" y="21255"/>
                  <a:pt x="12764" y="20829"/>
                </a:cubicBezTo>
                <a:lnTo>
                  <a:pt x="12764" y="18279"/>
                </a:lnTo>
                <a:cubicBezTo>
                  <a:pt x="13721" y="19441"/>
                  <a:pt x="14894" y="20057"/>
                  <a:pt x="15955" y="20057"/>
                </a:cubicBezTo>
                <a:cubicBezTo>
                  <a:pt x="19073" y="20057"/>
                  <a:pt x="21600" y="16085"/>
                  <a:pt x="21600" y="11186"/>
                </a:cubicBezTo>
                <a:lnTo>
                  <a:pt x="21600" y="10414"/>
                </a:lnTo>
                <a:cubicBezTo>
                  <a:pt x="21600" y="5515"/>
                  <a:pt x="19073" y="1543"/>
                  <a:pt x="15955" y="1543"/>
                </a:cubicBezTo>
              </a:path>
            </a:pathLst>
          </a:custGeom>
          <a:solidFill>
            <a:schemeClr val="tx2"/>
          </a:solidFill>
          <a:ln w="12700">
            <a:miter lim="400000"/>
          </a:ln>
        </p:spPr>
        <p:txBody>
          <a:bodyPr lIns="19045" tIns="19045" rIns="19045" bIns="19045" anchor="ctr"/>
          <a:lstStyle/>
          <a:p>
            <a:pPr defTabSz="228600">
              <a:defRPr sz="3000" cap="none">
                <a:solidFill>
                  <a:srgbClr val="FFFFFF"/>
                </a:solidFill>
                <a:effectLst>
                  <a:outerShdw blurRad="38100" dist="12700" dir="5400000" rotWithShape="0">
                    <a:srgbClr val="000000">
                      <a:alpha val="50000"/>
                    </a:srgbClr>
                  </a:outerShdw>
                </a:effectLst>
                <a:latin typeface="Gill Sans" panose="020B0602020204020204"/>
                <a:ea typeface="Gill Sans" panose="020B0602020204020204"/>
                <a:cs typeface="Gill Sans" panose="020B0602020204020204"/>
                <a:sym typeface="Gill Sans" panose="020B0602020204020204"/>
              </a:defRPr>
            </a:pPr>
            <a:endParaRPr sz="1500">
              <a:latin typeface="Calibri"/>
              <a:ea typeface="微软雅黑"/>
              <a:cs typeface="+mn-ea"/>
              <a:sym typeface="Calibri"/>
            </a:endParaRPr>
          </a:p>
        </p:txBody>
      </p:sp>
      <p:sp>
        <p:nvSpPr>
          <p:cNvPr id="22" name="TextBox 2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080735" y="1841298"/>
            <a:ext cx="2193389" cy="1231106"/>
          </a:xfrm>
          <a:prstGeom prst="rect">
            <a:avLst/>
          </a:prstGeom>
          <a:noFill/>
        </p:spPr>
        <p:txBody>
          <a:bodyPr wrap="square" lIns="0" tIns="0" rIns="0" bIns="0" rtlCol="0">
            <a:spAutoFit/>
          </a:bodyPr>
          <a:lstStyle/>
          <a:p>
            <a:r>
              <a:rPr lang="en-US" sz="4000" b="1" dirty="0">
                <a:latin typeface="Calibri"/>
                <a:ea typeface="微软雅黑"/>
                <a:cs typeface="+mn-ea"/>
                <a:sym typeface="Calibri"/>
              </a:rPr>
              <a:t>Updates </a:t>
            </a:r>
            <a:r>
              <a:rPr lang="en-US" sz="4000" b="1" i="1" dirty="0">
                <a:gradFill>
                  <a:gsLst>
                    <a:gs pos="0">
                      <a:schemeClr val="accent1"/>
                    </a:gs>
                    <a:gs pos="100000">
                      <a:schemeClr val="accent2"/>
                    </a:gs>
                  </a:gsLst>
                  <a:lin ang="2700000" scaled="0"/>
                </a:gradFill>
                <a:latin typeface="Calibri"/>
                <a:ea typeface="微软雅黑"/>
                <a:cs typeface="+mn-ea"/>
                <a:sym typeface="Calibri"/>
              </a:rPr>
              <a:t>Support</a:t>
            </a:r>
          </a:p>
        </p:txBody>
      </p:sp>
      <p:sp>
        <p:nvSpPr>
          <p:cNvPr id="23" name="TextBox 2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1080735" y="1363662"/>
            <a:ext cx="2600191" cy="184666"/>
          </a:xfrm>
          <a:prstGeom prst="rect">
            <a:avLst/>
          </a:prstGeom>
          <a:noFill/>
        </p:spPr>
        <p:txBody>
          <a:bodyPr wrap="square" lIns="0" tIns="0" rIns="0" bIns="0" rtlCol="0">
            <a:spAutoFit/>
          </a:bodyPr>
          <a:lstStyle/>
          <a:p>
            <a:r>
              <a:rPr lang="en-US" sz="1200" b="1" spc="300" dirty="0">
                <a:latin typeface="Calibri"/>
                <a:ea typeface="微软雅黑"/>
                <a:cs typeface="+mn-ea"/>
                <a:sym typeface="Calibri"/>
              </a:rPr>
              <a:t>CHECK YOUR SEO RESULT</a:t>
            </a:r>
          </a:p>
        </p:txBody>
      </p:sp>
      <p:grpSp>
        <p:nvGrpSpPr>
          <p:cNvPr id="25" name="Group 2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090612" y="4905552"/>
            <a:ext cx="1387939" cy="293525"/>
            <a:chOff x="1229470" y="3827230"/>
            <a:chExt cx="1387939" cy="293525"/>
          </a:xfrm>
        </p:grpSpPr>
        <p:grpSp>
          <p:nvGrpSpPr>
            <p:cNvPr id="26" name="Group 25"/>
            <p:cNvGrpSpPr/>
            <p:nvPr/>
          </p:nvGrpSpPr>
          <p:grpSpPr>
            <a:xfrm>
              <a:off x="1229470" y="3828302"/>
              <a:ext cx="291381" cy="291381"/>
              <a:chOff x="7793811" y="2801237"/>
              <a:chExt cx="1061357" cy="1061357"/>
            </a:xfrm>
            <a:effectLst>
              <a:outerShdw blurRad="127000" dist="76200" dir="2700000" algn="tl" rotWithShape="0">
                <a:prstClr val="black">
                  <a:alpha val="20000"/>
                </a:prstClr>
              </a:outerShdw>
            </a:effectLst>
          </p:grpSpPr>
          <p:sp>
            <p:nvSpPr>
              <p:cNvPr id="35" name="Oval 34"/>
              <p:cNvSpPr/>
              <p:nvPr/>
            </p:nvSpPr>
            <p:spPr>
              <a:xfrm>
                <a:off x="7793811" y="2801237"/>
                <a:ext cx="1061357" cy="1061357"/>
              </a:xfrm>
              <a:prstGeom prst="ellipse">
                <a:avLst/>
              </a:prstGeom>
              <a:solidFill>
                <a:srgbClr val="4267B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endParaRPr lang="en-US">
                  <a:latin typeface="Calibri"/>
                  <a:ea typeface="微软雅黑"/>
                  <a:cs typeface="+mn-ea"/>
                  <a:sym typeface="Calibri"/>
                </a:endParaRPr>
              </a:p>
            </p:txBody>
          </p:sp>
          <p:sp>
            <p:nvSpPr>
              <p:cNvPr id="36" name="Freeform 5"/>
              <p:cNvSpPr/>
              <p:nvPr/>
            </p:nvSpPr>
            <p:spPr bwMode="auto">
              <a:xfrm>
                <a:off x="8157803" y="3000790"/>
                <a:ext cx="333375" cy="642938"/>
              </a:xfrm>
              <a:custGeom>
                <a:avLst/>
                <a:gdLst>
                  <a:gd name="T0" fmla="*/ 112 w 112"/>
                  <a:gd name="T1" fmla="*/ 36 h 216"/>
                  <a:gd name="T2" fmla="*/ 92 w 112"/>
                  <a:gd name="T3" fmla="*/ 36 h 216"/>
                  <a:gd name="T4" fmla="*/ 73 w 112"/>
                  <a:gd name="T5" fmla="*/ 55 h 216"/>
                  <a:gd name="T6" fmla="*/ 73 w 112"/>
                  <a:gd name="T7" fmla="*/ 79 h 216"/>
                  <a:gd name="T8" fmla="*/ 111 w 112"/>
                  <a:gd name="T9" fmla="*/ 79 h 216"/>
                  <a:gd name="T10" fmla="*/ 111 w 112"/>
                  <a:gd name="T11" fmla="*/ 118 h 216"/>
                  <a:gd name="T12" fmla="*/ 73 w 112"/>
                  <a:gd name="T13" fmla="*/ 118 h 216"/>
                  <a:gd name="T14" fmla="*/ 73 w 112"/>
                  <a:gd name="T15" fmla="*/ 216 h 216"/>
                  <a:gd name="T16" fmla="*/ 33 w 112"/>
                  <a:gd name="T17" fmla="*/ 216 h 216"/>
                  <a:gd name="T18" fmla="*/ 33 w 112"/>
                  <a:gd name="T19" fmla="*/ 118 h 216"/>
                  <a:gd name="T20" fmla="*/ 0 w 112"/>
                  <a:gd name="T21" fmla="*/ 118 h 216"/>
                  <a:gd name="T22" fmla="*/ 0 w 112"/>
                  <a:gd name="T23" fmla="*/ 79 h 216"/>
                  <a:gd name="T24" fmla="*/ 33 w 112"/>
                  <a:gd name="T25" fmla="*/ 79 h 216"/>
                  <a:gd name="T26" fmla="*/ 33 w 112"/>
                  <a:gd name="T27" fmla="*/ 51 h 216"/>
                  <a:gd name="T28" fmla="*/ 82 w 112"/>
                  <a:gd name="T29" fmla="*/ 0 h 216"/>
                  <a:gd name="T30" fmla="*/ 112 w 112"/>
                  <a:gd name="T31" fmla="*/ 0 h 216"/>
                  <a:gd name="T32" fmla="*/ 112 w 112"/>
                  <a:gd name="T33" fmla="*/ 3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2" h="216">
                    <a:moveTo>
                      <a:pt x="112" y="36"/>
                    </a:moveTo>
                    <a:cubicBezTo>
                      <a:pt x="92" y="36"/>
                      <a:pt x="92" y="36"/>
                      <a:pt x="92" y="36"/>
                    </a:cubicBezTo>
                    <a:cubicBezTo>
                      <a:pt x="76" y="36"/>
                      <a:pt x="73" y="44"/>
                      <a:pt x="73" y="55"/>
                    </a:cubicBezTo>
                    <a:cubicBezTo>
                      <a:pt x="73" y="79"/>
                      <a:pt x="73" y="79"/>
                      <a:pt x="73" y="79"/>
                    </a:cubicBezTo>
                    <a:cubicBezTo>
                      <a:pt x="111" y="79"/>
                      <a:pt x="111" y="79"/>
                      <a:pt x="111" y="79"/>
                    </a:cubicBezTo>
                    <a:cubicBezTo>
                      <a:pt x="111" y="118"/>
                      <a:pt x="111" y="118"/>
                      <a:pt x="111" y="118"/>
                    </a:cubicBezTo>
                    <a:cubicBezTo>
                      <a:pt x="73" y="118"/>
                      <a:pt x="73" y="118"/>
                      <a:pt x="73" y="118"/>
                    </a:cubicBezTo>
                    <a:cubicBezTo>
                      <a:pt x="73" y="216"/>
                      <a:pt x="73" y="216"/>
                      <a:pt x="73" y="216"/>
                    </a:cubicBezTo>
                    <a:cubicBezTo>
                      <a:pt x="33" y="216"/>
                      <a:pt x="33" y="216"/>
                      <a:pt x="33" y="216"/>
                    </a:cubicBezTo>
                    <a:cubicBezTo>
                      <a:pt x="33" y="118"/>
                      <a:pt x="33" y="118"/>
                      <a:pt x="33" y="118"/>
                    </a:cubicBezTo>
                    <a:cubicBezTo>
                      <a:pt x="0" y="118"/>
                      <a:pt x="0" y="118"/>
                      <a:pt x="0" y="118"/>
                    </a:cubicBezTo>
                    <a:cubicBezTo>
                      <a:pt x="0" y="79"/>
                      <a:pt x="0" y="79"/>
                      <a:pt x="0" y="79"/>
                    </a:cubicBezTo>
                    <a:cubicBezTo>
                      <a:pt x="33" y="79"/>
                      <a:pt x="33" y="79"/>
                      <a:pt x="33" y="79"/>
                    </a:cubicBezTo>
                    <a:cubicBezTo>
                      <a:pt x="33" y="51"/>
                      <a:pt x="33" y="51"/>
                      <a:pt x="33" y="51"/>
                    </a:cubicBezTo>
                    <a:cubicBezTo>
                      <a:pt x="33" y="18"/>
                      <a:pt x="53" y="0"/>
                      <a:pt x="82" y="0"/>
                    </a:cubicBezTo>
                    <a:cubicBezTo>
                      <a:pt x="112" y="0"/>
                      <a:pt x="112" y="0"/>
                      <a:pt x="112" y="0"/>
                    </a:cubicBezTo>
                    <a:lnTo>
                      <a:pt x="112" y="36"/>
                    </a:lnTo>
                    <a:close/>
                  </a:path>
                </a:pathLst>
              </a:custGeom>
              <a:solidFill>
                <a:schemeClr val="bg1"/>
              </a:solidFill>
              <a:ln>
                <a:noFill/>
              </a:ln>
            </p:spPr>
            <p:txBody>
              <a:bodyPr vert="horz" wrap="square" lIns="91440" tIns="45720" rIns="91440" bIns="45720" numCol="1" anchor="t" anchorCtr="0" compatLnSpc="1"/>
              <a:lstStyle/>
              <a:p>
                <a:endParaRPr lang="ru-RU">
                  <a:latin typeface="Calibri"/>
                  <a:ea typeface="微软雅黑"/>
                  <a:cs typeface="+mn-ea"/>
                  <a:sym typeface="Calibri"/>
                </a:endParaRPr>
              </a:p>
            </p:txBody>
          </p:sp>
        </p:grpSp>
        <p:grpSp>
          <p:nvGrpSpPr>
            <p:cNvPr id="27" name="Group 26"/>
            <p:cNvGrpSpPr/>
            <p:nvPr/>
          </p:nvGrpSpPr>
          <p:grpSpPr>
            <a:xfrm>
              <a:off x="2326028" y="3828302"/>
              <a:ext cx="291381" cy="291381"/>
              <a:chOff x="4939603" y="3070374"/>
              <a:chExt cx="358626" cy="358626"/>
            </a:xfrm>
            <a:effectLst>
              <a:outerShdw blurRad="127000" dist="76200" dir="2700000" algn="tl" rotWithShape="0">
                <a:prstClr val="black">
                  <a:alpha val="20000"/>
                </a:prstClr>
              </a:outerShdw>
            </a:effectLst>
          </p:grpSpPr>
          <p:sp>
            <p:nvSpPr>
              <p:cNvPr id="31" name="Oval 30"/>
              <p:cNvSpPr/>
              <p:nvPr/>
            </p:nvSpPr>
            <p:spPr>
              <a:xfrm>
                <a:off x="4939603" y="3070374"/>
                <a:ext cx="358626" cy="358626"/>
              </a:xfrm>
              <a:prstGeom prst="ellipse">
                <a:avLst/>
              </a:prstGeom>
              <a:solidFill>
                <a:srgbClr val="D2483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endParaRPr lang="en-US">
                  <a:latin typeface="Calibri"/>
                  <a:ea typeface="微软雅黑"/>
                  <a:cs typeface="+mn-ea"/>
                  <a:sym typeface="Calibri"/>
                </a:endParaRPr>
              </a:p>
            </p:txBody>
          </p:sp>
          <p:grpSp>
            <p:nvGrpSpPr>
              <p:cNvPr id="32" name="Group 31"/>
              <p:cNvGrpSpPr/>
              <p:nvPr/>
            </p:nvGrpSpPr>
            <p:grpSpPr>
              <a:xfrm>
                <a:off x="5025152" y="3138511"/>
                <a:ext cx="212417" cy="218318"/>
                <a:chOff x="3994150" y="17463"/>
                <a:chExt cx="628651" cy="646113"/>
              </a:xfrm>
              <a:solidFill>
                <a:schemeClr val="bg1"/>
              </a:solidFill>
            </p:grpSpPr>
            <p:sp>
              <p:nvSpPr>
                <p:cNvPr id="33" name="Freeform 32"/>
                <p:cNvSpPr>
                  <a:spLocks noEditPoints="1"/>
                </p:cNvSpPr>
                <p:nvPr/>
              </p:nvSpPr>
              <p:spPr bwMode="auto">
                <a:xfrm>
                  <a:off x="3994150" y="17463"/>
                  <a:ext cx="420688" cy="646113"/>
                </a:xfrm>
                <a:custGeom>
                  <a:avLst/>
                  <a:gdLst>
                    <a:gd name="T0" fmla="*/ 111 w 141"/>
                    <a:gd name="T1" fmla="*/ 124 h 217"/>
                    <a:gd name="T2" fmla="*/ 101 w 141"/>
                    <a:gd name="T3" fmla="*/ 116 h 217"/>
                    <a:gd name="T4" fmla="*/ 94 w 141"/>
                    <a:gd name="T5" fmla="*/ 104 h 217"/>
                    <a:gd name="T6" fmla="*/ 102 w 141"/>
                    <a:gd name="T7" fmla="*/ 90 h 217"/>
                    <a:gd name="T8" fmla="*/ 125 w 141"/>
                    <a:gd name="T9" fmla="*/ 50 h 217"/>
                    <a:gd name="T10" fmla="*/ 105 w 141"/>
                    <a:gd name="T11" fmla="*/ 11 h 217"/>
                    <a:gd name="T12" fmla="*/ 123 w 141"/>
                    <a:gd name="T13" fmla="*/ 11 h 217"/>
                    <a:gd name="T14" fmla="*/ 141 w 141"/>
                    <a:gd name="T15" fmla="*/ 0 h 217"/>
                    <a:gd name="T16" fmla="*/ 85 w 141"/>
                    <a:gd name="T17" fmla="*/ 0 h 217"/>
                    <a:gd name="T18" fmla="*/ 32 w 141"/>
                    <a:gd name="T19" fmla="*/ 17 h 217"/>
                    <a:gd name="T20" fmla="*/ 14 w 141"/>
                    <a:gd name="T21" fmla="*/ 55 h 217"/>
                    <a:gd name="T22" fmla="*/ 61 w 141"/>
                    <a:gd name="T23" fmla="*/ 99 h 217"/>
                    <a:gd name="T24" fmla="*/ 70 w 141"/>
                    <a:gd name="T25" fmla="*/ 98 h 217"/>
                    <a:gd name="T26" fmla="*/ 67 w 141"/>
                    <a:gd name="T27" fmla="*/ 109 h 217"/>
                    <a:gd name="T28" fmla="*/ 76 w 141"/>
                    <a:gd name="T29" fmla="*/ 129 h 217"/>
                    <a:gd name="T30" fmla="*/ 22 w 141"/>
                    <a:gd name="T31" fmla="*/ 142 h 217"/>
                    <a:gd name="T32" fmla="*/ 0 w 141"/>
                    <a:gd name="T33" fmla="*/ 176 h 217"/>
                    <a:gd name="T34" fmla="*/ 61 w 141"/>
                    <a:gd name="T35" fmla="*/ 217 h 217"/>
                    <a:gd name="T36" fmla="*/ 135 w 141"/>
                    <a:gd name="T37" fmla="*/ 163 h 217"/>
                    <a:gd name="T38" fmla="*/ 111 w 141"/>
                    <a:gd name="T39" fmla="*/ 124 h 217"/>
                    <a:gd name="T40" fmla="*/ 74 w 141"/>
                    <a:gd name="T41" fmla="*/ 91 h 217"/>
                    <a:gd name="T42" fmla="*/ 39 w 141"/>
                    <a:gd name="T43" fmla="*/ 41 h 217"/>
                    <a:gd name="T44" fmla="*/ 45 w 141"/>
                    <a:gd name="T45" fmla="*/ 20 h 217"/>
                    <a:gd name="T46" fmla="*/ 65 w 141"/>
                    <a:gd name="T47" fmla="*/ 11 h 217"/>
                    <a:gd name="T48" fmla="*/ 100 w 141"/>
                    <a:gd name="T49" fmla="*/ 63 h 217"/>
                    <a:gd name="T50" fmla="*/ 93 w 141"/>
                    <a:gd name="T51" fmla="*/ 83 h 217"/>
                    <a:gd name="T52" fmla="*/ 74 w 141"/>
                    <a:gd name="T53" fmla="*/ 91 h 217"/>
                    <a:gd name="T54" fmla="*/ 74 w 141"/>
                    <a:gd name="T55" fmla="*/ 205 h 217"/>
                    <a:gd name="T56" fmla="*/ 25 w 141"/>
                    <a:gd name="T57" fmla="*/ 170 h 217"/>
                    <a:gd name="T58" fmla="*/ 49 w 141"/>
                    <a:gd name="T59" fmla="*/ 141 h 217"/>
                    <a:gd name="T60" fmla="*/ 79 w 141"/>
                    <a:gd name="T61" fmla="*/ 137 h 217"/>
                    <a:gd name="T62" fmla="*/ 85 w 141"/>
                    <a:gd name="T63" fmla="*/ 137 h 217"/>
                    <a:gd name="T64" fmla="*/ 116 w 141"/>
                    <a:gd name="T65" fmla="*/ 174 h 217"/>
                    <a:gd name="T66" fmla="*/ 74 w 141"/>
                    <a:gd name="T67" fmla="*/ 20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41" h="217">
                      <a:moveTo>
                        <a:pt x="111" y="124"/>
                      </a:moveTo>
                      <a:cubicBezTo>
                        <a:pt x="101" y="116"/>
                        <a:pt x="101" y="116"/>
                        <a:pt x="101" y="116"/>
                      </a:cubicBezTo>
                      <a:cubicBezTo>
                        <a:pt x="98" y="113"/>
                        <a:pt x="94" y="110"/>
                        <a:pt x="94" y="104"/>
                      </a:cubicBezTo>
                      <a:cubicBezTo>
                        <a:pt x="94" y="97"/>
                        <a:pt x="98" y="93"/>
                        <a:pt x="102" y="90"/>
                      </a:cubicBezTo>
                      <a:cubicBezTo>
                        <a:pt x="113" y="80"/>
                        <a:pt x="125" y="70"/>
                        <a:pt x="125" y="50"/>
                      </a:cubicBezTo>
                      <a:cubicBezTo>
                        <a:pt x="125" y="28"/>
                        <a:pt x="112" y="17"/>
                        <a:pt x="105" y="11"/>
                      </a:cubicBezTo>
                      <a:cubicBezTo>
                        <a:pt x="123" y="11"/>
                        <a:pt x="123" y="11"/>
                        <a:pt x="123" y="11"/>
                      </a:cubicBezTo>
                      <a:cubicBezTo>
                        <a:pt x="141" y="0"/>
                        <a:pt x="141" y="0"/>
                        <a:pt x="141" y="0"/>
                      </a:cubicBezTo>
                      <a:cubicBezTo>
                        <a:pt x="85" y="0"/>
                        <a:pt x="85" y="0"/>
                        <a:pt x="85" y="0"/>
                      </a:cubicBezTo>
                      <a:cubicBezTo>
                        <a:pt x="70" y="0"/>
                        <a:pt x="48" y="3"/>
                        <a:pt x="32" y="17"/>
                      </a:cubicBezTo>
                      <a:cubicBezTo>
                        <a:pt x="20" y="27"/>
                        <a:pt x="14" y="42"/>
                        <a:pt x="14" y="55"/>
                      </a:cubicBezTo>
                      <a:cubicBezTo>
                        <a:pt x="14" y="77"/>
                        <a:pt x="31" y="99"/>
                        <a:pt x="61" y="99"/>
                      </a:cubicBezTo>
                      <a:cubicBezTo>
                        <a:pt x="64" y="99"/>
                        <a:pt x="67" y="99"/>
                        <a:pt x="70" y="98"/>
                      </a:cubicBezTo>
                      <a:cubicBezTo>
                        <a:pt x="69" y="102"/>
                        <a:pt x="67" y="105"/>
                        <a:pt x="67" y="109"/>
                      </a:cubicBezTo>
                      <a:cubicBezTo>
                        <a:pt x="67" y="118"/>
                        <a:pt x="72" y="124"/>
                        <a:pt x="76" y="129"/>
                      </a:cubicBezTo>
                      <a:cubicBezTo>
                        <a:pt x="63" y="130"/>
                        <a:pt x="39" y="131"/>
                        <a:pt x="22" y="142"/>
                      </a:cubicBezTo>
                      <a:cubicBezTo>
                        <a:pt x="5" y="152"/>
                        <a:pt x="0" y="166"/>
                        <a:pt x="0" y="176"/>
                      </a:cubicBezTo>
                      <a:cubicBezTo>
                        <a:pt x="0" y="197"/>
                        <a:pt x="20" y="217"/>
                        <a:pt x="61" y="217"/>
                      </a:cubicBezTo>
                      <a:cubicBezTo>
                        <a:pt x="109" y="217"/>
                        <a:pt x="135" y="190"/>
                        <a:pt x="135" y="163"/>
                      </a:cubicBezTo>
                      <a:cubicBezTo>
                        <a:pt x="135" y="144"/>
                        <a:pt x="124" y="134"/>
                        <a:pt x="111" y="124"/>
                      </a:cubicBezTo>
                      <a:close/>
                      <a:moveTo>
                        <a:pt x="74" y="91"/>
                      </a:moveTo>
                      <a:cubicBezTo>
                        <a:pt x="50" y="91"/>
                        <a:pt x="39" y="60"/>
                        <a:pt x="39" y="41"/>
                      </a:cubicBezTo>
                      <a:cubicBezTo>
                        <a:pt x="39" y="33"/>
                        <a:pt x="40" y="26"/>
                        <a:pt x="45" y="20"/>
                      </a:cubicBezTo>
                      <a:cubicBezTo>
                        <a:pt x="50" y="14"/>
                        <a:pt x="58" y="11"/>
                        <a:pt x="65" y="11"/>
                      </a:cubicBezTo>
                      <a:cubicBezTo>
                        <a:pt x="88" y="11"/>
                        <a:pt x="100" y="42"/>
                        <a:pt x="100" y="63"/>
                      </a:cubicBezTo>
                      <a:cubicBezTo>
                        <a:pt x="100" y="68"/>
                        <a:pt x="100" y="77"/>
                        <a:pt x="93" y="83"/>
                      </a:cubicBezTo>
                      <a:cubicBezTo>
                        <a:pt x="89" y="88"/>
                        <a:pt x="81" y="91"/>
                        <a:pt x="74" y="91"/>
                      </a:cubicBezTo>
                      <a:close/>
                      <a:moveTo>
                        <a:pt x="74" y="205"/>
                      </a:moveTo>
                      <a:cubicBezTo>
                        <a:pt x="44" y="205"/>
                        <a:pt x="25" y="190"/>
                        <a:pt x="25" y="170"/>
                      </a:cubicBezTo>
                      <a:cubicBezTo>
                        <a:pt x="25" y="150"/>
                        <a:pt x="43" y="143"/>
                        <a:pt x="49" y="141"/>
                      </a:cubicBezTo>
                      <a:cubicBezTo>
                        <a:pt x="61" y="137"/>
                        <a:pt x="76" y="137"/>
                        <a:pt x="79" y="137"/>
                      </a:cubicBezTo>
                      <a:cubicBezTo>
                        <a:pt x="82" y="137"/>
                        <a:pt x="83" y="137"/>
                        <a:pt x="85" y="137"/>
                      </a:cubicBezTo>
                      <a:cubicBezTo>
                        <a:pt x="107" y="152"/>
                        <a:pt x="116" y="160"/>
                        <a:pt x="116" y="174"/>
                      </a:cubicBezTo>
                      <a:cubicBezTo>
                        <a:pt x="116" y="192"/>
                        <a:pt x="102" y="205"/>
                        <a:pt x="74" y="205"/>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ru-RU">
                    <a:latin typeface="Calibri"/>
                    <a:ea typeface="微软雅黑"/>
                    <a:cs typeface="+mn-ea"/>
                    <a:sym typeface="Calibri"/>
                  </a:endParaRPr>
                </a:p>
              </p:txBody>
            </p:sp>
            <p:sp>
              <p:nvSpPr>
                <p:cNvPr id="34" name="Freeform 33"/>
                <p:cNvSpPr/>
                <p:nvPr/>
              </p:nvSpPr>
              <p:spPr bwMode="auto">
                <a:xfrm>
                  <a:off x="4411663" y="203200"/>
                  <a:ext cx="211138" cy="211138"/>
                </a:xfrm>
                <a:custGeom>
                  <a:avLst/>
                  <a:gdLst>
                    <a:gd name="T0" fmla="*/ 79 w 133"/>
                    <a:gd name="T1" fmla="*/ 54 h 133"/>
                    <a:gd name="T2" fmla="*/ 79 w 133"/>
                    <a:gd name="T3" fmla="*/ 0 h 133"/>
                    <a:gd name="T4" fmla="*/ 52 w 133"/>
                    <a:gd name="T5" fmla="*/ 0 h 133"/>
                    <a:gd name="T6" fmla="*/ 52 w 133"/>
                    <a:gd name="T7" fmla="*/ 54 h 133"/>
                    <a:gd name="T8" fmla="*/ 0 w 133"/>
                    <a:gd name="T9" fmla="*/ 54 h 133"/>
                    <a:gd name="T10" fmla="*/ 0 w 133"/>
                    <a:gd name="T11" fmla="*/ 80 h 133"/>
                    <a:gd name="T12" fmla="*/ 52 w 133"/>
                    <a:gd name="T13" fmla="*/ 80 h 133"/>
                    <a:gd name="T14" fmla="*/ 52 w 133"/>
                    <a:gd name="T15" fmla="*/ 133 h 133"/>
                    <a:gd name="T16" fmla="*/ 79 w 133"/>
                    <a:gd name="T17" fmla="*/ 133 h 133"/>
                    <a:gd name="T18" fmla="*/ 79 w 133"/>
                    <a:gd name="T19" fmla="*/ 80 h 133"/>
                    <a:gd name="T20" fmla="*/ 133 w 133"/>
                    <a:gd name="T21" fmla="*/ 80 h 133"/>
                    <a:gd name="T22" fmla="*/ 133 w 133"/>
                    <a:gd name="T23" fmla="*/ 54 h 133"/>
                    <a:gd name="T24" fmla="*/ 79 w 133"/>
                    <a:gd name="T25" fmla="*/ 54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3" h="133">
                      <a:moveTo>
                        <a:pt x="79" y="54"/>
                      </a:moveTo>
                      <a:lnTo>
                        <a:pt x="79" y="0"/>
                      </a:lnTo>
                      <a:lnTo>
                        <a:pt x="52" y="0"/>
                      </a:lnTo>
                      <a:lnTo>
                        <a:pt x="52" y="54"/>
                      </a:lnTo>
                      <a:lnTo>
                        <a:pt x="0" y="54"/>
                      </a:lnTo>
                      <a:lnTo>
                        <a:pt x="0" y="80"/>
                      </a:lnTo>
                      <a:lnTo>
                        <a:pt x="52" y="80"/>
                      </a:lnTo>
                      <a:lnTo>
                        <a:pt x="52" y="133"/>
                      </a:lnTo>
                      <a:lnTo>
                        <a:pt x="79" y="133"/>
                      </a:lnTo>
                      <a:lnTo>
                        <a:pt x="79" y="80"/>
                      </a:lnTo>
                      <a:lnTo>
                        <a:pt x="133" y="80"/>
                      </a:lnTo>
                      <a:lnTo>
                        <a:pt x="133" y="54"/>
                      </a:lnTo>
                      <a:lnTo>
                        <a:pt x="79" y="54"/>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ru-RU">
                    <a:latin typeface="Calibri"/>
                    <a:ea typeface="微软雅黑"/>
                    <a:cs typeface="+mn-ea"/>
                    <a:sym typeface="Calibri"/>
                  </a:endParaRPr>
                </a:p>
              </p:txBody>
            </p:sp>
          </p:grpSp>
        </p:grpSp>
        <p:grpSp>
          <p:nvGrpSpPr>
            <p:cNvPr id="28" name="Group 27"/>
            <p:cNvGrpSpPr/>
            <p:nvPr/>
          </p:nvGrpSpPr>
          <p:grpSpPr>
            <a:xfrm>
              <a:off x="1776677" y="3827230"/>
              <a:ext cx="293525" cy="293525"/>
              <a:chOff x="6451161" y="3070373"/>
              <a:chExt cx="873981" cy="873981"/>
            </a:xfrm>
            <a:effectLst>
              <a:outerShdw blurRad="127000" dist="76200" dir="2700000" algn="tl" rotWithShape="0">
                <a:prstClr val="black">
                  <a:alpha val="20000"/>
                </a:prstClr>
              </a:outerShdw>
            </a:effectLst>
          </p:grpSpPr>
          <p:sp>
            <p:nvSpPr>
              <p:cNvPr id="29" name="Oval 28"/>
              <p:cNvSpPr/>
              <p:nvPr/>
            </p:nvSpPr>
            <p:spPr>
              <a:xfrm>
                <a:off x="6451161" y="3070373"/>
                <a:ext cx="873981" cy="873981"/>
              </a:xfrm>
              <a:prstGeom prst="ellipse">
                <a:avLst/>
              </a:prstGeom>
              <a:solidFill>
                <a:srgbClr val="049FF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endParaRPr lang="en-US">
                  <a:latin typeface="Calibri"/>
                  <a:ea typeface="微软雅黑"/>
                  <a:cs typeface="+mn-ea"/>
                  <a:sym typeface="Calibri"/>
                </a:endParaRPr>
              </a:p>
            </p:txBody>
          </p:sp>
          <p:sp>
            <p:nvSpPr>
              <p:cNvPr id="30" name="Freeform 57"/>
              <p:cNvSpPr/>
              <p:nvPr/>
            </p:nvSpPr>
            <p:spPr bwMode="auto">
              <a:xfrm>
                <a:off x="6613745" y="3284999"/>
                <a:ext cx="548813" cy="444728"/>
              </a:xfrm>
              <a:custGeom>
                <a:avLst/>
                <a:gdLst>
                  <a:gd name="T0" fmla="*/ 233 w 234"/>
                  <a:gd name="T1" fmla="*/ 27 h 189"/>
                  <a:gd name="T2" fmla="*/ 226 w 234"/>
                  <a:gd name="T3" fmla="*/ 26 h 189"/>
                  <a:gd name="T4" fmla="*/ 220 w 234"/>
                  <a:gd name="T5" fmla="*/ 29 h 189"/>
                  <a:gd name="T6" fmla="*/ 228 w 234"/>
                  <a:gd name="T7" fmla="*/ 14 h 189"/>
                  <a:gd name="T8" fmla="*/ 226 w 234"/>
                  <a:gd name="T9" fmla="*/ 8 h 189"/>
                  <a:gd name="T10" fmla="*/ 220 w 234"/>
                  <a:gd name="T11" fmla="*/ 8 h 189"/>
                  <a:gd name="T12" fmla="*/ 195 w 234"/>
                  <a:gd name="T13" fmla="*/ 18 h 189"/>
                  <a:gd name="T14" fmla="*/ 131 w 234"/>
                  <a:gd name="T15" fmla="*/ 13 h 189"/>
                  <a:gd name="T16" fmla="*/ 110 w 234"/>
                  <a:gd name="T17" fmla="*/ 59 h 189"/>
                  <a:gd name="T18" fmla="*/ 25 w 234"/>
                  <a:gd name="T19" fmla="*/ 14 h 189"/>
                  <a:gd name="T20" fmla="*/ 21 w 234"/>
                  <a:gd name="T21" fmla="*/ 12 h 189"/>
                  <a:gd name="T22" fmla="*/ 17 w 234"/>
                  <a:gd name="T23" fmla="*/ 15 h 189"/>
                  <a:gd name="T24" fmla="*/ 11 w 234"/>
                  <a:gd name="T25" fmla="*/ 53 h 189"/>
                  <a:gd name="T26" fmla="*/ 20 w 234"/>
                  <a:gd name="T27" fmla="*/ 71 h 189"/>
                  <a:gd name="T28" fmla="*/ 15 w 234"/>
                  <a:gd name="T29" fmla="*/ 68 h 189"/>
                  <a:gd name="T30" fmla="*/ 10 w 234"/>
                  <a:gd name="T31" fmla="*/ 67 h 189"/>
                  <a:gd name="T32" fmla="*/ 7 w 234"/>
                  <a:gd name="T33" fmla="*/ 72 h 189"/>
                  <a:gd name="T34" fmla="*/ 34 w 234"/>
                  <a:gd name="T35" fmla="*/ 117 h 189"/>
                  <a:gd name="T36" fmla="*/ 27 w 234"/>
                  <a:gd name="T37" fmla="*/ 116 h 189"/>
                  <a:gd name="T38" fmla="*/ 22 w 234"/>
                  <a:gd name="T39" fmla="*/ 117 h 189"/>
                  <a:gd name="T40" fmla="*/ 21 w 234"/>
                  <a:gd name="T41" fmla="*/ 122 h 189"/>
                  <a:gd name="T42" fmla="*/ 60 w 234"/>
                  <a:gd name="T43" fmla="*/ 154 h 189"/>
                  <a:gd name="T44" fmla="*/ 6 w 234"/>
                  <a:gd name="T45" fmla="*/ 164 h 189"/>
                  <a:gd name="T46" fmla="*/ 1 w 234"/>
                  <a:gd name="T47" fmla="*/ 167 h 189"/>
                  <a:gd name="T48" fmla="*/ 3 w 234"/>
                  <a:gd name="T49" fmla="*/ 171 h 189"/>
                  <a:gd name="T50" fmla="*/ 78 w 234"/>
                  <a:gd name="T51" fmla="*/ 189 h 189"/>
                  <a:gd name="T52" fmla="*/ 78 w 234"/>
                  <a:gd name="T53" fmla="*/ 189 h 189"/>
                  <a:gd name="T54" fmla="*/ 176 w 234"/>
                  <a:gd name="T55" fmla="*/ 147 h 189"/>
                  <a:gd name="T56" fmla="*/ 211 w 234"/>
                  <a:gd name="T57" fmla="*/ 56 h 189"/>
                  <a:gd name="T58" fmla="*/ 233 w 234"/>
                  <a:gd name="T59" fmla="*/ 33 h 189"/>
                  <a:gd name="T60" fmla="*/ 233 w 234"/>
                  <a:gd name="T61" fmla="*/ 27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34" h="189">
                    <a:moveTo>
                      <a:pt x="233" y="27"/>
                    </a:moveTo>
                    <a:cubicBezTo>
                      <a:pt x="231" y="26"/>
                      <a:pt x="229" y="25"/>
                      <a:pt x="226" y="26"/>
                    </a:cubicBezTo>
                    <a:cubicBezTo>
                      <a:pt x="225" y="27"/>
                      <a:pt x="223" y="28"/>
                      <a:pt x="220" y="29"/>
                    </a:cubicBezTo>
                    <a:cubicBezTo>
                      <a:pt x="224" y="24"/>
                      <a:pt x="226" y="18"/>
                      <a:pt x="228" y="14"/>
                    </a:cubicBezTo>
                    <a:cubicBezTo>
                      <a:pt x="228" y="12"/>
                      <a:pt x="227" y="9"/>
                      <a:pt x="226" y="8"/>
                    </a:cubicBezTo>
                    <a:cubicBezTo>
                      <a:pt x="224" y="7"/>
                      <a:pt x="222" y="7"/>
                      <a:pt x="220" y="8"/>
                    </a:cubicBezTo>
                    <a:cubicBezTo>
                      <a:pt x="217" y="10"/>
                      <a:pt x="204" y="16"/>
                      <a:pt x="195" y="18"/>
                    </a:cubicBezTo>
                    <a:cubicBezTo>
                      <a:pt x="177" y="1"/>
                      <a:pt x="154" y="0"/>
                      <a:pt x="131" y="13"/>
                    </a:cubicBezTo>
                    <a:cubicBezTo>
                      <a:pt x="113" y="24"/>
                      <a:pt x="109" y="46"/>
                      <a:pt x="110" y="59"/>
                    </a:cubicBezTo>
                    <a:cubicBezTo>
                      <a:pt x="67" y="55"/>
                      <a:pt x="40" y="33"/>
                      <a:pt x="25" y="14"/>
                    </a:cubicBezTo>
                    <a:cubicBezTo>
                      <a:pt x="24" y="13"/>
                      <a:pt x="23" y="12"/>
                      <a:pt x="21" y="12"/>
                    </a:cubicBezTo>
                    <a:cubicBezTo>
                      <a:pt x="19" y="12"/>
                      <a:pt x="18" y="13"/>
                      <a:pt x="17" y="15"/>
                    </a:cubicBezTo>
                    <a:cubicBezTo>
                      <a:pt x="10" y="27"/>
                      <a:pt x="8" y="40"/>
                      <a:pt x="11" y="53"/>
                    </a:cubicBezTo>
                    <a:cubicBezTo>
                      <a:pt x="13" y="60"/>
                      <a:pt x="16" y="66"/>
                      <a:pt x="20" y="71"/>
                    </a:cubicBezTo>
                    <a:cubicBezTo>
                      <a:pt x="18" y="70"/>
                      <a:pt x="17" y="69"/>
                      <a:pt x="15" y="68"/>
                    </a:cubicBezTo>
                    <a:cubicBezTo>
                      <a:pt x="14" y="67"/>
                      <a:pt x="11" y="66"/>
                      <a:pt x="10" y="67"/>
                    </a:cubicBezTo>
                    <a:cubicBezTo>
                      <a:pt x="8" y="68"/>
                      <a:pt x="7" y="70"/>
                      <a:pt x="7" y="72"/>
                    </a:cubicBezTo>
                    <a:cubicBezTo>
                      <a:pt x="7" y="95"/>
                      <a:pt x="21" y="109"/>
                      <a:pt x="34" y="117"/>
                    </a:cubicBezTo>
                    <a:cubicBezTo>
                      <a:pt x="32" y="117"/>
                      <a:pt x="30" y="116"/>
                      <a:pt x="27" y="116"/>
                    </a:cubicBezTo>
                    <a:cubicBezTo>
                      <a:pt x="25" y="115"/>
                      <a:pt x="23" y="115"/>
                      <a:pt x="22" y="117"/>
                    </a:cubicBezTo>
                    <a:cubicBezTo>
                      <a:pt x="21" y="118"/>
                      <a:pt x="20" y="121"/>
                      <a:pt x="21" y="122"/>
                    </a:cubicBezTo>
                    <a:cubicBezTo>
                      <a:pt x="29" y="139"/>
                      <a:pt x="42" y="150"/>
                      <a:pt x="60" y="154"/>
                    </a:cubicBezTo>
                    <a:cubicBezTo>
                      <a:pt x="45" y="162"/>
                      <a:pt x="25" y="167"/>
                      <a:pt x="6" y="164"/>
                    </a:cubicBezTo>
                    <a:cubicBezTo>
                      <a:pt x="4" y="164"/>
                      <a:pt x="1" y="165"/>
                      <a:pt x="1" y="167"/>
                    </a:cubicBezTo>
                    <a:cubicBezTo>
                      <a:pt x="0" y="170"/>
                      <a:pt x="1" y="170"/>
                      <a:pt x="3" y="171"/>
                    </a:cubicBezTo>
                    <a:cubicBezTo>
                      <a:pt x="28" y="185"/>
                      <a:pt x="53" y="189"/>
                      <a:pt x="78" y="189"/>
                    </a:cubicBezTo>
                    <a:cubicBezTo>
                      <a:pt x="78" y="189"/>
                      <a:pt x="78" y="189"/>
                      <a:pt x="78" y="189"/>
                    </a:cubicBezTo>
                    <a:cubicBezTo>
                      <a:pt x="115" y="189"/>
                      <a:pt x="150" y="176"/>
                      <a:pt x="176" y="147"/>
                    </a:cubicBezTo>
                    <a:cubicBezTo>
                      <a:pt x="201" y="120"/>
                      <a:pt x="214" y="88"/>
                      <a:pt x="211" y="56"/>
                    </a:cubicBezTo>
                    <a:cubicBezTo>
                      <a:pt x="217" y="51"/>
                      <a:pt x="227" y="43"/>
                      <a:pt x="233" y="33"/>
                    </a:cubicBezTo>
                    <a:cubicBezTo>
                      <a:pt x="234" y="31"/>
                      <a:pt x="234" y="29"/>
                      <a:pt x="233" y="27"/>
                    </a:cubicBezTo>
                    <a:close/>
                  </a:path>
                </a:pathLst>
              </a:custGeom>
              <a:solidFill>
                <a:schemeClr val="bg1"/>
              </a:solidFill>
              <a:ln>
                <a:noFill/>
              </a:ln>
            </p:spPr>
            <p:txBody>
              <a:bodyPr vert="horz" wrap="square" lIns="91440" tIns="45720" rIns="91440" bIns="45720" numCol="1" anchor="t" anchorCtr="0" compatLnSpc="1"/>
              <a:lstStyle/>
              <a:p>
                <a:endParaRPr lang="ru-RU" dirty="0">
                  <a:latin typeface="Calibri"/>
                  <a:ea typeface="微软雅黑"/>
                  <a:cs typeface="+mn-ea"/>
                  <a:sym typeface="Calibri"/>
                </a:endParaRPr>
              </a:p>
            </p:txBody>
          </p:sp>
        </p:grpSp>
      </p:grpSp>
      <p:sp>
        <p:nvSpPr>
          <p:cNvPr id="51" name="Прямоугольник 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748008" y="5822392"/>
            <a:ext cx="2723823" cy="276999"/>
          </a:xfrm>
          <a:prstGeom prst="rect">
            <a:avLst/>
          </a:prstGeom>
        </p:spPr>
        <p:txBody>
          <a:bodyPr wrap="none">
            <a:spAutoFit/>
          </a:bodyPr>
          <a:lstStyle/>
          <a:p>
            <a:r>
              <a:rPr lang="en-US" sz="1200" spc="300" dirty="0">
                <a:solidFill>
                  <a:schemeClr val="bg1"/>
                </a:solidFill>
                <a:latin typeface="Calibri"/>
                <a:ea typeface="微软雅黑"/>
                <a:cs typeface="+mn-ea"/>
                <a:sym typeface="Calibri"/>
              </a:rPr>
              <a:t>HEIJAILUO PRESENTATION</a:t>
            </a:r>
            <a:endParaRPr lang="ru-RU" sz="1200" spc="300" dirty="0">
              <a:solidFill>
                <a:schemeClr val="bg1"/>
              </a:solidFill>
              <a:latin typeface="Calibri"/>
              <a:ea typeface="微软雅黑"/>
              <a:cs typeface="+mn-ea"/>
              <a:sym typeface="Calibri"/>
            </a:endParaRPr>
          </a:p>
        </p:txBody>
      </p:sp>
      <p:sp>
        <p:nvSpPr>
          <p:cNvPr id="52" name="Freeform 5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rot="18900000">
            <a:off x="-61452" y="5701083"/>
            <a:ext cx="771710" cy="786300"/>
          </a:xfrm>
          <a:custGeom>
            <a:avLst/>
            <a:gdLst>
              <a:gd name="connsiteX0" fmla="*/ 0 w 1557038"/>
              <a:gd name="connsiteY0" fmla="*/ 778518 h 1557038"/>
              <a:gd name="connsiteX1" fmla="*/ 0 w 1557038"/>
              <a:gd name="connsiteY1" fmla="*/ 778518 h 1557038"/>
              <a:gd name="connsiteX2" fmla="*/ 0 w 1557038"/>
              <a:gd name="connsiteY2" fmla="*/ 778519 h 1557038"/>
              <a:gd name="connsiteX3" fmla="*/ 778519 w 1557038"/>
              <a:gd name="connsiteY3" fmla="*/ 0 h 1557038"/>
              <a:gd name="connsiteX4" fmla="*/ 778518 w 1557038"/>
              <a:gd name="connsiteY4" fmla="*/ 0 h 1557038"/>
              <a:gd name="connsiteX5" fmla="*/ 778518 w 1557038"/>
              <a:gd name="connsiteY5" fmla="*/ 0 h 1557038"/>
              <a:gd name="connsiteX6" fmla="*/ 1503899 w 1557038"/>
              <a:gd name="connsiteY6" fmla="*/ 650229 h 1557038"/>
              <a:gd name="connsiteX7" fmla="*/ 1557038 w 1557038"/>
              <a:gd name="connsiteY7" fmla="*/ 778519 h 1557038"/>
              <a:gd name="connsiteX8" fmla="*/ 1557037 w 1557038"/>
              <a:gd name="connsiteY8" fmla="*/ 778519 h 1557038"/>
              <a:gd name="connsiteX9" fmla="*/ 1375608 w 1557038"/>
              <a:gd name="connsiteY9" fmla="*/ 959948 h 1557038"/>
              <a:gd name="connsiteX10" fmla="*/ 959947 w 1557038"/>
              <a:gd name="connsiteY10" fmla="*/ 959948 h 1557038"/>
              <a:gd name="connsiteX11" fmla="*/ 959947 w 1557038"/>
              <a:gd name="connsiteY11" fmla="*/ 1375609 h 1557038"/>
              <a:gd name="connsiteX12" fmla="*/ 778518 w 1557038"/>
              <a:gd name="connsiteY12" fmla="*/ 1557038 h 1557038"/>
              <a:gd name="connsiteX13" fmla="*/ 778518 w 1557038"/>
              <a:gd name="connsiteY13" fmla="*/ 1557037 h 1557038"/>
              <a:gd name="connsiteX14" fmla="*/ 597089 w 1557038"/>
              <a:gd name="connsiteY14" fmla="*/ 1375608 h 1557038"/>
              <a:gd name="connsiteX15" fmla="*/ 597089 w 1557038"/>
              <a:gd name="connsiteY15" fmla="*/ 959948 h 1557038"/>
              <a:gd name="connsiteX16" fmla="*/ 181429 w 1557038"/>
              <a:gd name="connsiteY16" fmla="*/ 959947 h 1557038"/>
              <a:gd name="connsiteX17" fmla="*/ 14258 w 1557038"/>
              <a:gd name="connsiteY17" fmla="*/ 849138 h 1557038"/>
              <a:gd name="connsiteX18" fmla="*/ 0 w 1557038"/>
              <a:gd name="connsiteY18" fmla="*/ 778518 h 1557038"/>
              <a:gd name="connsiteX19" fmla="*/ 14258 w 1557038"/>
              <a:gd name="connsiteY19" fmla="*/ 707899 h 1557038"/>
              <a:gd name="connsiteX20" fmla="*/ 181429 w 1557038"/>
              <a:gd name="connsiteY20" fmla="*/ 597090 h 1557038"/>
              <a:gd name="connsiteX21" fmla="*/ 597090 w 1557038"/>
              <a:gd name="connsiteY21" fmla="*/ 597090 h 1557038"/>
              <a:gd name="connsiteX22" fmla="*/ 597090 w 1557038"/>
              <a:gd name="connsiteY22" fmla="*/ 181429 h 1557038"/>
              <a:gd name="connsiteX23" fmla="*/ 707899 w 1557038"/>
              <a:gd name="connsiteY23" fmla="*/ 14258 h 1557038"/>
              <a:gd name="connsiteX24" fmla="*/ 778518 w 1557038"/>
              <a:gd name="connsiteY24" fmla="*/ 0 h 1557038"/>
              <a:gd name="connsiteX25" fmla="*/ 849138 w 1557038"/>
              <a:gd name="connsiteY25" fmla="*/ 14258 h 1557038"/>
              <a:gd name="connsiteX26" fmla="*/ 959947 w 1557038"/>
              <a:gd name="connsiteY26" fmla="*/ 181429 h 1557038"/>
              <a:gd name="connsiteX27" fmla="*/ 959947 w 1557038"/>
              <a:gd name="connsiteY27" fmla="*/ 597090 h 1557038"/>
              <a:gd name="connsiteX28" fmla="*/ 1375609 w 1557038"/>
              <a:gd name="connsiteY28" fmla="*/ 597090 h 1557038"/>
              <a:gd name="connsiteX29" fmla="*/ 1503899 w 1557038"/>
              <a:gd name="connsiteY29" fmla="*/ 650229 h 155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557038" h="1557038">
                <a:moveTo>
                  <a:pt x="0" y="778518"/>
                </a:moveTo>
                <a:lnTo>
                  <a:pt x="0" y="778518"/>
                </a:lnTo>
                <a:lnTo>
                  <a:pt x="0" y="778519"/>
                </a:lnTo>
                <a:close/>
                <a:moveTo>
                  <a:pt x="778519" y="0"/>
                </a:moveTo>
                <a:lnTo>
                  <a:pt x="778518" y="0"/>
                </a:lnTo>
                <a:lnTo>
                  <a:pt x="778518" y="0"/>
                </a:lnTo>
                <a:close/>
                <a:moveTo>
                  <a:pt x="1503899" y="650229"/>
                </a:moveTo>
                <a:cubicBezTo>
                  <a:pt x="1536731" y="683062"/>
                  <a:pt x="1557038" y="728419"/>
                  <a:pt x="1557038" y="778519"/>
                </a:cubicBezTo>
                <a:lnTo>
                  <a:pt x="1557037" y="778519"/>
                </a:lnTo>
                <a:cubicBezTo>
                  <a:pt x="1557037" y="878719"/>
                  <a:pt x="1475808" y="959948"/>
                  <a:pt x="1375608" y="959948"/>
                </a:cubicBezTo>
                <a:lnTo>
                  <a:pt x="959947" y="959948"/>
                </a:lnTo>
                <a:lnTo>
                  <a:pt x="959947" y="1375609"/>
                </a:lnTo>
                <a:cubicBezTo>
                  <a:pt x="959947" y="1475809"/>
                  <a:pt x="878718" y="1557038"/>
                  <a:pt x="778518" y="1557038"/>
                </a:cubicBezTo>
                <a:lnTo>
                  <a:pt x="778518" y="1557037"/>
                </a:lnTo>
                <a:cubicBezTo>
                  <a:pt x="678318" y="1557037"/>
                  <a:pt x="597089" y="1475808"/>
                  <a:pt x="597089" y="1375608"/>
                </a:cubicBezTo>
                <a:lnTo>
                  <a:pt x="597089" y="959948"/>
                </a:lnTo>
                <a:lnTo>
                  <a:pt x="181429" y="959947"/>
                </a:lnTo>
                <a:cubicBezTo>
                  <a:pt x="106279" y="959947"/>
                  <a:pt x="41800" y="914256"/>
                  <a:pt x="14258" y="849138"/>
                </a:cubicBezTo>
                <a:lnTo>
                  <a:pt x="0" y="778518"/>
                </a:lnTo>
                <a:lnTo>
                  <a:pt x="14258" y="707899"/>
                </a:lnTo>
                <a:cubicBezTo>
                  <a:pt x="41800" y="642781"/>
                  <a:pt x="106279" y="597090"/>
                  <a:pt x="181429" y="597090"/>
                </a:cubicBezTo>
                <a:lnTo>
                  <a:pt x="597090" y="597090"/>
                </a:lnTo>
                <a:lnTo>
                  <a:pt x="597090" y="181429"/>
                </a:lnTo>
                <a:cubicBezTo>
                  <a:pt x="597090" y="106279"/>
                  <a:pt x="642781" y="41800"/>
                  <a:pt x="707899" y="14258"/>
                </a:cubicBezTo>
                <a:lnTo>
                  <a:pt x="778518" y="0"/>
                </a:lnTo>
                <a:lnTo>
                  <a:pt x="849138" y="14258"/>
                </a:lnTo>
                <a:cubicBezTo>
                  <a:pt x="914256" y="41800"/>
                  <a:pt x="959947" y="106279"/>
                  <a:pt x="959947" y="181429"/>
                </a:cubicBezTo>
                <a:lnTo>
                  <a:pt x="959947" y="597090"/>
                </a:lnTo>
                <a:lnTo>
                  <a:pt x="1375609" y="597090"/>
                </a:lnTo>
                <a:cubicBezTo>
                  <a:pt x="1425709" y="597090"/>
                  <a:pt x="1471066" y="617397"/>
                  <a:pt x="1503899" y="650229"/>
                </a:cubicBezTo>
                <a:close/>
              </a:path>
            </a:pathLst>
          </a:custGeom>
          <a:gradFill>
            <a:gsLst>
              <a:gs pos="0">
                <a:schemeClr val="accent6">
                  <a:alpha val="80000"/>
                </a:schemeClr>
              </a:gs>
              <a:gs pos="100000">
                <a:schemeClr val="accent5">
                  <a:alpha val="8000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Calibri"/>
              <a:ea typeface="微软雅黑"/>
              <a:cs typeface="+mn-ea"/>
              <a:sym typeface="Calibri"/>
            </a:endParaRPr>
          </a:p>
        </p:txBody>
      </p:sp>
      <p:sp>
        <p:nvSpPr>
          <p:cNvPr id="53" name="Rectangle 3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107362" y="3363770"/>
            <a:ext cx="2304207" cy="742383"/>
          </a:xfrm>
          <a:prstGeom prst="rect">
            <a:avLst/>
          </a:prstGeom>
        </p:spPr>
        <p:txBody>
          <a:bodyPr wrap="square">
            <a:spAutoFit/>
          </a:bodyPr>
          <a:lstStyle/>
          <a:p>
            <a:pPr>
              <a:lnSpc>
                <a:spcPct val="120000"/>
              </a:lnSpc>
            </a:pPr>
            <a:r>
              <a:rPr lang="en-US" sz="1200" i="1" dirty="0">
                <a:solidFill>
                  <a:schemeClr val="tx1">
                    <a:lumMod val="65000"/>
                    <a:lumOff val="35000"/>
                  </a:schemeClr>
                </a:solidFill>
                <a:latin typeface="Calibri"/>
                <a:ea typeface="微软雅黑"/>
                <a:cs typeface="+mn-ea"/>
                <a:sym typeface="Calibri"/>
              </a:rPr>
              <a:t>Hey, hey, hey! It's Fat Company! Now I'm </a:t>
            </a:r>
            <a:r>
              <a:rPr lang="en-US" sz="1200" i="1" dirty="0" err="1">
                <a:solidFill>
                  <a:schemeClr val="tx1">
                    <a:lumMod val="65000"/>
                    <a:lumOff val="35000"/>
                  </a:schemeClr>
                </a:solidFill>
                <a:latin typeface="Calibri"/>
                <a:ea typeface="微软雅黑"/>
                <a:cs typeface="+mn-ea"/>
                <a:sym typeface="Calibri"/>
              </a:rPr>
              <a:t>gonna</a:t>
            </a:r>
            <a:r>
              <a:rPr lang="en-US" sz="1200" i="1" dirty="0">
                <a:solidFill>
                  <a:schemeClr val="tx1">
                    <a:lumMod val="65000"/>
                    <a:lumOff val="35000"/>
                  </a:schemeClr>
                </a:solidFill>
                <a:latin typeface="Calibri"/>
                <a:ea typeface="微软雅黑"/>
                <a:cs typeface="+mn-ea"/>
                <a:sym typeface="Calibri"/>
              </a:rPr>
              <a:t> sing a song for you, and this is </a:t>
            </a:r>
            <a:r>
              <a:rPr lang="en-US" sz="1200" i="1" dirty="0" err="1">
                <a:solidFill>
                  <a:schemeClr val="tx1">
                    <a:lumMod val="65000"/>
                    <a:lumOff val="35000"/>
                  </a:schemeClr>
                </a:solidFill>
                <a:latin typeface="Calibri"/>
                <a:ea typeface="微软雅黑"/>
                <a:cs typeface="+mn-ea"/>
                <a:sym typeface="Calibri"/>
              </a:rPr>
              <a:t>gonna</a:t>
            </a:r>
            <a:r>
              <a:rPr lang="en-US" sz="1200" i="1" dirty="0">
                <a:solidFill>
                  <a:schemeClr val="tx1">
                    <a:lumMod val="65000"/>
                    <a:lumOff val="35000"/>
                  </a:schemeClr>
                </a:solidFill>
                <a:latin typeface="Calibri"/>
                <a:ea typeface="微软雅黑"/>
                <a:cs typeface="+mn-ea"/>
                <a:sym typeface="Calibri"/>
              </a:rPr>
              <a:t> show you</a:t>
            </a:r>
          </a:p>
        </p:txBody>
      </p:sp>
      <p:sp>
        <p:nvSpPr>
          <p:cNvPr id="2"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Freeform: Shape 8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40290" y="936715"/>
            <a:ext cx="9524999" cy="5924107"/>
          </a:xfrm>
          <a:custGeom>
            <a:avLst/>
            <a:gdLst>
              <a:gd name="connsiteX0" fmla="*/ 0 w 7809136"/>
              <a:gd name="connsiteY0" fmla="*/ 0 h 6923471"/>
              <a:gd name="connsiteX1" fmla="*/ 0 w 7809136"/>
              <a:gd name="connsiteY1" fmla="*/ 6923471 h 6923471"/>
              <a:gd name="connsiteX2" fmla="*/ 7131147 w 7809136"/>
              <a:gd name="connsiteY2" fmla="*/ 6923471 h 6923471"/>
              <a:gd name="connsiteX3" fmla="*/ 7477068 w 7809136"/>
              <a:gd name="connsiteY3" fmla="*/ 2825761 h 6923471"/>
              <a:gd name="connsiteX4" fmla="*/ 108528 w 7809136"/>
              <a:gd name="connsiteY4" fmla="*/ 85899 h 6923471"/>
              <a:gd name="connsiteX0-1" fmla="*/ 0 w 7809136"/>
              <a:gd name="connsiteY0-2" fmla="*/ 0 h 6923471"/>
              <a:gd name="connsiteX1-3" fmla="*/ 0 w 7809136"/>
              <a:gd name="connsiteY1-4" fmla="*/ 6923471 h 6923471"/>
              <a:gd name="connsiteX2-5" fmla="*/ 7131147 w 7809136"/>
              <a:gd name="connsiteY2-6" fmla="*/ 6923471 h 6923471"/>
              <a:gd name="connsiteX3-7" fmla="*/ 7477068 w 7809136"/>
              <a:gd name="connsiteY3-8" fmla="*/ 2825761 h 6923471"/>
              <a:gd name="connsiteX4-9" fmla="*/ 108528 w 7809136"/>
              <a:gd name="connsiteY4-10" fmla="*/ 85899 h 6923471"/>
              <a:gd name="connsiteX5" fmla="*/ 0 w 7809136"/>
              <a:gd name="connsiteY5" fmla="*/ 0 h 6923471"/>
              <a:gd name="connsiteX0-11" fmla="*/ 0 w 7809136"/>
              <a:gd name="connsiteY0-12" fmla="*/ 0 h 6923471"/>
              <a:gd name="connsiteX1-13" fmla="*/ 0 w 7809136"/>
              <a:gd name="connsiteY1-14" fmla="*/ 6923471 h 6923471"/>
              <a:gd name="connsiteX2-15" fmla="*/ 7131147 w 7809136"/>
              <a:gd name="connsiteY2-16" fmla="*/ 6923471 h 6923471"/>
              <a:gd name="connsiteX3-17" fmla="*/ 7477068 w 7809136"/>
              <a:gd name="connsiteY3-18" fmla="*/ 2825761 h 6923471"/>
              <a:gd name="connsiteX4-19" fmla="*/ 4355024 w 7809136"/>
              <a:gd name="connsiteY4-20" fmla="*/ 1020802 h 6923471"/>
              <a:gd name="connsiteX5-21" fmla="*/ 108528 w 7809136"/>
              <a:gd name="connsiteY5-22" fmla="*/ 85899 h 6923471"/>
              <a:gd name="connsiteX6" fmla="*/ 0 w 7809136"/>
              <a:gd name="connsiteY6" fmla="*/ 0 h 6923471"/>
              <a:gd name="connsiteX0-23" fmla="*/ 0 w 7809136"/>
              <a:gd name="connsiteY0-24" fmla="*/ 0 h 6923471"/>
              <a:gd name="connsiteX1-25" fmla="*/ 0 w 7809136"/>
              <a:gd name="connsiteY1-26" fmla="*/ 6923471 h 6923471"/>
              <a:gd name="connsiteX2-27" fmla="*/ 7131147 w 7809136"/>
              <a:gd name="connsiteY2-28" fmla="*/ 6923471 h 6923471"/>
              <a:gd name="connsiteX3-29" fmla="*/ 7477068 w 7809136"/>
              <a:gd name="connsiteY3-30" fmla="*/ 2825761 h 6923471"/>
              <a:gd name="connsiteX4-31" fmla="*/ 3177153 w 7809136"/>
              <a:gd name="connsiteY4-32" fmla="*/ 1360703 h 6923471"/>
              <a:gd name="connsiteX5-33" fmla="*/ 108528 w 7809136"/>
              <a:gd name="connsiteY5-34" fmla="*/ 85899 h 6923471"/>
              <a:gd name="connsiteX6-35" fmla="*/ 0 w 7809136"/>
              <a:gd name="connsiteY6-36" fmla="*/ 0 h 6923471"/>
              <a:gd name="connsiteX0-37" fmla="*/ 0 w 7809136"/>
              <a:gd name="connsiteY0-38" fmla="*/ 0 h 6923471"/>
              <a:gd name="connsiteX1-39" fmla="*/ 0 w 7809136"/>
              <a:gd name="connsiteY1-40" fmla="*/ 6923471 h 6923471"/>
              <a:gd name="connsiteX2-41" fmla="*/ 7131147 w 7809136"/>
              <a:gd name="connsiteY2-42" fmla="*/ 6923471 h 6923471"/>
              <a:gd name="connsiteX3-43" fmla="*/ 7477068 w 7809136"/>
              <a:gd name="connsiteY3-44" fmla="*/ 2825761 h 6923471"/>
              <a:gd name="connsiteX4-45" fmla="*/ 3177153 w 7809136"/>
              <a:gd name="connsiteY4-46" fmla="*/ 1360703 h 6923471"/>
              <a:gd name="connsiteX5-47" fmla="*/ 108528 w 7809136"/>
              <a:gd name="connsiteY5-48" fmla="*/ 85899 h 6923471"/>
              <a:gd name="connsiteX6-49" fmla="*/ 0 w 7809136"/>
              <a:gd name="connsiteY6-50" fmla="*/ 0 h 6923471"/>
              <a:gd name="connsiteX0-51" fmla="*/ 0 w 7809136"/>
              <a:gd name="connsiteY0-52" fmla="*/ 0 h 6923471"/>
              <a:gd name="connsiteX1-53" fmla="*/ 0 w 7809136"/>
              <a:gd name="connsiteY1-54" fmla="*/ 6923471 h 6923471"/>
              <a:gd name="connsiteX2-55" fmla="*/ 7131147 w 7809136"/>
              <a:gd name="connsiteY2-56" fmla="*/ 6923471 h 6923471"/>
              <a:gd name="connsiteX3-57" fmla="*/ 7477068 w 7809136"/>
              <a:gd name="connsiteY3-58" fmla="*/ 2825761 h 6923471"/>
              <a:gd name="connsiteX4-59" fmla="*/ 3177153 w 7809136"/>
              <a:gd name="connsiteY4-60" fmla="*/ 1360703 h 6923471"/>
              <a:gd name="connsiteX5-61" fmla="*/ 108528 w 7809136"/>
              <a:gd name="connsiteY5-62" fmla="*/ 85899 h 6923471"/>
              <a:gd name="connsiteX6-63" fmla="*/ 0 w 7809136"/>
              <a:gd name="connsiteY6-64" fmla="*/ 0 h 6923471"/>
              <a:gd name="connsiteX0-65" fmla="*/ 0 w 7809136"/>
              <a:gd name="connsiteY0-66" fmla="*/ 0 h 6923471"/>
              <a:gd name="connsiteX1-67" fmla="*/ 0 w 7809136"/>
              <a:gd name="connsiteY1-68" fmla="*/ 6923471 h 6923471"/>
              <a:gd name="connsiteX2-69" fmla="*/ 7131147 w 7809136"/>
              <a:gd name="connsiteY2-70" fmla="*/ 6923471 h 6923471"/>
              <a:gd name="connsiteX3-71" fmla="*/ 7477068 w 7809136"/>
              <a:gd name="connsiteY3-72" fmla="*/ 2825761 h 6923471"/>
              <a:gd name="connsiteX4-73" fmla="*/ 3177153 w 7809136"/>
              <a:gd name="connsiteY4-74" fmla="*/ 1360703 h 6923471"/>
              <a:gd name="connsiteX5-75" fmla="*/ 108528 w 7809136"/>
              <a:gd name="connsiteY5-76" fmla="*/ 85899 h 6923471"/>
              <a:gd name="connsiteX6-77" fmla="*/ 0 w 7809136"/>
              <a:gd name="connsiteY6-78" fmla="*/ 0 h 6923471"/>
              <a:gd name="connsiteX0-79" fmla="*/ 0 w 10093405"/>
              <a:gd name="connsiteY0-80" fmla="*/ 0 h 6923471"/>
              <a:gd name="connsiteX1-81" fmla="*/ 0 w 10093405"/>
              <a:gd name="connsiteY1-82" fmla="*/ 6923471 h 6923471"/>
              <a:gd name="connsiteX2-83" fmla="*/ 7131147 w 10093405"/>
              <a:gd name="connsiteY2-84" fmla="*/ 6923471 h 6923471"/>
              <a:gd name="connsiteX3-85" fmla="*/ 9863807 w 10093405"/>
              <a:gd name="connsiteY3-86" fmla="*/ 2178329 h 6923471"/>
              <a:gd name="connsiteX4-87" fmla="*/ 3177153 w 10093405"/>
              <a:gd name="connsiteY4-88" fmla="*/ 1360703 h 6923471"/>
              <a:gd name="connsiteX5-89" fmla="*/ 108528 w 10093405"/>
              <a:gd name="connsiteY5-90" fmla="*/ 85899 h 6923471"/>
              <a:gd name="connsiteX6-91" fmla="*/ 0 w 10093405"/>
              <a:gd name="connsiteY6-92" fmla="*/ 0 h 6923471"/>
              <a:gd name="connsiteX0-93" fmla="*/ 0 w 10093405"/>
              <a:gd name="connsiteY0-94" fmla="*/ 0 h 6923471"/>
              <a:gd name="connsiteX1-95" fmla="*/ 0 w 10093405"/>
              <a:gd name="connsiteY1-96" fmla="*/ 6923471 h 6923471"/>
              <a:gd name="connsiteX2-97" fmla="*/ 7131147 w 10093405"/>
              <a:gd name="connsiteY2-98" fmla="*/ 6923471 h 6923471"/>
              <a:gd name="connsiteX3-99" fmla="*/ 9863807 w 10093405"/>
              <a:gd name="connsiteY3-100" fmla="*/ 2178329 h 6923471"/>
              <a:gd name="connsiteX4-101" fmla="*/ 3177153 w 10093405"/>
              <a:gd name="connsiteY4-102" fmla="*/ 1360703 h 6923471"/>
              <a:gd name="connsiteX5-103" fmla="*/ 108528 w 10093405"/>
              <a:gd name="connsiteY5-104" fmla="*/ 85899 h 6923471"/>
              <a:gd name="connsiteX6-105" fmla="*/ 0 w 10093405"/>
              <a:gd name="connsiteY6-106" fmla="*/ 0 h 6923471"/>
              <a:gd name="connsiteX0-107" fmla="*/ 0 w 10655362"/>
              <a:gd name="connsiteY0-108" fmla="*/ 0 h 6923471"/>
              <a:gd name="connsiteX1-109" fmla="*/ 0 w 10655362"/>
              <a:gd name="connsiteY1-110" fmla="*/ 6923471 h 6923471"/>
              <a:gd name="connsiteX2-111" fmla="*/ 7131147 w 10655362"/>
              <a:gd name="connsiteY2-112" fmla="*/ 6923471 h 6923471"/>
              <a:gd name="connsiteX3-113" fmla="*/ 9863807 w 10655362"/>
              <a:gd name="connsiteY3-114" fmla="*/ 2178329 h 6923471"/>
              <a:gd name="connsiteX4-115" fmla="*/ 3177153 w 10655362"/>
              <a:gd name="connsiteY4-116" fmla="*/ 1360703 h 6923471"/>
              <a:gd name="connsiteX5-117" fmla="*/ 108528 w 10655362"/>
              <a:gd name="connsiteY5-118" fmla="*/ 85899 h 6923471"/>
              <a:gd name="connsiteX6-119" fmla="*/ 0 w 10655362"/>
              <a:gd name="connsiteY6-120" fmla="*/ 0 h 6923471"/>
              <a:gd name="connsiteX0-121" fmla="*/ 0 w 10296646"/>
              <a:gd name="connsiteY0-122" fmla="*/ 0 h 6923471"/>
              <a:gd name="connsiteX1-123" fmla="*/ 0 w 10296646"/>
              <a:gd name="connsiteY1-124" fmla="*/ 6923471 h 6923471"/>
              <a:gd name="connsiteX2-125" fmla="*/ 7131147 w 10296646"/>
              <a:gd name="connsiteY2-126" fmla="*/ 6923471 h 6923471"/>
              <a:gd name="connsiteX3-127" fmla="*/ 9863807 w 10296646"/>
              <a:gd name="connsiteY3-128" fmla="*/ 2178329 h 6923471"/>
              <a:gd name="connsiteX4-129" fmla="*/ 3177153 w 10296646"/>
              <a:gd name="connsiteY4-130" fmla="*/ 1360703 h 6923471"/>
              <a:gd name="connsiteX5-131" fmla="*/ 108528 w 10296646"/>
              <a:gd name="connsiteY5-132" fmla="*/ 85899 h 6923471"/>
              <a:gd name="connsiteX6-133" fmla="*/ 0 w 10296646"/>
              <a:gd name="connsiteY6-134" fmla="*/ 0 h 6923471"/>
              <a:gd name="connsiteX0-135" fmla="*/ 0 w 10296646"/>
              <a:gd name="connsiteY0-136" fmla="*/ 0 h 6923471"/>
              <a:gd name="connsiteX1-137" fmla="*/ 0 w 10296646"/>
              <a:gd name="connsiteY1-138" fmla="*/ 6923471 h 6923471"/>
              <a:gd name="connsiteX2-139" fmla="*/ 7131147 w 10296646"/>
              <a:gd name="connsiteY2-140" fmla="*/ 6923471 h 6923471"/>
              <a:gd name="connsiteX3-141" fmla="*/ 9863807 w 10296646"/>
              <a:gd name="connsiteY3-142" fmla="*/ 2178329 h 6923471"/>
              <a:gd name="connsiteX4-143" fmla="*/ 3177153 w 10296646"/>
              <a:gd name="connsiteY4-144" fmla="*/ 1360703 h 6923471"/>
              <a:gd name="connsiteX5-145" fmla="*/ 108528 w 10296646"/>
              <a:gd name="connsiteY5-146" fmla="*/ 85899 h 6923471"/>
              <a:gd name="connsiteX6-147" fmla="*/ 0 w 10296646"/>
              <a:gd name="connsiteY6-148" fmla="*/ 0 h 6923471"/>
              <a:gd name="connsiteX0-149" fmla="*/ 0 w 10296646"/>
              <a:gd name="connsiteY0-150" fmla="*/ 249877 h 7173348"/>
              <a:gd name="connsiteX1-151" fmla="*/ 0 w 10296646"/>
              <a:gd name="connsiteY1-152" fmla="*/ 7173348 h 7173348"/>
              <a:gd name="connsiteX2-153" fmla="*/ 7131147 w 10296646"/>
              <a:gd name="connsiteY2-154" fmla="*/ 7173348 h 7173348"/>
              <a:gd name="connsiteX3-155" fmla="*/ 9863807 w 10296646"/>
              <a:gd name="connsiteY3-156" fmla="*/ 2428206 h 7173348"/>
              <a:gd name="connsiteX4-157" fmla="*/ 3177153 w 10296646"/>
              <a:gd name="connsiteY4-158" fmla="*/ 1610580 h 7173348"/>
              <a:gd name="connsiteX5-159" fmla="*/ 0 w 10296646"/>
              <a:gd name="connsiteY5-160" fmla="*/ 249877 h 7173348"/>
              <a:gd name="connsiteX0-161" fmla="*/ 0 w 10296646"/>
              <a:gd name="connsiteY0-162" fmla="*/ 0 h 6923471"/>
              <a:gd name="connsiteX1-163" fmla="*/ 0 w 10296646"/>
              <a:gd name="connsiteY1-164" fmla="*/ 6923471 h 6923471"/>
              <a:gd name="connsiteX2-165" fmla="*/ 7131147 w 10296646"/>
              <a:gd name="connsiteY2-166" fmla="*/ 6923471 h 6923471"/>
              <a:gd name="connsiteX3-167" fmla="*/ 9863807 w 10296646"/>
              <a:gd name="connsiteY3-168" fmla="*/ 2178329 h 6923471"/>
              <a:gd name="connsiteX4-169" fmla="*/ 3177153 w 10296646"/>
              <a:gd name="connsiteY4-170" fmla="*/ 1360703 h 6923471"/>
              <a:gd name="connsiteX5-171" fmla="*/ 0 w 10296646"/>
              <a:gd name="connsiteY5-172" fmla="*/ 0 h 6923471"/>
              <a:gd name="connsiteX0-173" fmla="*/ 0 w 10296646"/>
              <a:gd name="connsiteY0-174" fmla="*/ 0 h 6923471"/>
              <a:gd name="connsiteX1-175" fmla="*/ 0 w 10296646"/>
              <a:gd name="connsiteY1-176" fmla="*/ 6923471 h 6923471"/>
              <a:gd name="connsiteX2-177" fmla="*/ 7131147 w 10296646"/>
              <a:gd name="connsiteY2-178" fmla="*/ 6923471 h 6923471"/>
              <a:gd name="connsiteX3-179" fmla="*/ 9863807 w 10296646"/>
              <a:gd name="connsiteY3-180" fmla="*/ 2178329 h 6923471"/>
              <a:gd name="connsiteX4-181" fmla="*/ 3177153 w 10296646"/>
              <a:gd name="connsiteY4-182" fmla="*/ 1360703 h 6923471"/>
              <a:gd name="connsiteX5-183" fmla="*/ 0 w 10296646"/>
              <a:gd name="connsiteY5-184" fmla="*/ 0 h 6923471"/>
              <a:gd name="connsiteX0-185" fmla="*/ 0 w 10296646"/>
              <a:gd name="connsiteY0-186" fmla="*/ 0 h 6923471"/>
              <a:gd name="connsiteX1-187" fmla="*/ 0 w 10296646"/>
              <a:gd name="connsiteY1-188" fmla="*/ 6923471 h 6923471"/>
              <a:gd name="connsiteX2-189" fmla="*/ 7131147 w 10296646"/>
              <a:gd name="connsiteY2-190" fmla="*/ 6923471 h 6923471"/>
              <a:gd name="connsiteX3-191" fmla="*/ 9863807 w 10296646"/>
              <a:gd name="connsiteY3-192" fmla="*/ 2178329 h 6923471"/>
              <a:gd name="connsiteX4-193" fmla="*/ 3177153 w 10296646"/>
              <a:gd name="connsiteY4-194" fmla="*/ 1360703 h 6923471"/>
              <a:gd name="connsiteX5-195" fmla="*/ 0 w 10296646"/>
              <a:gd name="connsiteY5-196" fmla="*/ 0 h 6923471"/>
              <a:gd name="connsiteX0-197" fmla="*/ 0 w 9863807"/>
              <a:gd name="connsiteY0-198" fmla="*/ 0 h 6923471"/>
              <a:gd name="connsiteX1-199" fmla="*/ 0 w 9863807"/>
              <a:gd name="connsiteY1-200" fmla="*/ 6923471 h 6923471"/>
              <a:gd name="connsiteX2-201" fmla="*/ 7131147 w 9863807"/>
              <a:gd name="connsiteY2-202" fmla="*/ 6923471 h 6923471"/>
              <a:gd name="connsiteX3-203" fmla="*/ 9863807 w 9863807"/>
              <a:gd name="connsiteY3-204" fmla="*/ 2178329 h 6923471"/>
              <a:gd name="connsiteX4-205" fmla="*/ 3177153 w 9863807"/>
              <a:gd name="connsiteY4-206" fmla="*/ 1360703 h 6923471"/>
              <a:gd name="connsiteX5-207" fmla="*/ 0 w 9863807"/>
              <a:gd name="connsiteY5-208" fmla="*/ 0 h 6923471"/>
              <a:gd name="connsiteX0-209" fmla="*/ 0 w 10224508"/>
              <a:gd name="connsiteY0-210" fmla="*/ 0 h 6923471"/>
              <a:gd name="connsiteX1-211" fmla="*/ 0 w 10224508"/>
              <a:gd name="connsiteY1-212" fmla="*/ 6923471 h 6923471"/>
              <a:gd name="connsiteX2-213" fmla="*/ 7131147 w 10224508"/>
              <a:gd name="connsiteY2-214" fmla="*/ 6923471 h 6923471"/>
              <a:gd name="connsiteX3-215" fmla="*/ 9863807 w 10224508"/>
              <a:gd name="connsiteY3-216" fmla="*/ 2178329 h 6923471"/>
              <a:gd name="connsiteX4-217" fmla="*/ 3177153 w 10224508"/>
              <a:gd name="connsiteY4-218" fmla="*/ 1360703 h 6923471"/>
              <a:gd name="connsiteX5-219" fmla="*/ 0 w 10224508"/>
              <a:gd name="connsiteY5-220" fmla="*/ 0 h 6923471"/>
              <a:gd name="connsiteX0-221" fmla="*/ 0 w 10224508"/>
              <a:gd name="connsiteY0-222" fmla="*/ 0 h 6923471"/>
              <a:gd name="connsiteX1-223" fmla="*/ 0 w 10224508"/>
              <a:gd name="connsiteY1-224" fmla="*/ 6923471 h 6923471"/>
              <a:gd name="connsiteX2-225" fmla="*/ 7131147 w 10224508"/>
              <a:gd name="connsiteY2-226" fmla="*/ 6923471 h 6923471"/>
              <a:gd name="connsiteX3-227" fmla="*/ 9863807 w 10224508"/>
              <a:gd name="connsiteY3-228" fmla="*/ 2178329 h 6923471"/>
              <a:gd name="connsiteX4-229" fmla="*/ 3177153 w 10224508"/>
              <a:gd name="connsiteY4-230" fmla="*/ 1360703 h 6923471"/>
              <a:gd name="connsiteX5-231" fmla="*/ 0 w 10224508"/>
              <a:gd name="connsiteY5-232" fmla="*/ 0 h 6923471"/>
              <a:gd name="connsiteX0-233" fmla="*/ 0 w 10800562"/>
              <a:gd name="connsiteY0-234" fmla="*/ 0 h 6923471"/>
              <a:gd name="connsiteX1-235" fmla="*/ 0 w 10800562"/>
              <a:gd name="connsiteY1-236" fmla="*/ 6923471 h 6923471"/>
              <a:gd name="connsiteX2-237" fmla="*/ 9548883 w 10800562"/>
              <a:gd name="connsiteY2-238" fmla="*/ 6907286 h 6923471"/>
              <a:gd name="connsiteX3-239" fmla="*/ 9863807 w 10800562"/>
              <a:gd name="connsiteY3-240" fmla="*/ 2178329 h 6923471"/>
              <a:gd name="connsiteX4-241" fmla="*/ 3177153 w 10800562"/>
              <a:gd name="connsiteY4-242" fmla="*/ 1360703 h 6923471"/>
              <a:gd name="connsiteX5-243" fmla="*/ 0 w 10800562"/>
              <a:gd name="connsiteY5-244" fmla="*/ 0 h 6923471"/>
              <a:gd name="connsiteX0-245" fmla="*/ 0 w 10422274"/>
              <a:gd name="connsiteY0-246" fmla="*/ 0 h 6923471"/>
              <a:gd name="connsiteX1-247" fmla="*/ 0 w 10422274"/>
              <a:gd name="connsiteY1-248" fmla="*/ 6923471 h 6923471"/>
              <a:gd name="connsiteX2-249" fmla="*/ 9548883 w 10422274"/>
              <a:gd name="connsiteY2-250" fmla="*/ 6907286 h 6923471"/>
              <a:gd name="connsiteX3-251" fmla="*/ 9863807 w 10422274"/>
              <a:gd name="connsiteY3-252" fmla="*/ 2178329 h 6923471"/>
              <a:gd name="connsiteX4-253" fmla="*/ 3177153 w 10422274"/>
              <a:gd name="connsiteY4-254" fmla="*/ 1360703 h 6923471"/>
              <a:gd name="connsiteX5-255" fmla="*/ 0 w 10422274"/>
              <a:gd name="connsiteY5-256" fmla="*/ 0 h 6923471"/>
              <a:gd name="connsiteX0-257" fmla="*/ 0 w 10319026"/>
              <a:gd name="connsiteY0-258" fmla="*/ 0 h 6923471"/>
              <a:gd name="connsiteX1-259" fmla="*/ 0 w 10319026"/>
              <a:gd name="connsiteY1-260" fmla="*/ 6923471 h 6923471"/>
              <a:gd name="connsiteX2-261" fmla="*/ 9548883 w 10319026"/>
              <a:gd name="connsiteY2-262" fmla="*/ 6907286 h 6923471"/>
              <a:gd name="connsiteX3-263" fmla="*/ 9863807 w 10319026"/>
              <a:gd name="connsiteY3-264" fmla="*/ 2178329 h 6923471"/>
              <a:gd name="connsiteX4-265" fmla="*/ 3177153 w 10319026"/>
              <a:gd name="connsiteY4-266" fmla="*/ 1360703 h 6923471"/>
              <a:gd name="connsiteX5-267" fmla="*/ 0 w 10319026"/>
              <a:gd name="connsiteY5-268" fmla="*/ 0 h 6923471"/>
              <a:gd name="connsiteX0-269" fmla="*/ 0 w 10319026"/>
              <a:gd name="connsiteY0-270" fmla="*/ 0 h 6923471"/>
              <a:gd name="connsiteX1-271" fmla="*/ 0 w 10319026"/>
              <a:gd name="connsiteY1-272" fmla="*/ 6923471 h 6923471"/>
              <a:gd name="connsiteX2-273" fmla="*/ 9548883 w 10319026"/>
              <a:gd name="connsiteY2-274" fmla="*/ 6907286 h 6923471"/>
              <a:gd name="connsiteX3-275" fmla="*/ 9863807 w 10319026"/>
              <a:gd name="connsiteY3-276" fmla="*/ 2178329 h 6923471"/>
              <a:gd name="connsiteX4-277" fmla="*/ 3094603 w 10319026"/>
              <a:gd name="connsiteY4-278" fmla="*/ 1380598 h 6923471"/>
              <a:gd name="connsiteX5-279" fmla="*/ 0 w 10319026"/>
              <a:gd name="connsiteY5-280" fmla="*/ 0 h 6923471"/>
              <a:gd name="connsiteX0-281" fmla="*/ 0 w 10319026"/>
              <a:gd name="connsiteY0-282" fmla="*/ 0 h 6923471"/>
              <a:gd name="connsiteX1-283" fmla="*/ 0 w 10319026"/>
              <a:gd name="connsiteY1-284" fmla="*/ 6923471 h 6923471"/>
              <a:gd name="connsiteX2-285" fmla="*/ 9548883 w 10319026"/>
              <a:gd name="connsiteY2-286" fmla="*/ 6907286 h 6923471"/>
              <a:gd name="connsiteX3-287" fmla="*/ 9863807 w 10319026"/>
              <a:gd name="connsiteY3-288" fmla="*/ 2178329 h 6923471"/>
              <a:gd name="connsiteX4-289" fmla="*/ 3094603 w 10319026"/>
              <a:gd name="connsiteY4-290" fmla="*/ 1380598 h 6923471"/>
              <a:gd name="connsiteX5-291" fmla="*/ 0 w 10319026"/>
              <a:gd name="connsiteY5-292" fmla="*/ 0 h 6923471"/>
              <a:gd name="connsiteX0-293" fmla="*/ 0 w 10319026"/>
              <a:gd name="connsiteY0-294" fmla="*/ 0 h 6923471"/>
              <a:gd name="connsiteX1-295" fmla="*/ 0 w 10319026"/>
              <a:gd name="connsiteY1-296" fmla="*/ 6923471 h 6923471"/>
              <a:gd name="connsiteX2-297" fmla="*/ 9548883 w 10319026"/>
              <a:gd name="connsiteY2-298" fmla="*/ 6907286 h 6923471"/>
              <a:gd name="connsiteX3-299" fmla="*/ 9863807 w 10319026"/>
              <a:gd name="connsiteY3-300" fmla="*/ 2178329 h 6923471"/>
              <a:gd name="connsiteX4-301" fmla="*/ 3094603 w 10319026"/>
              <a:gd name="connsiteY4-302" fmla="*/ 1380598 h 6923471"/>
              <a:gd name="connsiteX5-303" fmla="*/ 0 w 10319026"/>
              <a:gd name="connsiteY5-304" fmla="*/ 0 h 6923471"/>
              <a:gd name="connsiteX0-305" fmla="*/ 0 w 10319026"/>
              <a:gd name="connsiteY0-306" fmla="*/ 0 h 6923471"/>
              <a:gd name="connsiteX1-307" fmla="*/ 0 w 10319026"/>
              <a:gd name="connsiteY1-308" fmla="*/ 6923471 h 6923471"/>
              <a:gd name="connsiteX2-309" fmla="*/ 9548883 w 10319026"/>
              <a:gd name="connsiteY2-310" fmla="*/ 6907286 h 6923471"/>
              <a:gd name="connsiteX3-311" fmla="*/ 9863807 w 10319026"/>
              <a:gd name="connsiteY3-312" fmla="*/ 2178329 h 6923471"/>
              <a:gd name="connsiteX4-313" fmla="*/ 3094603 w 10319026"/>
              <a:gd name="connsiteY4-314" fmla="*/ 1380598 h 6923471"/>
              <a:gd name="connsiteX5-315" fmla="*/ 0 w 10319026"/>
              <a:gd name="connsiteY5-316" fmla="*/ 0 h 6923471"/>
              <a:gd name="connsiteX0-317" fmla="*/ 0 w 10319026"/>
              <a:gd name="connsiteY0-318" fmla="*/ 0 h 6923471"/>
              <a:gd name="connsiteX1-319" fmla="*/ 0 w 10319026"/>
              <a:gd name="connsiteY1-320" fmla="*/ 6923471 h 6923471"/>
              <a:gd name="connsiteX2-321" fmla="*/ 9548883 w 10319026"/>
              <a:gd name="connsiteY2-322" fmla="*/ 6907286 h 6923471"/>
              <a:gd name="connsiteX3-323" fmla="*/ 9863807 w 10319026"/>
              <a:gd name="connsiteY3-324" fmla="*/ 2178329 h 6923471"/>
              <a:gd name="connsiteX4-325" fmla="*/ 3094603 w 10319026"/>
              <a:gd name="connsiteY4-326" fmla="*/ 1380598 h 6923471"/>
              <a:gd name="connsiteX5-327" fmla="*/ 0 w 10319026"/>
              <a:gd name="connsiteY5-328" fmla="*/ 0 h 6923471"/>
              <a:gd name="connsiteX0-329" fmla="*/ 0 w 10319026"/>
              <a:gd name="connsiteY0-330" fmla="*/ 0 h 6923471"/>
              <a:gd name="connsiteX1-331" fmla="*/ 0 w 10319026"/>
              <a:gd name="connsiteY1-332" fmla="*/ 6923471 h 6923471"/>
              <a:gd name="connsiteX2-333" fmla="*/ 9548883 w 10319026"/>
              <a:gd name="connsiteY2-334" fmla="*/ 6907286 h 6923471"/>
              <a:gd name="connsiteX3-335" fmla="*/ 9863807 w 10319026"/>
              <a:gd name="connsiteY3-336" fmla="*/ 2178329 h 6923471"/>
              <a:gd name="connsiteX4-337" fmla="*/ 3094603 w 10319026"/>
              <a:gd name="connsiteY4-338" fmla="*/ 1380598 h 6923471"/>
              <a:gd name="connsiteX5-339" fmla="*/ 0 w 10319026"/>
              <a:gd name="connsiteY5-340" fmla="*/ 0 h 6923471"/>
              <a:gd name="connsiteX0-341" fmla="*/ 0 w 10436042"/>
              <a:gd name="connsiteY0-342" fmla="*/ 0 h 6923471"/>
              <a:gd name="connsiteX1-343" fmla="*/ 0 w 10436042"/>
              <a:gd name="connsiteY1-344" fmla="*/ 6923471 h 6923471"/>
              <a:gd name="connsiteX2-345" fmla="*/ 9548883 w 10436042"/>
              <a:gd name="connsiteY2-346" fmla="*/ 6907286 h 6923471"/>
              <a:gd name="connsiteX3-347" fmla="*/ 9863807 w 10436042"/>
              <a:gd name="connsiteY3-348" fmla="*/ 2178329 h 6923471"/>
              <a:gd name="connsiteX4-349" fmla="*/ 3094603 w 10436042"/>
              <a:gd name="connsiteY4-350" fmla="*/ 1380598 h 6923471"/>
              <a:gd name="connsiteX5-351" fmla="*/ 0 w 10436042"/>
              <a:gd name="connsiteY5-352" fmla="*/ 0 h 6923471"/>
              <a:gd name="connsiteX0-353" fmla="*/ 0 w 10380972"/>
              <a:gd name="connsiteY0-354" fmla="*/ 0 h 6923471"/>
              <a:gd name="connsiteX1-355" fmla="*/ 0 w 10380972"/>
              <a:gd name="connsiteY1-356" fmla="*/ 6923471 h 6923471"/>
              <a:gd name="connsiteX2-357" fmla="*/ 9548883 w 10380972"/>
              <a:gd name="connsiteY2-358" fmla="*/ 6907286 h 6923471"/>
              <a:gd name="connsiteX3-359" fmla="*/ 9863807 w 10380972"/>
              <a:gd name="connsiteY3-360" fmla="*/ 2178329 h 6923471"/>
              <a:gd name="connsiteX4-361" fmla="*/ 3094603 w 10380972"/>
              <a:gd name="connsiteY4-362" fmla="*/ 1380598 h 6923471"/>
              <a:gd name="connsiteX5-363" fmla="*/ 0 w 10380972"/>
              <a:gd name="connsiteY5-364" fmla="*/ 0 h 6923471"/>
              <a:gd name="connsiteX0-365" fmla="*/ 0 w 10380972"/>
              <a:gd name="connsiteY0-366" fmla="*/ 0 h 6923471"/>
              <a:gd name="connsiteX1-367" fmla="*/ 0 w 10380972"/>
              <a:gd name="connsiteY1-368" fmla="*/ 6923471 h 6923471"/>
              <a:gd name="connsiteX2-369" fmla="*/ 9548883 w 10380972"/>
              <a:gd name="connsiteY2-370" fmla="*/ 6907286 h 6923471"/>
              <a:gd name="connsiteX3-371" fmla="*/ 9863807 w 10380972"/>
              <a:gd name="connsiteY3-372" fmla="*/ 2178329 h 6923471"/>
              <a:gd name="connsiteX4-373" fmla="*/ 3094603 w 10380972"/>
              <a:gd name="connsiteY4-374" fmla="*/ 1380598 h 6923471"/>
              <a:gd name="connsiteX5-375" fmla="*/ 0 w 10380972"/>
              <a:gd name="connsiteY5-376" fmla="*/ 0 h 6923471"/>
              <a:gd name="connsiteX0-377" fmla="*/ 0 w 10321750"/>
              <a:gd name="connsiteY0-378" fmla="*/ 0 h 6923471"/>
              <a:gd name="connsiteX1-379" fmla="*/ 0 w 10321750"/>
              <a:gd name="connsiteY1-380" fmla="*/ 6923471 h 6923471"/>
              <a:gd name="connsiteX2-381" fmla="*/ 9548883 w 10321750"/>
              <a:gd name="connsiteY2-382" fmla="*/ 6907286 h 6923471"/>
              <a:gd name="connsiteX3-383" fmla="*/ 9863807 w 10321750"/>
              <a:gd name="connsiteY3-384" fmla="*/ 2178329 h 6923471"/>
              <a:gd name="connsiteX4-385" fmla="*/ 3094603 w 10321750"/>
              <a:gd name="connsiteY4-386" fmla="*/ 1380598 h 6923471"/>
              <a:gd name="connsiteX5-387" fmla="*/ 0 w 10321750"/>
              <a:gd name="connsiteY5-388" fmla="*/ 0 h 6923471"/>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21" y="connsiteY5-22"/>
              </a:cxn>
            </a:cxnLst>
            <a:rect l="l" t="t" r="r" b="b"/>
            <a:pathLst>
              <a:path w="10321750" h="6923471">
                <a:moveTo>
                  <a:pt x="0" y="0"/>
                </a:moveTo>
                <a:lnTo>
                  <a:pt x="0" y="6923471"/>
                </a:lnTo>
                <a:lnTo>
                  <a:pt x="9548883" y="6907286"/>
                </a:lnTo>
                <a:cubicBezTo>
                  <a:pt x="9890993" y="5566113"/>
                  <a:pt x="10905850" y="4119956"/>
                  <a:pt x="9863807" y="2178329"/>
                </a:cubicBezTo>
                <a:cubicBezTo>
                  <a:pt x="7455114" y="-1735416"/>
                  <a:pt x="4980510" y="1786885"/>
                  <a:pt x="3094603" y="1380598"/>
                </a:cubicBezTo>
                <a:cubicBezTo>
                  <a:pt x="1208696" y="974311"/>
                  <a:pt x="1164957" y="270620"/>
                  <a:pt x="0" y="0"/>
                </a:cubicBezTo>
                <a:close/>
              </a:path>
            </a:pathLst>
          </a:custGeom>
          <a:gradFill>
            <a:gsLst>
              <a:gs pos="0">
                <a:schemeClr val="bg1">
                  <a:lumMod val="95000"/>
                </a:schemeClr>
              </a:gs>
              <a:gs pos="100000">
                <a:schemeClr val="bg1"/>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id-ID">
              <a:latin typeface="Calibri"/>
              <a:ea typeface="微软雅黑"/>
              <a:cs typeface="+mn-ea"/>
              <a:sym typeface="Calibri"/>
            </a:endParaRPr>
          </a:p>
        </p:txBody>
      </p:sp>
      <p:sp>
        <p:nvSpPr>
          <p:cNvPr id="83" name="Freeform: Shape 8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 y="3385585"/>
            <a:ext cx="3596244" cy="3475237"/>
          </a:xfrm>
          <a:custGeom>
            <a:avLst/>
            <a:gdLst>
              <a:gd name="connsiteX0" fmla="*/ 0 w 3816138"/>
              <a:gd name="connsiteY0" fmla="*/ 0 h 3981450"/>
              <a:gd name="connsiteX1" fmla="*/ 3238500 w 3816138"/>
              <a:gd name="connsiteY1" fmla="*/ 1809750 h 3981450"/>
              <a:gd name="connsiteX2" fmla="*/ 3657600 w 3816138"/>
              <a:gd name="connsiteY2" fmla="*/ 3981450 h 3981450"/>
              <a:gd name="connsiteX3" fmla="*/ 38100 w 3816138"/>
              <a:gd name="connsiteY3" fmla="*/ 3962400 h 3981450"/>
              <a:gd name="connsiteX4" fmla="*/ 0 w 3816138"/>
              <a:gd name="connsiteY4" fmla="*/ 0 h 3981450"/>
              <a:gd name="connsiteX0-1" fmla="*/ 0 w 3816138"/>
              <a:gd name="connsiteY0-2" fmla="*/ 0 h 3981450"/>
              <a:gd name="connsiteX1-3" fmla="*/ 3238500 w 3816138"/>
              <a:gd name="connsiteY1-4" fmla="*/ 1809750 h 3981450"/>
              <a:gd name="connsiteX2-5" fmla="*/ 3657600 w 3816138"/>
              <a:gd name="connsiteY2-6" fmla="*/ 3981450 h 3981450"/>
              <a:gd name="connsiteX3-7" fmla="*/ 38100 w 3816138"/>
              <a:gd name="connsiteY3-8" fmla="*/ 3962400 h 3981450"/>
              <a:gd name="connsiteX4-9" fmla="*/ 0 w 3816138"/>
              <a:gd name="connsiteY4-10" fmla="*/ 0 h 3981450"/>
              <a:gd name="connsiteX0-11" fmla="*/ 0 w 3876554"/>
              <a:gd name="connsiteY0-12" fmla="*/ 0 h 3981450"/>
              <a:gd name="connsiteX1-13" fmla="*/ 3409950 w 3876554"/>
              <a:gd name="connsiteY1-14" fmla="*/ 2076450 h 3981450"/>
              <a:gd name="connsiteX2-15" fmla="*/ 3657600 w 3876554"/>
              <a:gd name="connsiteY2-16" fmla="*/ 3981450 h 3981450"/>
              <a:gd name="connsiteX3-17" fmla="*/ 38100 w 3876554"/>
              <a:gd name="connsiteY3-18" fmla="*/ 3962400 h 3981450"/>
              <a:gd name="connsiteX4-19" fmla="*/ 0 w 3876554"/>
              <a:gd name="connsiteY4-20" fmla="*/ 0 h 3981450"/>
              <a:gd name="connsiteX0-21" fmla="*/ 0 w 3916378"/>
              <a:gd name="connsiteY0-22" fmla="*/ 0 h 3981450"/>
              <a:gd name="connsiteX1-23" fmla="*/ 3409950 w 3916378"/>
              <a:gd name="connsiteY1-24" fmla="*/ 2076450 h 3981450"/>
              <a:gd name="connsiteX2-25" fmla="*/ 3657600 w 3916378"/>
              <a:gd name="connsiteY2-26" fmla="*/ 3981450 h 3981450"/>
              <a:gd name="connsiteX3-27" fmla="*/ 38100 w 3916378"/>
              <a:gd name="connsiteY3-28" fmla="*/ 3962400 h 3981450"/>
              <a:gd name="connsiteX4-29" fmla="*/ 0 w 3916378"/>
              <a:gd name="connsiteY4-30" fmla="*/ 0 h 3981450"/>
              <a:gd name="connsiteX0-31" fmla="*/ 0 w 3873335"/>
              <a:gd name="connsiteY0-32" fmla="*/ 0 h 3981450"/>
              <a:gd name="connsiteX1-33" fmla="*/ 3409950 w 3873335"/>
              <a:gd name="connsiteY1-34" fmla="*/ 2076450 h 3981450"/>
              <a:gd name="connsiteX2-35" fmla="*/ 3657600 w 3873335"/>
              <a:gd name="connsiteY2-36" fmla="*/ 3981450 h 3981450"/>
              <a:gd name="connsiteX3-37" fmla="*/ 38100 w 3873335"/>
              <a:gd name="connsiteY3-38" fmla="*/ 3962400 h 3981450"/>
              <a:gd name="connsiteX4-39" fmla="*/ 0 w 3873335"/>
              <a:gd name="connsiteY4-40" fmla="*/ 0 h 3981450"/>
              <a:gd name="connsiteX0-41" fmla="*/ 0 w 3786126"/>
              <a:gd name="connsiteY0-42" fmla="*/ 0 h 3981450"/>
              <a:gd name="connsiteX1-43" fmla="*/ 3409950 w 3786126"/>
              <a:gd name="connsiteY1-44" fmla="*/ 2076450 h 3981450"/>
              <a:gd name="connsiteX2-45" fmla="*/ 3657600 w 3786126"/>
              <a:gd name="connsiteY2-46" fmla="*/ 3981450 h 3981450"/>
              <a:gd name="connsiteX3-47" fmla="*/ 38100 w 3786126"/>
              <a:gd name="connsiteY3-48" fmla="*/ 3962400 h 3981450"/>
              <a:gd name="connsiteX4-49" fmla="*/ 0 w 3786126"/>
              <a:gd name="connsiteY4-50" fmla="*/ 0 h 3981450"/>
              <a:gd name="connsiteX0-51" fmla="*/ 0 w 3786126"/>
              <a:gd name="connsiteY0-52" fmla="*/ 0 h 3981450"/>
              <a:gd name="connsiteX1-53" fmla="*/ 3409950 w 3786126"/>
              <a:gd name="connsiteY1-54" fmla="*/ 2076450 h 3981450"/>
              <a:gd name="connsiteX2-55" fmla="*/ 3657600 w 3786126"/>
              <a:gd name="connsiteY2-56" fmla="*/ 3981450 h 3981450"/>
              <a:gd name="connsiteX3-57" fmla="*/ 0 w 3786126"/>
              <a:gd name="connsiteY3-58" fmla="*/ 3981450 h 3981450"/>
              <a:gd name="connsiteX4-59" fmla="*/ 0 w 3786126"/>
              <a:gd name="connsiteY4-60" fmla="*/ 0 h 3981450"/>
              <a:gd name="connsiteX0-61" fmla="*/ 0 w 3786126"/>
              <a:gd name="connsiteY0-62" fmla="*/ 0 h 3981450"/>
              <a:gd name="connsiteX1-63" fmla="*/ 3409950 w 3786126"/>
              <a:gd name="connsiteY1-64" fmla="*/ 2076450 h 3981450"/>
              <a:gd name="connsiteX2-65" fmla="*/ 3657600 w 3786126"/>
              <a:gd name="connsiteY2-66" fmla="*/ 3981450 h 3981450"/>
              <a:gd name="connsiteX3-67" fmla="*/ 0 w 3786126"/>
              <a:gd name="connsiteY3-68" fmla="*/ 3981450 h 3981450"/>
              <a:gd name="connsiteX4-69" fmla="*/ 0 w 3786126"/>
              <a:gd name="connsiteY4-70" fmla="*/ 0 h 3981450"/>
              <a:gd name="connsiteX0-71" fmla="*/ 0 w 3786126"/>
              <a:gd name="connsiteY0-72" fmla="*/ 0 h 3981450"/>
              <a:gd name="connsiteX1-73" fmla="*/ 3409950 w 3786126"/>
              <a:gd name="connsiteY1-74" fmla="*/ 2076450 h 3981450"/>
              <a:gd name="connsiteX2-75" fmla="*/ 3657600 w 3786126"/>
              <a:gd name="connsiteY2-76" fmla="*/ 3981450 h 3981450"/>
              <a:gd name="connsiteX3-77" fmla="*/ 0 w 3786126"/>
              <a:gd name="connsiteY3-78" fmla="*/ 3981450 h 3981450"/>
              <a:gd name="connsiteX4-79" fmla="*/ 0 w 3786126"/>
              <a:gd name="connsiteY4-80" fmla="*/ 0 h 3981450"/>
              <a:gd name="connsiteX0-81" fmla="*/ 0 w 4032226"/>
              <a:gd name="connsiteY0-82" fmla="*/ 0 h 4003693"/>
              <a:gd name="connsiteX1-83" fmla="*/ 3409950 w 4032226"/>
              <a:gd name="connsiteY1-84" fmla="*/ 2076450 h 4003693"/>
              <a:gd name="connsiteX2-85" fmla="*/ 3943350 w 4032226"/>
              <a:gd name="connsiteY2-86" fmla="*/ 4003693 h 4003693"/>
              <a:gd name="connsiteX3-87" fmla="*/ 0 w 4032226"/>
              <a:gd name="connsiteY3-88" fmla="*/ 3981450 h 4003693"/>
              <a:gd name="connsiteX4-89" fmla="*/ 0 w 4032226"/>
              <a:gd name="connsiteY4-90" fmla="*/ 0 h 4003693"/>
              <a:gd name="connsiteX0-91" fmla="*/ 0 w 3948509"/>
              <a:gd name="connsiteY0-92" fmla="*/ 0 h 4003693"/>
              <a:gd name="connsiteX1-93" fmla="*/ 3409950 w 3948509"/>
              <a:gd name="connsiteY1-94" fmla="*/ 2076450 h 4003693"/>
              <a:gd name="connsiteX2-95" fmla="*/ 3943350 w 3948509"/>
              <a:gd name="connsiteY2-96" fmla="*/ 4003693 h 4003693"/>
              <a:gd name="connsiteX3-97" fmla="*/ 0 w 3948509"/>
              <a:gd name="connsiteY3-98" fmla="*/ 3981450 h 4003693"/>
              <a:gd name="connsiteX4-99" fmla="*/ 0 w 3948509"/>
              <a:gd name="connsiteY4-100" fmla="*/ 0 h 4003693"/>
              <a:gd name="connsiteX0-101" fmla="*/ 0 w 3943350"/>
              <a:gd name="connsiteY0-102" fmla="*/ 0 h 4003693"/>
              <a:gd name="connsiteX1-103" fmla="*/ 3333750 w 3943350"/>
              <a:gd name="connsiteY1-104" fmla="*/ 1942994 h 4003693"/>
              <a:gd name="connsiteX2-105" fmla="*/ 3943350 w 3943350"/>
              <a:gd name="connsiteY2-106" fmla="*/ 4003693 h 4003693"/>
              <a:gd name="connsiteX3-107" fmla="*/ 0 w 3943350"/>
              <a:gd name="connsiteY3-108" fmla="*/ 3981450 h 4003693"/>
              <a:gd name="connsiteX4-109" fmla="*/ 0 w 3943350"/>
              <a:gd name="connsiteY4-110" fmla="*/ 0 h 4003693"/>
              <a:gd name="connsiteX0-111" fmla="*/ 0 w 4152900"/>
              <a:gd name="connsiteY0-112" fmla="*/ 0 h 3981450"/>
              <a:gd name="connsiteX1-113" fmla="*/ 3333750 w 4152900"/>
              <a:gd name="connsiteY1-114" fmla="*/ 1942994 h 3981450"/>
              <a:gd name="connsiteX2-115" fmla="*/ 4152900 w 4152900"/>
              <a:gd name="connsiteY2-116" fmla="*/ 3981450 h 3981450"/>
              <a:gd name="connsiteX3-117" fmla="*/ 0 w 4152900"/>
              <a:gd name="connsiteY3-118" fmla="*/ 3981450 h 3981450"/>
              <a:gd name="connsiteX4-119" fmla="*/ 0 w 4152900"/>
              <a:gd name="connsiteY4-120" fmla="*/ 0 h 3981450"/>
              <a:gd name="connsiteX0-121" fmla="*/ 0 w 4152900"/>
              <a:gd name="connsiteY0-122" fmla="*/ 0 h 3981450"/>
              <a:gd name="connsiteX1-123" fmla="*/ 3333750 w 4152900"/>
              <a:gd name="connsiteY1-124" fmla="*/ 1942994 h 3981450"/>
              <a:gd name="connsiteX2-125" fmla="*/ 4152900 w 4152900"/>
              <a:gd name="connsiteY2-126" fmla="*/ 3981450 h 3981450"/>
              <a:gd name="connsiteX3-127" fmla="*/ 0 w 4152900"/>
              <a:gd name="connsiteY3-128" fmla="*/ 3981450 h 3981450"/>
              <a:gd name="connsiteX4-129" fmla="*/ 0 w 4152900"/>
              <a:gd name="connsiteY4-130" fmla="*/ 0 h 3981450"/>
              <a:gd name="connsiteX0-131" fmla="*/ 0 w 4152900"/>
              <a:gd name="connsiteY0-132" fmla="*/ 0 h 3981450"/>
              <a:gd name="connsiteX1-133" fmla="*/ 3200400 w 4152900"/>
              <a:gd name="connsiteY1-134" fmla="*/ 1720566 h 3981450"/>
              <a:gd name="connsiteX2-135" fmla="*/ 4152900 w 4152900"/>
              <a:gd name="connsiteY2-136" fmla="*/ 3981450 h 3981450"/>
              <a:gd name="connsiteX3-137" fmla="*/ 0 w 4152900"/>
              <a:gd name="connsiteY3-138" fmla="*/ 3981450 h 3981450"/>
              <a:gd name="connsiteX4-139" fmla="*/ 0 w 4152900"/>
              <a:gd name="connsiteY4-140" fmla="*/ 0 h 3981450"/>
              <a:gd name="connsiteX0-141" fmla="*/ 0 w 4152900"/>
              <a:gd name="connsiteY0-142" fmla="*/ 0 h 3981450"/>
              <a:gd name="connsiteX1-143" fmla="*/ 3200400 w 4152900"/>
              <a:gd name="connsiteY1-144" fmla="*/ 1720566 h 3981450"/>
              <a:gd name="connsiteX2-145" fmla="*/ 4152900 w 4152900"/>
              <a:gd name="connsiteY2-146" fmla="*/ 3981450 h 3981450"/>
              <a:gd name="connsiteX3-147" fmla="*/ 0 w 4152900"/>
              <a:gd name="connsiteY3-148" fmla="*/ 3981450 h 3981450"/>
              <a:gd name="connsiteX4-149" fmla="*/ 0 w 4152900"/>
              <a:gd name="connsiteY4-150" fmla="*/ 0 h 3981450"/>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4152900" h="3981450">
                <a:moveTo>
                  <a:pt x="0" y="0"/>
                </a:moveTo>
                <a:cubicBezTo>
                  <a:pt x="762000" y="1189072"/>
                  <a:pt x="2584450" y="1190447"/>
                  <a:pt x="3200400" y="1720566"/>
                </a:cubicBezTo>
                <a:cubicBezTo>
                  <a:pt x="3816350" y="2250685"/>
                  <a:pt x="3971925" y="2641175"/>
                  <a:pt x="4152900" y="3981450"/>
                </a:cubicBezTo>
                <a:lnTo>
                  <a:pt x="0" y="3981450"/>
                </a:lnTo>
                <a:lnTo>
                  <a:pt x="0" y="0"/>
                </a:lnTo>
                <a:close/>
              </a:path>
            </a:pathLst>
          </a:custGeom>
          <a:gradFill>
            <a:gsLst>
              <a:gs pos="0">
                <a:schemeClr val="bg1">
                  <a:lumMod val="95000"/>
                </a:schemeClr>
              </a:gs>
              <a:gs pos="100000">
                <a:schemeClr val="bg1"/>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Calibri"/>
              <a:ea typeface="微软雅黑"/>
              <a:cs typeface="+mn-ea"/>
              <a:sym typeface="Calibri"/>
            </a:endParaRPr>
          </a:p>
        </p:txBody>
      </p:sp>
      <p:sp>
        <p:nvSpPr>
          <p:cNvPr id="3" name="Freeform 16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bwMode="auto">
          <a:xfrm>
            <a:off x="6216318" y="1594913"/>
            <a:ext cx="5189897" cy="4244772"/>
          </a:xfrm>
          <a:custGeom>
            <a:avLst/>
            <a:gdLst>
              <a:gd name="T0" fmla="*/ 635 w 1096"/>
              <a:gd name="T1" fmla="*/ 164 h 894"/>
              <a:gd name="T2" fmla="*/ 615 w 1096"/>
              <a:gd name="T3" fmla="*/ 162 h 894"/>
              <a:gd name="T4" fmla="*/ 407 w 1096"/>
              <a:gd name="T5" fmla="*/ 105 h 894"/>
              <a:gd name="T6" fmla="*/ 240 w 1096"/>
              <a:gd name="T7" fmla="*/ 77 h 894"/>
              <a:gd name="T8" fmla="*/ 240 w 1096"/>
              <a:gd name="T9" fmla="*/ 77 h 894"/>
              <a:gd name="T10" fmla="*/ 207 w 1096"/>
              <a:gd name="T11" fmla="*/ 58 h 894"/>
              <a:gd name="T12" fmla="*/ 104 w 1096"/>
              <a:gd name="T13" fmla="*/ 0 h 894"/>
              <a:gd name="T14" fmla="*/ 0 w 1096"/>
              <a:gd name="T15" fmla="*/ 72 h 894"/>
              <a:gd name="T16" fmla="*/ 22 w 1096"/>
              <a:gd name="T17" fmla="*/ 116 h 894"/>
              <a:gd name="T18" fmla="*/ 79 w 1096"/>
              <a:gd name="T19" fmla="*/ 254 h 894"/>
              <a:gd name="T20" fmla="*/ 81 w 1096"/>
              <a:gd name="T21" fmla="*/ 296 h 894"/>
              <a:gd name="T22" fmla="*/ 87 w 1096"/>
              <a:gd name="T23" fmla="*/ 315 h 894"/>
              <a:gd name="T24" fmla="*/ 165 w 1096"/>
              <a:gd name="T25" fmla="*/ 437 h 894"/>
              <a:gd name="T26" fmla="*/ 533 w 1096"/>
              <a:gd name="T27" fmla="*/ 855 h 894"/>
              <a:gd name="T28" fmla="*/ 1067 w 1096"/>
              <a:gd name="T29" fmla="*/ 581 h 894"/>
              <a:gd name="T30" fmla="*/ 635 w 1096"/>
              <a:gd name="T31" fmla="*/ 164 h 8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96" h="894">
                <a:moveTo>
                  <a:pt x="635" y="164"/>
                </a:moveTo>
                <a:cubicBezTo>
                  <a:pt x="632" y="164"/>
                  <a:pt x="625" y="163"/>
                  <a:pt x="615" y="162"/>
                </a:cubicBezTo>
                <a:cubicBezTo>
                  <a:pt x="542" y="158"/>
                  <a:pt x="472" y="138"/>
                  <a:pt x="407" y="105"/>
                </a:cubicBezTo>
                <a:cubicBezTo>
                  <a:pt x="352" y="78"/>
                  <a:pt x="279" y="66"/>
                  <a:pt x="240" y="77"/>
                </a:cubicBezTo>
                <a:cubicBezTo>
                  <a:pt x="240" y="77"/>
                  <a:pt x="240" y="77"/>
                  <a:pt x="240" y="77"/>
                </a:cubicBezTo>
                <a:cubicBezTo>
                  <a:pt x="225" y="81"/>
                  <a:pt x="211" y="72"/>
                  <a:pt x="207" y="58"/>
                </a:cubicBezTo>
                <a:cubicBezTo>
                  <a:pt x="197" y="24"/>
                  <a:pt x="152" y="0"/>
                  <a:pt x="104" y="0"/>
                </a:cubicBezTo>
                <a:cubicBezTo>
                  <a:pt x="47" y="0"/>
                  <a:pt x="0" y="32"/>
                  <a:pt x="0" y="72"/>
                </a:cubicBezTo>
                <a:cubicBezTo>
                  <a:pt x="0" y="88"/>
                  <a:pt x="8" y="104"/>
                  <a:pt x="22" y="116"/>
                </a:cubicBezTo>
                <a:cubicBezTo>
                  <a:pt x="62" y="151"/>
                  <a:pt x="84" y="202"/>
                  <a:pt x="79" y="254"/>
                </a:cubicBezTo>
                <a:cubicBezTo>
                  <a:pt x="78" y="269"/>
                  <a:pt x="78" y="282"/>
                  <a:pt x="81" y="296"/>
                </a:cubicBezTo>
                <a:cubicBezTo>
                  <a:pt x="83" y="302"/>
                  <a:pt x="84" y="309"/>
                  <a:pt x="87" y="315"/>
                </a:cubicBezTo>
                <a:cubicBezTo>
                  <a:pt x="102" y="353"/>
                  <a:pt x="162" y="401"/>
                  <a:pt x="165" y="437"/>
                </a:cubicBezTo>
                <a:cubicBezTo>
                  <a:pt x="193" y="715"/>
                  <a:pt x="266" y="816"/>
                  <a:pt x="533" y="855"/>
                </a:cubicBezTo>
                <a:cubicBezTo>
                  <a:pt x="800" y="894"/>
                  <a:pt x="1039" y="772"/>
                  <a:pt x="1067" y="581"/>
                </a:cubicBezTo>
                <a:cubicBezTo>
                  <a:pt x="1096" y="390"/>
                  <a:pt x="1050" y="169"/>
                  <a:pt x="635" y="164"/>
                </a:cubicBezTo>
              </a:path>
            </a:pathLst>
          </a:custGeom>
          <a:gradFill>
            <a:gsLst>
              <a:gs pos="0">
                <a:schemeClr val="accent3">
                  <a:alpha val="58000"/>
                </a:schemeClr>
              </a:gs>
              <a:gs pos="100000">
                <a:schemeClr val="accent4">
                  <a:alpha val="0"/>
                </a:schemeClr>
              </a:gs>
            </a:gsLst>
            <a:lin ang="2700000" scaled="1"/>
          </a:gradFill>
          <a:ln w="9525">
            <a:noFill/>
            <a:round/>
          </a:ln>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 name="Freeform 16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bwMode="auto">
          <a:xfrm>
            <a:off x="6814779" y="829096"/>
            <a:ext cx="557229" cy="366519"/>
          </a:xfrm>
          <a:custGeom>
            <a:avLst/>
            <a:gdLst>
              <a:gd name="T0" fmla="*/ 92 w 109"/>
              <a:gd name="T1" fmla="*/ 21 h 72"/>
              <a:gd name="T2" fmla="*/ 78 w 109"/>
              <a:gd name="T3" fmla="*/ 14 h 72"/>
              <a:gd name="T4" fmla="*/ 44 w 109"/>
              <a:gd name="T5" fmla="*/ 0 h 72"/>
              <a:gd name="T6" fmla="*/ 0 w 109"/>
              <a:gd name="T7" fmla="*/ 36 h 72"/>
              <a:gd name="T8" fmla="*/ 44 w 109"/>
              <a:gd name="T9" fmla="*/ 72 h 72"/>
              <a:gd name="T10" fmla="*/ 74 w 109"/>
              <a:gd name="T11" fmla="*/ 62 h 72"/>
              <a:gd name="T12" fmla="*/ 88 w 109"/>
              <a:gd name="T13" fmla="*/ 58 h 72"/>
              <a:gd name="T14" fmla="*/ 109 w 109"/>
              <a:gd name="T15" fmla="*/ 40 h 72"/>
              <a:gd name="T16" fmla="*/ 92 w 109"/>
              <a:gd name="T17" fmla="*/ 2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9" h="72">
                <a:moveTo>
                  <a:pt x="92" y="21"/>
                </a:moveTo>
                <a:cubicBezTo>
                  <a:pt x="87" y="20"/>
                  <a:pt x="82" y="18"/>
                  <a:pt x="78" y="14"/>
                </a:cubicBezTo>
                <a:cubicBezTo>
                  <a:pt x="70" y="5"/>
                  <a:pt x="57" y="0"/>
                  <a:pt x="44" y="0"/>
                </a:cubicBezTo>
                <a:cubicBezTo>
                  <a:pt x="20" y="0"/>
                  <a:pt x="0" y="16"/>
                  <a:pt x="0" y="36"/>
                </a:cubicBezTo>
                <a:cubicBezTo>
                  <a:pt x="0" y="56"/>
                  <a:pt x="20" y="72"/>
                  <a:pt x="44" y="72"/>
                </a:cubicBezTo>
                <a:cubicBezTo>
                  <a:pt x="55" y="72"/>
                  <a:pt x="66" y="68"/>
                  <a:pt x="74" y="62"/>
                </a:cubicBezTo>
                <a:cubicBezTo>
                  <a:pt x="78" y="59"/>
                  <a:pt x="83" y="58"/>
                  <a:pt x="88" y="58"/>
                </a:cubicBezTo>
                <a:cubicBezTo>
                  <a:pt x="99" y="60"/>
                  <a:pt x="109" y="51"/>
                  <a:pt x="109" y="40"/>
                </a:cubicBezTo>
                <a:cubicBezTo>
                  <a:pt x="109" y="30"/>
                  <a:pt x="101" y="22"/>
                  <a:pt x="92" y="21"/>
                </a:cubicBezTo>
                <a:close/>
              </a:path>
            </a:pathLst>
          </a:custGeom>
          <a:solidFill>
            <a:schemeClr val="bg1"/>
          </a:solidFill>
          <a:ln w="34925">
            <a:gradFill>
              <a:gsLst>
                <a:gs pos="0">
                  <a:schemeClr val="accent3"/>
                </a:gs>
                <a:gs pos="100000">
                  <a:schemeClr val="accent4"/>
                </a:gs>
              </a:gsLst>
              <a:lin ang="5400000" scaled="1"/>
            </a:gradFill>
          </a:ln>
          <a:effectLst>
            <a:outerShdw blurRad="190500" dist="38100" dir="5400000" algn="t"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lstStyle/>
          <a:p>
            <a:endParaRPr lang="id-ID">
              <a:latin typeface="Calibri"/>
              <a:ea typeface="微软雅黑"/>
              <a:cs typeface="+mn-ea"/>
              <a:sym typeface="Calibri"/>
            </a:endParaRPr>
          </a:p>
        </p:txBody>
      </p:sp>
      <p:grpSp>
        <p:nvGrpSpPr>
          <p:cNvPr id="5" name="Group 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0152191" y="1693247"/>
            <a:ext cx="441016" cy="300964"/>
            <a:chOff x="10232657" y="1693247"/>
            <a:chExt cx="441016" cy="300964"/>
          </a:xfrm>
        </p:grpSpPr>
        <p:sp>
          <p:nvSpPr>
            <p:cNvPr id="6" name="Oval 164"/>
            <p:cNvSpPr>
              <a:spLocks noChangeArrowheads="1"/>
            </p:cNvSpPr>
            <p:nvPr/>
          </p:nvSpPr>
          <p:spPr bwMode="auto">
            <a:xfrm>
              <a:off x="10232657" y="1812441"/>
              <a:ext cx="306923" cy="181770"/>
            </a:xfrm>
            <a:prstGeom prst="ellipse">
              <a:avLst/>
            </a:prstGeom>
            <a:solidFill>
              <a:schemeClr val="bg1"/>
            </a:solidFill>
            <a:ln w="34925">
              <a:gradFill>
                <a:gsLst>
                  <a:gs pos="0">
                    <a:schemeClr val="accent3"/>
                  </a:gs>
                  <a:gs pos="100000">
                    <a:schemeClr val="accent4"/>
                  </a:gs>
                </a:gsLst>
                <a:lin ang="5400000" scaled="1"/>
              </a:gradFill>
            </a:ln>
            <a:effectLst>
              <a:outerShdw blurRad="190500" dist="38100" dir="5400000" algn="t"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 name="Oval 165"/>
            <p:cNvSpPr>
              <a:spLocks noChangeArrowheads="1"/>
            </p:cNvSpPr>
            <p:nvPr/>
          </p:nvSpPr>
          <p:spPr bwMode="auto">
            <a:xfrm>
              <a:off x="10581298" y="1693247"/>
              <a:ext cx="92375" cy="92375"/>
            </a:xfrm>
            <a:prstGeom prst="ellipse">
              <a:avLst/>
            </a:prstGeom>
            <a:solidFill>
              <a:schemeClr val="bg1"/>
            </a:solidFill>
            <a:ln w="34925">
              <a:gradFill>
                <a:gsLst>
                  <a:gs pos="0">
                    <a:schemeClr val="accent3"/>
                  </a:gs>
                  <a:gs pos="100000">
                    <a:schemeClr val="accent4"/>
                  </a:gs>
                </a:gsLst>
                <a:lin ang="5400000" scaled="1"/>
              </a:gradFill>
            </a:ln>
            <a:effectLst>
              <a:outerShdw blurRad="190500" dist="38100" dir="5400000" algn="t"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lstStyle/>
            <a:p>
              <a:endParaRPr lang="id-ID">
                <a:latin typeface="Calibri"/>
                <a:ea typeface="微软雅黑"/>
                <a:cs typeface="+mn-ea"/>
                <a:sym typeface="Calibri"/>
              </a:endParaRPr>
            </a:p>
          </p:txBody>
        </p:sp>
      </p:grpSp>
      <p:grpSp>
        <p:nvGrpSpPr>
          <p:cNvPr id="8" name="Group 7"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5447036" y="1436982"/>
            <a:ext cx="5709359" cy="4591922"/>
            <a:chOff x="5622856" y="1436982"/>
            <a:chExt cx="5709359" cy="4591922"/>
          </a:xfrm>
        </p:grpSpPr>
        <p:sp>
          <p:nvSpPr>
            <p:cNvPr id="9" name="Freeform 166"/>
            <p:cNvSpPr/>
            <p:nvPr/>
          </p:nvSpPr>
          <p:spPr bwMode="auto">
            <a:xfrm>
              <a:off x="5622856" y="3910243"/>
              <a:ext cx="661523" cy="1805779"/>
            </a:xfrm>
            <a:custGeom>
              <a:avLst/>
              <a:gdLst>
                <a:gd name="T0" fmla="*/ 118 w 130"/>
                <a:gd name="T1" fmla="*/ 122 h 353"/>
                <a:gd name="T2" fmla="*/ 91 w 130"/>
                <a:gd name="T3" fmla="*/ 46 h 353"/>
                <a:gd name="T4" fmla="*/ 6 w 130"/>
                <a:gd name="T5" fmla="*/ 0 h 353"/>
                <a:gd name="T6" fmla="*/ 31 w 130"/>
                <a:gd name="T7" fmla="*/ 94 h 353"/>
                <a:gd name="T8" fmla="*/ 102 w 130"/>
                <a:gd name="T9" fmla="*/ 136 h 353"/>
                <a:gd name="T10" fmla="*/ 116 w 130"/>
                <a:gd name="T11" fmla="*/ 156 h 353"/>
                <a:gd name="T12" fmla="*/ 94 w 130"/>
                <a:gd name="T13" fmla="*/ 353 h 353"/>
                <a:gd name="T14" fmla="*/ 113 w 130"/>
                <a:gd name="T15" fmla="*/ 351 h 353"/>
                <a:gd name="T16" fmla="*/ 118 w 130"/>
                <a:gd name="T17" fmla="*/ 12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0" h="353">
                  <a:moveTo>
                    <a:pt x="118" y="122"/>
                  </a:moveTo>
                  <a:cubicBezTo>
                    <a:pt x="115" y="102"/>
                    <a:pt x="111" y="70"/>
                    <a:pt x="91" y="46"/>
                  </a:cubicBezTo>
                  <a:cubicBezTo>
                    <a:pt x="61" y="7"/>
                    <a:pt x="6" y="0"/>
                    <a:pt x="6" y="0"/>
                  </a:cubicBezTo>
                  <a:cubicBezTo>
                    <a:pt x="6" y="0"/>
                    <a:pt x="0" y="56"/>
                    <a:pt x="31" y="94"/>
                  </a:cubicBezTo>
                  <a:cubicBezTo>
                    <a:pt x="47" y="115"/>
                    <a:pt x="83" y="130"/>
                    <a:pt x="102" y="136"/>
                  </a:cubicBezTo>
                  <a:cubicBezTo>
                    <a:pt x="111" y="139"/>
                    <a:pt x="116" y="147"/>
                    <a:pt x="116" y="156"/>
                  </a:cubicBezTo>
                  <a:cubicBezTo>
                    <a:pt x="114" y="289"/>
                    <a:pt x="94" y="353"/>
                    <a:pt x="94" y="353"/>
                  </a:cubicBezTo>
                  <a:cubicBezTo>
                    <a:pt x="113" y="351"/>
                    <a:pt x="113" y="351"/>
                    <a:pt x="113" y="351"/>
                  </a:cubicBezTo>
                  <a:cubicBezTo>
                    <a:pt x="130" y="206"/>
                    <a:pt x="122" y="150"/>
                    <a:pt x="118" y="122"/>
                  </a:cubicBezTo>
                  <a:close/>
                </a:path>
              </a:pathLst>
            </a:custGeom>
            <a:solidFill>
              <a:schemeClr val="bg1"/>
            </a:solidFill>
            <a:ln w="34925">
              <a:gradFill>
                <a:gsLst>
                  <a:gs pos="0">
                    <a:schemeClr val="accent3"/>
                  </a:gs>
                  <a:gs pos="100000">
                    <a:schemeClr val="accent4"/>
                  </a:gs>
                </a:gsLst>
                <a:lin ang="5400000" scaled="1"/>
              </a:gradFill>
            </a:ln>
            <a:effectLst>
              <a:outerShdw blurRad="190500" dist="38100" dir="5400000" algn="t"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lstStyle/>
            <a:p>
              <a:endParaRPr lang="id-ID">
                <a:solidFill>
                  <a:schemeClr val="lt1"/>
                </a:solidFill>
                <a:latin typeface="Calibri"/>
                <a:ea typeface="微软雅黑"/>
                <a:cs typeface="+mn-ea"/>
                <a:sym typeface="Calibri"/>
              </a:endParaRPr>
            </a:p>
          </p:txBody>
        </p:sp>
        <p:sp>
          <p:nvSpPr>
            <p:cNvPr id="10" name="Freeform 167"/>
            <p:cNvSpPr/>
            <p:nvPr/>
          </p:nvSpPr>
          <p:spPr bwMode="auto">
            <a:xfrm>
              <a:off x="6355895" y="3966860"/>
              <a:ext cx="733039" cy="1469058"/>
            </a:xfrm>
            <a:custGeom>
              <a:avLst/>
              <a:gdLst>
                <a:gd name="T0" fmla="*/ 30 w 143"/>
                <a:gd name="T1" fmla="*/ 88 h 287"/>
                <a:gd name="T2" fmla="*/ 64 w 143"/>
                <a:gd name="T3" fmla="*/ 28 h 287"/>
                <a:gd name="T4" fmla="*/ 143 w 143"/>
                <a:gd name="T5" fmla="*/ 2 h 287"/>
                <a:gd name="T6" fmla="*/ 108 w 143"/>
                <a:gd name="T7" fmla="*/ 78 h 287"/>
                <a:gd name="T8" fmla="*/ 41 w 143"/>
                <a:gd name="T9" fmla="*/ 103 h 287"/>
                <a:gd name="T10" fmla="*/ 27 w 143"/>
                <a:gd name="T11" fmla="*/ 117 h 287"/>
                <a:gd name="T12" fmla="*/ 16 w 143"/>
                <a:gd name="T13" fmla="*/ 287 h 287"/>
                <a:gd name="T14" fmla="*/ 0 w 143"/>
                <a:gd name="T15" fmla="*/ 282 h 287"/>
                <a:gd name="T16" fmla="*/ 30 w 143"/>
                <a:gd name="T17" fmla="*/ 8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3" h="287">
                  <a:moveTo>
                    <a:pt x="30" y="88"/>
                  </a:moveTo>
                  <a:cubicBezTo>
                    <a:pt x="35" y="72"/>
                    <a:pt x="44" y="46"/>
                    <a:pt x="64" y="28"/>
                  </a:cubicBezTo>
                  <a:cubicBezTo>
                    <a:pt x="96" y="0"/>
                    <a:pt x="143" y="2"/>
                    <a:pt x="143" y="2"/>
                  </a:cubicBezTo>
                  <a:cubicBezTo>
                    <a:pt x="143" y="2"/>
                    <a:pt x="140" y="50"/>
                    <a:pt x="108" y="78"/>
                  </a:cubicBezTo>
                  <a:cubicBezTo>
                    <a:pt x="91" y="93"/>
                    <a:pt x="59" y="101"/>
                    <a:pt x="41" y="103"/>
                  </a:cubicBezTo>
                  <a:cubicBezTo>
                    <a:pt x="34" y="104"/>
                    <a:pt x="28" y="110"/>
                    <a:pt x="27" y="117"/>
                  </a:cubicBezTo>
                  <a:cubicBezTo>
                    <a:pt x="8" y="230"/>
                    <a:pt x="16" y="287"/>
                    <a:pt x="16" y="287"/>
                  </a:cubicBezTo>
                  <a:cubicBezTo>
                    <a:pt x="0" y="282"/>
                    <a:pt x="0" y="282"/>
                    <a:pt x="0" y="282"/>
                  </a:cubicBezTo>
                  <a:cubicBezTo>
                    <a:pt x="7" y="158"/>
                    <a:pt x="23" y="111"/>
                    <a:pt x="30" y="88"/>
                  </a:cubicBezTo>
                  <a:close/>
                </a:path>
              </a:pathLst>
            </a:custGeom>
            <a:solidFill>
              <a:srgbClr val="E1E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1" name="Freeform 168"/>
            <p:cNvSpPr/>
            <p:nvPr/>
          </p:nvSpPr>
          <p:spPr bwMode="auto">
            <a:xfrm>
              <a:off x="6248621" y="3391752"/>
              <a:ext cx="756877" cy="2008407"/>
            </a:xfrm>
            <a:custGeom>
              <a:avLst/>
              <a:gdLst>
                <a:gd name="T0" fmla="*/ 24 w 148"/>
                <a:gd name="T1" fmla="*/ 114 h 392"/>
                <a:gd name="T2" fmla="*/ 57 w 148"/>
                <a:gd name="T3" fmla="*/ 39 h 392"/>
                <a:gd name="T4" fmla="*/ 147 w 148"/>
                <a:gd name="T5" fmla="*/ 0 h 392"/>
                <a:gd name="T6" fmla="*/ 114 w 148"/>
                <a:gd name="T7" fmla="*/ 92 h 392"/>
                <a:gd name="T8" fmla="*/ 39 w 148"/>
                <a:gd name="T9" fmla="*/ 129 h 392"/>
                <a:gd name="T10" fmla="*/ 23 w 148"/>
                <a:gd name="T11" fmla="*/ 148 h 392"/>
                <a:gd name="T12" fmla="*/ 25 w 148"/>
                <a:gd name="T13" fmla="*/ 392 h 392"/>
                <a:gd name="T14" fmla="*/ 6 w 148"/>
                <a:gd name="T15" fmla="*/ 388 h 392"/>
                <a:gd name="T16" fmla="*/ 24 w 148"/>
                <a:gd name="T17" fmla="*/ 11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392">
                  <a:moveTo>
                    <a:pt x="24" y="114"/>
                  </a:moveTo>
                  <a:cubicBezTo>
                    <a:pt x="28" y="94"/>
                    <a:pt x="35" y="62"/>
                    <a:pt x="57" y="39"/>
                  </a:cubicBezTo>
                  <a:cubicBezTo>
                    <a:pt x="91" y="3"/>
                    <a:pt x="147" y="0"/>
                    <a:pt x="147" y="0"/>
                  </a:cubicBezTo>
                  <a:cubicBezTo>
                    <a:pt x="147" y="0"/>
                    <a:pt x="148" y="56"/>
                    <a:pt x="114" y="92"/>
                  </a:cubicBezTo>
                  <a:cubicBezTo>
                    <a:pt x="95" y="112"/>
                    <a:pt x="59" y="125"/>
                    <a:pt x="39" y="129"/>
                  </a:cubicBezTo>
                  <a:cubicBezTo>
                    <a:pt x="30" y="131"/>
                    <a:pt x="24" y="139"/>
                    <a:pt x="23" y="148"/>
                  </a:cubicBezTo>
                  <a:cubicBezTo>
                    <a:pt x="14" y="282"/>
                    <a:pt x="25" y="392"/>
                    <a:pt x="25" y="392"/>
                  </a:cubicBezTo>
                  <a:cubicBezTo>
                    <a:pt x="6" y="388"/>
                    <a:pt x="6" y="388"/>
                    <a:pt x="6" y="388"/>
                  </a:cubicBezTo>
                  <a:cubicBezTo>
                    <a:pt x="0" y="241"/>
                    <a:pt x="18" y="141"/>
                    <a:pt x="24" y="114"/>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2" name="Freeform 169"/>
            <p:cNvSpPr/>
            <p:nvPr/>
          </p:nvSpPr>
          <p:spPr bwMode="auto">
            <a:xfrm>
              <a:off x="5837404" y="4804193"/>
              <a:ext cx="351620" cy="625765"/>
            </a:xfrm>
            <a:custGeom>
              <a:avLst/>
              <a:gdLst>
                <a:gd name="T0" fmla="*/ 63 w 69"/>
                <a:gd name="T1" fmla="*/ 50 h 122"/>
                <a:gd name="T2" fmla="*/ 51 w 69"/>
                <a:gd name="T3" fmla="*/ 22 h 122"/>
                <a:gd name="T4" fmla="*/ 41 w 69"/>
                <a:gd name="T5" fmla="*/ 12 h 122"/>
                <a:gd name="T6" fmla="*/ 0 w 69"/>
                <a:gd name="T7" fmla="*/ 4 h 122"/>
                <a:gd name="T8" fmla="*/ 21 w 69"/>
                <a:gd name="T9" fmla="*/ 39 h 122"/>
                <a:gd name="T10" fmla="*/ 52 w 69"/>
                <a:gd name="T11" fmla="*/ 48 h 122"/>
                <a:gd name="T12" fmla="*/ 61 w 69"/>
                <a:gd name="T13" fmla="*/ 58 h 122"/>
                <a:gd name="T14" fmla="*/ 55 w 69"/>
                <a:gd name="T15" fmla="*/ 122 h 122"/>
                <a:gd name="T16" fmla="*/ 66 w 69"/>
                <a:gd name="T17" fmla="*/ 120 h 122"/>
                <a:gd name="T18" fmla="*/ 63 w 69"/>
                <a:gd name="T19" fmla="*/ 5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 h="122">
                  <a:moveTo>
                    <a:pt x="63" y="50"/>
                  </a:moveTo>
                  <a:cubicBezTo>
                    <a:pt x="61" y="40"/>
                    <a:pt x="57" y="31"/>
                    <a:pt x="51" y="22"/>
                  </a:cubicBezTo>
                  <a:cubicBezTo>
                    <a:pt x="48" y="18"/>
                    <a:pt x="45" y="15"/>
                    <a:pt x="41" y="12"/>
                  </a:cubicBezTo>
                  <a:cubicBezTo>
                    <a:pt x="24" y="0"/>
                    <a:pt x="0" y="4"/>
                    <a:pt x="0" y="4"/>
                  </a:cubicBezTo>
                  <a:cubicBezTo>
                    <a:pt x="0" y="4"/>
                    <a:pt x="4" y="27"/>
                    <a:pt x="21" y="39"/>
                  </a:cubicBezTo>
                  <a:cubicBezTo>
                    <a:pt x="31" y="47"/>
                    <a:pt x="43" y="48"/>
                    <a:pt x="52" y="48"/>
                  </a:cubicBezTo>
                  <a:cubicBezTo>
                    <a:pt x="57" y="48"/>
                    <a:pt x="61" y="53"/>
                    <a:pt x="61" y="58"/>
                  </a:cubicBezTo>
                  <a:cubicBezTo>
                    <a:pt x="61" y="85"/>
                    <a:pt x="55" y="122"/>
                    <a:pt x="55" y="122"/>
                  </a:cubicBezTo>
                  <a:cubicBezTo>
                    <a:pt x="66" y="120"/>
                    <a:pt x="66" y="120"/>
                    <a:pt x="66" y="120"/>
                  </a:cubicBezTo>
                  <a:cubicBezTo>
                    <a:pt x="69" y="94"/>
                    <a:pt x="65" y="65"/>
                    <a:pt x="63" y="50"/>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3" name="Freeform 170"/>
            <p:cNvSpPr/>
            <p:nvPr/>
          </p:nvSpPr>
          <p:spPr bwMode="auto">
            <a:xfrm>
              <a:off x="6484028" y="4637322"/>
              <a:ext cx="247326" cy="715160"/>
            </a:xfrm>
            <a:custGeom>
              <a:avLst/>
              <a:gdLst>
                <a:gd name="T0" fmla="*/ 39 w 48"/>
                <a:gd name="T1" fmla="*/ 0 h 140"/>
                <a:gd name="T2" fmla="*/ 9 w 48"/>
                <a:gd name="T3" fmla="*/ 29 h 140"/>
                <a:gd name="T4" fmla="*/ 8 w 48"/>
                <a:gd name="T5" fmla="*/ 62 h 140"/>
                <a:gd name="T6" fmla="*/ 8 w 48"/>
                <a:gd name="T7" fmla="*/ 67 h 140"/>
                <a:gd name="T8" fmla="*/ 0 w 48"/>
                <a:gd name="T9" fmla="*/ 140 h 140"/>
                <a:gd name="T10" fmla="*/ 13 w 48"/>
                <a:gd name="T11" fmla="*/ 140 h 140"/>
                <a:gd name="T12" fmla="*/ 12 w 48"/>
                <a:gd name="T13" fmla="*/ 78 h 140"/>
                <a:gd name="T14" fmla="*/ 20 w 48"/>
                <a:gd name="T15" fmla="*/ 65 h 140"/>
                <a:gd name="T16" fmla="*/ 40 w 48"/>
                <a:gd name="T17" fmla="*/ 41 h 140"/>
                <a:gd name="T18" fmla="*/ 39 w 48"/>
                <a:gd name="T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140">
                  <a:moveTo>
                    <a:pt x="39" y="0"/>
                  </a:moveTo>
                  <a:cubicBezTo>
                    <a:pt x="39" y="0"/>
                    <a:pt x="17" y="9"/>
                    <a:pt x="9" y="29"/>
                  </a:cubicBezTo>
                  <a:cubicBezTo>
                    <a:pt x="5" y="39"/>
                    <a:pt x="7" y="56"/>
                    <a:pt x="8" y="62"/>
                  </a:cubicBezTo>
                  <a:cubicBezTo>
                    <a:pt x="8" y="64"/>
                    <a:pt x="9" y="66"/>
                    <a:pt x="8" y="67"/>
                  </a:cubicBezTo>
                  <a:cubicBezTo>
                    <a:pt x="0" y="140"/>
                    <a:pt x="0" y="140"/>
                    <a:pt x="0" y="140"/>
                  </a:cubicBezTo>
                  <a:cubicBezTo>
                    <a:pt x="13" y="140"/>
                    <a:pt x="13" y="140"/>
                    <a:pt x="13" y="140"/>
                  </a:cubicBezTo>
                  <a:cubicBezTo>
                    <a:pt x="10" y="113"/>
                    <a:pt x="11" y="90"/>
                    <a:pt x="12" y="78"/>
                  </a:cubicBezTo>
                  <a:cubicBezTo>
                    <a:pt x="13" y="72"/>
                    <a:pt x="15" y="68"/>
                    <a:pt x="20" y="65"/>
                  </a:cubicBezTo>
                  <a:cubicBezTo>
                    <a:pt x="26" y="60"/>
                    <a:pt x="37" y="51"/>
                    <a:pt x="40" y="41"/>
                  </a:cubicBezTo>
                  <a:cubicBezTo>
                    <a:pt x="48" y="22"/>
                    <a:pt x="39" y="0"/>
                    <a:pt x="39" y="0"/>
                  </a:cubicBezTo>
                  <a:close/>
                </a:path>
              </a:pathLst>
            </a:custGeom>
            <a:solidFill>
              <a:schemeClr val="bg1"/>
            </a:solidFill>
            <a:ln w="34925">
              <a:gradFill>
                <a:gsLst>
                  <a:gs pos="0">
                    <a:schemeClr val="accent3"/>
                  </a:gs>
                  <a:gs pos="100000">
                    <a:schemeClr val="accent4"/>
                  </a:gs>
                </a:gsLst>
                <a:lin ang="5400000" scaled="1"/>
              </a:gradFill>
            </a:ln>
            <a:effectLst>
              <a:outerShdw blurRad="190500" dist="38100" dir="5400000" algn="t"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lstStyle/>
            <a:p>
              <a:endParaRPr lang="id-ID">
                <a:solidFill>
                  <a:schemeClr val="lt1"/>
                </a:solidFill>
                <a:latin typeface="Calibri"/>
                <a:ea typeface="微软雅黑"/>
                <a:cs typeface="+mn-ea"/>
                <a:sym typeface="Calibri"/>
              </a:endParaRPr>
            </a:p>
          </p:txBody>
        </p:sp>
        <p:sp>
          <p:nvSpPr>
            <p:cNvPr id="14" name="Freeform 171"/>
            <p:cNvSpPr/>
            <p:nvPr/>
          </p:nvSpPr>
          <p:spPr bwMode="auto">
            <a:xfrm>
              <a:off x="5995335" y="5352482"/>
              <a:ext cx="667483" cy="610866"/>
            </a:xfrm>
            <a:custGeom>
              <a:avLst/>
              <a:gdLst>
                <a:gd name="T0" fmla="*/ 39 w 131"/>
                <a:gd name="T1" fmla="*/ 119 h 119"/>
                <a:gd name="T2" fmla="*/ 92 w 131"/>
                <a:gd name="T3" fmla="*/ 119 h 119"/>
                <a:gd name="T4" fmla="*/ 97 w 131"/>
                <a:gd name="T5" fmla="*/ 118 h 119"/>
                <a:gd name="T6" fmla="*/ 131 w 131"/>
                <a:gd name="T7" fmla="*/ 61 h 119"/>
                <a:gd name="T8" fmla="*/ 131 w 131"/>
                <a:gd name="T9" fmla="*/ 10 h 119"/>
                <a:gd name="T10" fmla="*/ 121 w 131"/>
                <a:gd name="T11" fmla="*/ 0 h 119"/>
                <a:gd name="T12" fmla="*/ 11 w 131"/>
                <a:gd name="T13" fmla="*/ 0 h 119"/>
                <a:gd name="T14" fmla="*/ 0 w 131"/>
                <a:gd name="T15" fmla="*/ 10 h 119"/>
                <a:gd name="T16" fmla="*/ 0 w 131"/>
                <a:gd name="T17" fmla="*/ 61 h 119"/>
                <a:gd name="T18" fmla="*/ 35 w 131"/>
                <a:gd name="T19" fmla="*/ 118 h 119"/>
                <a:gd name="T20" fmla="*/ 39 w 131"/>
                <a:gd name="T21"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119">
                  <a:moveTo>
                    <a:pt x="39" y="119"/>
                  </a:moveTo>
                  <a:cubicBezTo>
                    <a:pt x="92" y="119"/>
                    <a:pt x="92" y="119"/>
                    <a:pt x="92" y="119"/>
                  </a:cubicBezTo>
                  <a:cubicBezTo>
                    <a:pt x="94" y="119"/>
                    <a:pt x="95" y="119"/>
                    <a:pt x="97" y="118"/>
                  </a:cubicBezTo>
                  <a:cubicBezTo>
                    <a:pt x="117" y="107"/>
                    <a:pt x="131" y="85"/>
                    <a:pt x="131" y="61"/>
                  </a:cubicBezTo>
                  <a:cubicBezTo>
                    <a:pt x="131" y="10"/>
                    <a:pt x="131" y="10"/>
                    <a:pt x="131" y="10"/>
                  </a:cubicBezTo>
                  <a:cubicBezTo>
                    <a:pt x="131" y="4"/>
                    <a:pt x="126" y="0"/>
                    <a:pt x="121" y="0"/>
                  </a:cubicBezTo>
                  <a:cubicBezTo>
                    <a:pt x="11" y="0"/>
                    <a:pt x="11" y="0"/>
                    <a:pt x="11" y="0"/>
                  </a:cubicBezTo>
                  <a:cubicBezTo>
                    <a:pt x="5" y="0"/>
                    <a:pt x="0" y="4"/>
                    <a:pt x="0" y="10"/>
                  </a:cubicBezTo>
                  <a:cubicBezTo>
                    <a:pt x="0" y="61"/>
                    <a:pt x="0" y="61"/>
                    <a:pt x="0" y="61"/>
                  </a:cubicBezTo>
                  <a:cubicBezTo>
                    <a:pt x="0" y="85"/>
                    <a:pt x="14" y="107"/>
                    <a:pt x="35" y="118"/>
                  </a:cubicBezTo>
                  <a:cubicBezTo>
                    <a:pt x="36" y="119"/>
                    <a:pt x="38" y="119"/>
                    <a:pt x="39" y="119"/>
                  </a:cubicBezTo>
                  <a:close/>
                </a:path>
              </a:pathLst>
            </a:custGeom>
            <a:solidFill>
              <a:srgbClr val="8888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5" name="Rectangle 172"/>
            <p:cNvSpPr>
              <a:spLocks noChangeArrowheads="1"/>
            </p:cNvSpPr>
            <p:nvPr/>
          </p:nvSpPr>
          <p:spPr bwMode="auto">
            <a:xfrm>
              <a:off x="5995335" y="5501474"/>
              <a:ext cx="667483" cy="157931"/>
            </a:xfrm>
            <a:prstGeom prst="rect">
              <a:avLst/>
            </a:prstGeom>
            <a:solidFill>
              <a:srgbClr val="E1E1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6" name="Rectangle 173"/>
            <p:cNvSpPr>
              <a:spLocks noChangeArrowheads="1"/>
            </p:cNvSpPr>
            <p:nvPr/>
          </p:nvSpPr>
          <p:spPr bwMode="auto">
            <a:xfrm>
              <a:off x="5995335" y="5501474"/>
              <a:ext cx="667483" cy="41718"/>
            </a:xfrm>
            <a:prstGeom prst="rect">
              <a:avLst/>
            </a:prstGeom>
            <a:solidFill>
              <a:srgbClr val="FFF0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7" name="Freeform 174"/>
            <p:cNvSpPr/>
            <p:nvPr/>
          </p:nvSpPr>
          <p:spPr bwMode="auto">
            <a:xfrm>
              <a:off x="7741517" y="1666429"/>
              <a:ext cx="229447" cy="1004204"/>
            </a:xfrm>
            <a:custGeom>
              <a:avLst/>
              <a:gdLst>
                <a:gd name="T0" fmla="*/ 15 w 77"/>
                <a:gd name="T1" fmla="*/ 337 h 337"/>
                <a:gd name="T2" fmla="*/ 0 w 77"/>
                <a:gd name="T3" fmla="*/ 334 h 337"/>
                <a:gd name="T4" fmla="*/ 62 w 77"/>
                <a:gd name="T5" fmla="*/ 0 h 337"/>
                <a:gd name="T6" fmla="*/ 77 w 77"/>
                <a:gd name="T7" fmla="*/ 2 h 337"/>
                <a:gd name="T8" fmla="*/ 15 w 77"/>
                <a:gd name="T9" fmla="*/ 337 h 337"/>
              </a:gdLst>
              <a:ahLst/>
              <a:cxnLst>
                <a:cxn ang="0">
                  <a:pos x="T0" y="T1"/>
                </a:cxn>
                <a:cxn ang="0">
                  <a:pos x="T2" y="T3"/>
                </a:cxn>
                <a:cxn ang="0">
                  <a:pos x="T4" y="T5"/>
                </a:cxn>
                <a:cxn ang="0">
                  <a:pos x="T6" y="T7"/>
                </a:cxn>
                <a:cxn ang="0">
                  <a:pos x="T8" y="T9"/>
                </a:cxn>
              </a:cxnLst>
              <a:rect l="0" t="0" r="r" b="b"/>
              <a:pathLst>
                <a:path w="77" h="337">
                  <a:moveTo>
                    <a:pt x="15" y="337"/>
                  </a:moveTo>
                  <a:lnTo>
                    <a:pt x="0" y="334"/>
                  </a:lnTo>
                  <a:lnTo>
                    <a:pt x="62" y="0"/>
                  </a:lnTo>
                  <a:lnTo>
                    <a:pt x="77" y="2"/>
                  </a:lnTo>
                  <a:lnTo>
                    <a:pt x="15" y="33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8" name="Freeform 175"/>
            <p:cNvSpPr/>
            <p:nvPr/>
          </p:nvSpPr>
          <p:spPr bwMode="auto">
            <a:xfrm>
              <a:off x="7875609" y="1436982"/>
              <a:ext cx="804555" cy="664503"/>
            </a:xfrm>
            <a:custGeom>
              <a:avLst/>
              <a:gdLst>
                <a:gd name="T0" fmla="*/ 134 w 158"/>
                <a:gd name="T1" fmla="*/ 117 h 130"/>
                <a:gd name="T2" fmla="*/ 3 w 158"/>
                <a:gd name="T3" fmla="*/ 99 h 130"/>
                <a:gd name="T4" fmla="*/ 1 w 158"/>
                <a:gd name="T5" fmla="*/ 93 h 130"/>
                <a:gd name="T6" fmla="*/ 15 w 158"/>
                <a:gd name="T7" fmla="*/ 16 h 130"/>
                <a:gd name="T8" fmla="*/ 24 w 158"/>
                <a:gd name="T9" fmla="*/ 13 h 130"/>
                <a:gd name="T10" fmla="*/ 155 w 158"/>
                <a:gd name="T11" fmla="*/ 31 h 130"/>
                <a:gd name="T12" fmla="*/ 157 w 158"/>
                <a:gd name="T13" fmla="*/ 37 h 130"/>
                <a:gd name="T14" fmla="*/ 143 w 158"/>
                <a:gd name="T15" fmla="*/ 113 h 130"/>
                <a:gd name="T16" fmla="*/ 134 w 158"/>
                <a:gd name="T17" fmla="*/ 1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8" h="130">
                  <a:moveTo>
                    <a:pt x="134" y="117"/>
                  </a:moveTo>
                  <a:cubicBezTo>
                    <a:pt x="94" y="91"/>
                    <a:pt x="42" y="130"/>
                    <a:pt x="3" y="99"/>
                  </a:cubicBezTo>
                  <a:cubicBezTo>
                    <a:pt x="1" y="97"/>
                    <a:pt x="0" y="95"/>
                    <a:pt x="1" y="93"/>
                  </a:cubicBezTo>
                  <a:cubicBezTo>
                    <a:pt x="15" y="16"/>
                    <a:pt x="15" y="16"/>
                    <a:pt x="15" y="16"/>
                  </a:cubicBezTo>
                  <a:cubicBezTo>
                    <a:pt x="16" y="12"/>
                    <a:pt x="21" y="10"/>
                    <a:pt x="24" y="13"/>
                  </a:cubicBezTo>
                  <a:cubicBezTo>
                    <a:pt x="64" y="38"/>
                    <a:pt x="116" y="0"/>
                    <a:pt x="155" y="31"/>
                  </a:cubicBezTo>
                  <a:cubicBezTo>
                    <a:pt x="157" y="32"/>
                    <a:pt x="158" y="35"/>
                    <a:pt x="157" y="37"/>
                  </a:cubicBezTo>
                  <a:cubicBezTo>
                    <a:pt x="153" y="62"/>
                    <a:pt x="148" y="88"/>
                    <a:pt x="143" y="113"/>
                  </a:cubicBezTo>
                  <a:cubicBezTo>
                    <a:pt x="142" y="117"/>
                    <a:pt x="137" y="119"/>
                    <a:pt x="134" y="117"/>
                  </a:cubicBezTo>
                  <a:close/>
                </a:path>
              </a:pathLst>
            </a:custGeom>
            <a:gradFill flip="none" rotWithShape="1">
              <a:gsLst>
                <a:gs pos="0">
                  <a:schemeClr val="accent3"/>
                </a:gs>
                <a:gs pos="100000">
                  <a:schemeClr val="accent4"/>
                </a:gs>
              </a:gsLst>
              <a:lin ang="2700000" scaled="1"/>
              <a:tileRect/>
            </a:gradFill>
            <a:ln>
              <a:noFill/>
            </a:ln>
            <a:effectLst>
              <a:outerShdw blurRad="190500" dist="63500" dir="5400000" sx="99000" sy="99000" algn="t" rotWithShape="0">
                <a:prstClr val="black">
                  <a:alpha val="20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id-ID">
                <a:solidFill>
                  <a:schemeClr val="lt1"/>
                </a:solidFill>
                <a:latin typeface="Calibri"/>
                <a:ea typeface="微软雅黑"/>
                <a:cs typeface="+mn-ea"/>
                <a:sym typeface="Calibri"/>
              </a:endParaRPr>
            </a:p>
          </p:txBody>
        </p:sp>
        <p:sp>
          <p:nvSpPr>
            <p:cNvPr id="19" name="Freeform 176"/>
            <p:cNvSpPr/>
            <p:nvPr/>
          </p:nvSpPr>
          <p:spPr bwMode="auto">
            <a:xfrm>
              <a:off x="7786215" y="2420327"/>
              <a:ext cx="92375" cy="169850"/>
            </a:xfrm>
            <a:custGeom>
              <a:avLst/>
              <a:gdLst>
                <a:gd name="T0" fmla="*/ 8 w 18"/>
                <a:gd name="T1" fmla="*/ 2 h 33"/>
                <a:gd name="T2" fmla="*/ 4 w 18"/>
                <a:gd name="T3" fmla="*/ 6 h 33"/>
                <a:gd name="T4" fmla="*/ 4 w 18"/>
                <a:gd name="T5" fmla="*/ 8 h 33"/>
                <a:gd name="T6" fmla="*/ 3 w 18"/>
                <a:gd name="T7" fmla="*/ 11 h 33"/>
                <a:gd name="T8" fmla="*/ 1 w 18"/>
                <a:gd name="T9" fmla="*/ 15 h 33"/>
                <a:gd name="T10" fmla="*/ 0 w 18"/>
                <a:gd name="T11" fmla="*/ 21 h 33"/>
                <a:gd name="T12" fmla="*/ 0 w 18"/>
                <a:gd name="T13" fmla="*/ 27 h 33"/>
                <a:gd name="T14" fmla="*/ 1 w 18"/>
                <a:gd name="T15" fmla="*/ 30 h 33"/>
                <a:gd name="T16" fmla="*/ 7 w 18"/>
                <a:gd name="T17" fmla="*/ 32 h 33"/>
                <a:gd name="T18" fmla="*/ 10 w 18"/>
                <a:gd name="T19" fmla="*/ 28 h 33"/>
                <a:gd name="T20" fmla="*/ 10 w 18"/>
                <a:gd name="T21" fmla="*/ 25 h 33"/>
                <a:gd name="T22" fmla="*/ 11 w 18"/>
                <a:gd name="T23" fmla="*/ 25 h 33"/>
                <a:gd name="T24" fmla="*/ 11 w 18"/>
                <a:gd name="T25" fmla="*/ 21 h 33"/>
                <a:gd name="T26" fmla="*/ 13 w 18"/>
                <a:gd name="T27" fmla="*/ 18 h 33"/>
                <a:gd name="T28" fmla="*/ 15 w 18"/>
                <a:gd name="T29" fmla="*/ 14 h 33"/>
                <a:gd name="T30" fmla="*/ 15 w 18"/>
                <a:gd name="T31" fmla="*/ 12 h 33"/>
                <a:gd name="T32" fmla="*/ 16 w 18"/>
                <a:gd name="T33" fmla="*/ 8 h 33"/>
                <a:gd name="T34" fmla="*/ 18 w 18"/>
                <a:gd name="T35" fmla="*/ 5 h 33"/>
                <a:gd name="T36" fmla="*/ 8 w 18"/>
                <a:gd name="T37" fmla="*/ 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33">
                  <a:moveTo>
                    <a:pt x="8" y="2"/>
                  </a:moveTo>
                  <a:cubicBezTo>
                    <a:pt x="7" y="2"/>
                    <a:pt x="5" y="3"/>
                    <a:pt x="4" y="6"/>
                  </a:cubicBezTo>
                  <a:cubicBezTo>
                    <a:pt x="4" y="7"/>
                    <a:pt x="4" y="7"/>
                    <a:pt x="4" y="8"/>
                  </a:cubicBezTo>
                  <a:cubicBezTo>
                    <a:pt x="4" y="9"/>
                    <a:pt x="4" y="10"/>
                    <a:pt x="3" y="11"/>
                  </a:cubicBezTo>
                  <a:cubicBezTo>
                    <a:pt x="2" y="12"/>
                    <a:pt x="1" y="13"/>
                    <a:pt x="1" y="15"/>
                  </a:cubicBezTo>
                  <a:cubicBezTo>
                    <a:pt x="0" y="17"/>
                    <a:pt x="0" y="19"/>
                    <a:pt x="0" y="21"/>
                  </a:cubicBezTo>
                  <a:cubicBezTo>
                    <a:pt x="1" y="23"/>
                    <a:pt x="1" y="25"/>
                    <a:pt x="0" y="27"/>
                  </a:cubicBezTo>
                  <a:cubicBezTo>
                    <a:pt x="0" y="28"/>
                    <a:pt x="0" y="29"/>
                    <a:pt x="1" y="30"/>
                  </a:cubicBezTo>
                  <a:cubicBezTo>
                    <a:pt x="2" y="32"/>
                    <a:pt x="5" y="33"/>
                    <a:pt x="7" y="32"/>
                  </a:cubicBezTo>
                  <a:cubicBezTo>
                    <a:pt x="9" y="31"/>
                    <a:pt x="10" y="29"/>
                    <a:pt x="10" y="28"/>
                  </a:cubicBezTo>
                  <a:cubicBezTo>
                    <a:pt x="10" y="27"/>
                    <a:pt x="10" y="26"/>
                    <a:pt x="10" y="25"/>
                  </a:cubicBezTo>
                  <a:cubicBezTo>
                    <a:pt x="11" y="25"/>
                    <a:pt x="11" y="25"/>
                    <a:pt x="11" y="25"/>
                  </a:cubicBezTo>
                  <a:cubicBezTo>
                    <a:pt x="11" y="23"/>
                    <a:pt x="12" y="22"/>
                    <a:pt x="11" y="21"/>
                  </a:cubicBezTo>
                  <a:cubicBezTo>
                    <a:pt x="11" y="20"/>
                    <a:pt x="12" y="19"/>
                    <a:pt x="13" y="18"/>
                  </a:cubicBezTo>
                  <a:cubicBezTo>
                    <a:pt x="13" y="17"/>
                    <a:pt x="14" y="16"/>
                    <a:pt x="15" y="14"/>
                  </a:cubicBezTo>
                  <a:cubicBezTo>
                    <a:pt x="15" y="13"/>
                    <a:pt x="15" y="12"/>
                    <a:pt x="15" y="12"/>
                  </a:cubicBezTo>
                  <a:cubicBezTo>
                    <a:pt x="15" y="10"/>
                    <a:pt x="15" y="9"/>
                    <a:pt x="16" y="8"/>
                  </a:cubicBezTo>
                  <a:cubicBezTo>
                    <a:pt x="17" y="7"/>
                    <a:pt x="18" y="6"/>
                    <a:pt x="18" y="5"/>
                  </a:cubicBezTo>
                  <a:cubicBezTo>
                    <a:pt x="17" y="1"/>
                    <a:pt x="10" y="0"/>
                    <a:pt x="8" y="2"/>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0" name="Freeform 177"/>
            <p:cNvSpPr/>
            <p:nvPr/>
          </p:nvSpPr>
          <p:spPr bwMode="auto">
            <a:xfrm>
              <a:off x="7655102" y="2393508"/>
              <a:ext cx="214548" cy="220508"/>
            </a:xfrm>
            <a:custGeom>
              <a:avLst/>
              <a:gdLst>
                <a:gd name="T0" fmla="*/ 6 w 42"/>
                <a:gd name="T1" fmla="*/ 20 h 43"/>
                <a:gd name="T2" fmla="*/ 6 w 42"/>
                <a:gd name="T3" fmla="*/ 20 h 43"/>
                <a:gd name="T4" fmla="*/ 10 w 42"/>
                <a:gd name="T5" fmla="*/ 14 h 43"/>
                <a:gd name="T6" fmla="*/ 15 w 42"/>
                <a:gd name="T7" fmla="*/ 9 h 43"/>
                <a:gd name="T8" fmla="*/ 25 w 42"/>
                <a:gd name="T9" fmla="*/ 2 h 43"/>
                <a:gd name="T10" fmla="*/ 42 w 42"/>
                <a:gd name="T11" fmla="*/ 4 h 43"/>
                <a:gd name="T12" fmla="*/ 28 w 42"/>
                <a:gd name="T13" fmla="*/ 11 h 43"/>
                <a:gd name="T14" fmla="*/ 24 w 42"/>
                <a:gd name="T15" fmla="*/ 14 h 43"/>
                <a:gd name="T16" fmla="*/ 16 w 42"/>
                <a:gd name="T17" fmla="*/ 36 h 43"/>
                <a:gd name="T18" fmla="*/ 13 w 42"/>
                <a:gd name="T19" fmla="*/ 43 h 43"/>
                <a:gd name="T20" fmla="*/ 0 w 42"/>
                <a:gd name="T21" fmla="*/ 41 h 43"/>
                <a:gd name="T22" fmla="*/ 3 w 42"/>
                <a:gd name="T23" fmla="*/ 28 h 43"/>
                <a:gd name="T24" fmla="*/ 6 w 42"/>
                <a:gd name="T25" fmla="*/ 2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43">
                  <a:moveTo>
                    <a:pt x="6" y="20"/>
                  </a:moveTo>
                  <a:cubicBezTo>
                    <a:pt x="6" y="20"/>
                    <a:pt x="6" y="20"/>
                    <a:pt x="6" y="20"/>
                  </a:cubicBezTo>
                  <a:cubicBezTo>
                    <a:pt x="7" y="18"/>
                    <a:pt x="8" y="16"/>
                    <a:pt x="10" y="14"/>
                  </a:cubicBezTo>
                  <a:cubicBezTo>
                    <a:pt x="15" y="9"/>
                    <a:pt x="15" y="9"/>
                    <a:pt x="15" y="9"/>
                  </a:cubicBezTo>
                  <a:cubicBezTo>
                    <a:pt x="18" y="5"/>
                    <a:pt x="20" y="2"/>
                    <a:pt x="25" y="2"/>
                  </a:cubicBezTo>
                  <a:cubicBezTo>
                    <a:pt x="32" y="1"/>
                    <a:pt x="42" y="0"/>
                    <a:pt x="42" y="4"/>
                  </a:cubicBezTo>
                  <a:cubicBezTo>
                    <a:pt x="42" y="8"/>
                    <a:pt x="33" y="10"/>
                    <a:pt x="28" y="11"/>
                  </a:cubicBezTo>
                  <a:cubicBezTo>
                    <a:pt x="26" y="11"/>
                    <a:pt x="24" y="12"/>
                    <a:pt x="24" y="14"/>
                  </a:cubicBezTo>
                  <a:cubicBezTo>
                    <a:pt x="24" y="14"/>
                    <a:pt x="27" y="35"/>
                    <a:pt x="16" y="36"/>
                  </a:cubicBezTo>
                  <a:cubicBezTo>
                    <a:pt x="13" y="43"/>
                    <a:pt x="13" y="43"/>
                    <a:pt x="13" y="43"/>
                  </a:cubicBezTo>
                  <a:cubicBezTo>
                    <a:pt x="0" y="41"/>
                    <a:pt x="0" y="41"/>
                    <a:pt x="0" y="41"/>
                  </a:cubicBezTo>
                  <a:cubicBezTo>
                    <a:pt x="3" y="28"/>
                    <a:pt x="3" y="28"/>
                    <a:pt x="3" y="28"/>
                  </a:cubicBezTo>
                  <a:cubicBezTo>
                    <a:pt x="3" y="25"/>
                    <a:pt x="4" y="22"/>
                    <a:pt x="6" y="20"/>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1" name="Freeform 178"/>
            <p:cNvSpPr/>
            <p:nvPr/>
          </p:nvSpPr>
          <p:spPr bwMode="auto">
            <a:xfrm>
              <a:off x="6510846" y="2926898"/>
              <a:ext cx="950567" cy="1346884"/>
            </a:xfrm>
            <a:custGeom>
              <a:avLst/>
              <a:gdLst>
                <a:gd name="T0" fmla="*/ 119 w 186"/>
                <a:gd name="T1" fmla="*/ 13 h 263"/>
                <a:gd name="T2" fmla="*/ 78 w 186"/>
                <a:gd name="T3" fmla="*/ 20 h 263"/>
                <a:gd name="T4" fmla="*/ 44 w 186"/>
                <a:gd name="T5" fmla="*/ 98 h 263"/>
                <a:gd name="T6" fmla="*/ 3 w 186"/>
                <a:gd name="T7" fmla="*/ 163 h 263"/>
                <a:gd name="T8" fmla="*/ 135 w 186"/>
                <a:gd name="T9" fmla="*/ 210 h 263"/>
                <a:gd name="T10" fmla="*/ 119 w 186"/>
                <a:gd name="T11" fmla="*/ 94 h 263"/>
                <a:gd name="T12" fmla="*/ 119 w 186"/>
                <a:gd name="T13" fmla="*/ 13 h 263"/>
              </a:gdLst>
              <a:ahLst/>
              <a:cxnLst>
                <a:cxn ang="0">
                  <a:pos x="T0" y="T1"/>
                </a:cxn>
                <a:cxn ang="0">
                  <a:pos x="T2" y="T3"/>
                </a:cxn>
                <a:cxn ang="0">
                  <a:pos x="T4" y="T5"/>
                </a:cxn>
                <a:cxn ang="0">
                  <a:pos x="T6" y="T7"/>
                </a:cxn>
                <a:cxn ang="0">
                  <a:pos x="T8" y="T9"/>
                </a:cxn>
                <a:cxn ang="0">
                  <a:pos x="T10" y="T11"/>
                </a:cxn>
                <a:cxn ang="0">
                  <a:pos x="T12" y="T13"/>
                </a:cxn>
              </a:cxnLst>
              <a:rect l="0" t="0" r="r" b="b"/>
              <a:pathLst>
                <a:path w="186" h="263">
                  <a:moveTo>
                    <a:pt x="119" y="13"/>
                  </a:moveTo>
                  <a:cubicBezTo>
                    <a:pt x="119" y="13"/>
                    <a:pt x="89" y="0"/>
                    <a:pt x="78" y="20"/>
                  </a:cubicBezTo>
                  <a:cubicBezTo>
                    <a:pt x="67" y="39"/>
                    <a:pt x="84" y="91"/>
                    <a:pt x="44" y="98"/>
                  </a:cubicBezTo>
                  <a:cubicBezTo>
                    <a:pt x="4" y="105"/>
                    <a:pt x="0" y="145"/>
                    <a:pt x="3" y="163"/>
                  </a:cubicBezTo>
                  <a:cubicBezTo>
                    <a:pt x="12" y="213"/>
                    <a:pt x="85" y="263"/>
                    <a:pt x="135" y="210"/>
                  </a:cubicBezTo>
                  <a:cubicBezTo>
                    <a:pt x="186" y="157"/>
                    <a:pt x="123" y="121"/>
                    <a:pt x="119" y="94"/>
                  </a:cubicBezTo>
                  <a:cubicBezTo>
                    <a:pt x="114" y="67"/>
                    <a:pt x="145" y="32"/>
                    <a:pt x="119" y="13"/>
                  </a:cubicBezTo>
                  <a:close/>
                </a:path>
              </a:pathLst>
            </a:custGeom>
            <a:solidFill>
              <a:srgbClr val="5046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2" name="Freeform 179"/>
            <p:cNvSpPr/>
            <p:nvPr/>
          </p:nvSpPr>
          <p:spPr bwMode="auto">
            <a:xfrm>
              <a:off x="6925043" y="3025233"/>
              <a:ext cx="515511" cy="1078699"/>
            </a:xfrm>
            <a:custGeom>
              <a:avLst/>
              <a:gdLst>
                <a:gd name="T0" fmla="*/ 60 w 101"/>
                <a:gd name="T1" fmla="*/ 86 h 211"/>
                <a:gd name="T2" fmla="*/ 58 w 101"/>
                <a:gd name="T3" fmla="*/ 2 h 211"/>
                <a:gd name="T4" fmla="*/ 53 w 101"/>
                <a:gd name="T5" fmla="*/ 2 h 211"/>
                <a:gd name="T6" fmla="*/ 33 w 101"/>
                <a:gd name="T7" fmla="*/ 11 h 211"/>
                <a:gd name="T8" fmla="*/ 10 w 101"/>
                <a:gd name="T9" fmla="*/ 60 h 211"/>
                <a:gd name="T10" fmla="*/ 1 w 101"/>
                <a:gd name="T11" fmla="*/ 145 h 211"/>
                <a:gd name="T12" fmla="*/ 80 w 101"/>
                <a:gd name="T13" fmla="*/ 202 h 211"/>
                <a:gd name="T14" fmla="*/ 97 w 101"/>
                <a:gd name="T15" fmla="*/ 184 h 211"/>
                <a:gd name="T16" fmla="*/ 96 w 101"/>
                <a:gd name="T17" fmla="*/ 165 h 211"/>
                <a:gd name="T18" fmla="*/ 96 w 101"/>
                <a:gd name="T19" fmla="*/ 165 h 211"/>
                <a:gd name="T20" fmla="*/ 60 w 101"/>
                <a:gd name="T21" fmla="*/ 8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1" h="211">
                  <a:moveTo>
                    <a:pt x="60" y="86"/>
                  </a:moveTo>
                  <a:cubicBezTo>
                    <a:pt x="60" y="66"/>
                    <a:pt x="101" y="44"/>
                    <a:pt x="58" y="2"/>
                  </a:cubicBezTo>
                  <a:cubicBezTo>
                    <a:pt x="57" y="1"/>
                    <a:pt x="55" y="0"/>
                    <a:pt x="53" y="2"/>
                  </a:cubicBezTo>
                  <a:cubicBezTo>
                    <a:pt x="50" y="5"/>
                    <a:pt x="38" y="6"/>
                    <a:pt x="33" y="11"/>
                  </a:cubicBezTo>
                  <a:cubicBezTo>
                    <a:pt x="22" y="21"/>
                    <a:pt x="5" y="47"/>
                    <a:pt x="10" y="60"/>
                  </a:cubicBezTo>
                  <a:cubicBezTo>
                    <a:pt x="22" y="89"/>
                    <a:pt x="3" y="113"/>
                    <a:pt x="1" y="145"/>
                  </a:cubicBezTo>
                  <a:cubicBezTo>
                    <a:pt x="0" y="178"/>
                    <a:pt x="54" y="211"/>
                    <a:pt x="80" y="202"/>
                  </a:cubicBezTo>
                  <a:cubicBezTo>
                    <a:pt x="89" y="199"/>
                    <a:pt x="95" y="192"/>
                    <a:pt x="97" y="184"/>
                  </a:cubicBezTo>
                  <a:cubicBezTo>
                    <a:pt x="99" y="178"/>
                    <a:pt x="99" y="171"/>
                    <a:pt x="96" y="165"/>
                  </a:cubicBezTo>
                  <a:cubicBezTo>
                    <a:pt x="96" y="165"/>
                    <a:pt x="96" y="165"/>
                    <a:pt x="96" y="165"/>
                  </a:cubicBezTo>
                  <a:cubicBezTo>
                    <a:pt x="86" y="146"/>
                    <a:pt x="61" y="155"/>
                    <a:pt x="60" y="86"/>
                  </a:cubicBezTo>
                  <a:close/>
                </a:path>
              </a:pathLst>
            </a:custGeom>
            <a:solidFill>
              <a:srgbClr val="4137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3" name="Freeform 180"/>
            <p:cNvSpPr/>
            <p:nvPr/>
          </p:nvSpPr>
          <p:spPr bwMode="auto">
            <a:xfrm>
              <a:off x="7261764" y="4047315"/>
              <a:ext cx="378439" cy="1919012"/>
            </a:xfrm>
            <a:custGeom>
              <a:avLst/>
              <a:gdLst>
                <a:gd name="T0" fmla="*/ 62 w 74"/>
                <a:gd name="T1" fmla="*/ 185 h 375"/>
                <a:gd name="T2" fmla="*/ 64 w 74"/>
                <a:gd name="T3" fmla="*/ 27 h 375"/>
                <a:gd name="T4" fmla="*/ 37 w 74"/>
                <a:gd name="T5" fmla="*/ 2 h 375"/>
                <a:gd name="T6" fmla="*/ 1 w 74"/>
                <a:gd name="T7" fmla="*/ 36 h 375"/>
                <a:gd name="T8" fmla="*/ 5 w 74"/>
                <a:gd name="T9" fmla="*/ 67 h 375"/>
                <a:gd name="T10" fmla="*/ 30 w 74"/>
                <a:gd name="T11" fmla="*/ 337 h 375"/>
                <a:gd name="T12" fmla="*/ 30 w 74"/>
                <a:gd name="T13" fmla="*/ 340 h 375"/>
                <a:gd name="T14" fmla="*/ 26 w 74"/>
                <a:gd name="T15" fmla="*/ 347 h 375"/>
                <a:gd name="T16" fmla="*/ 32 w 74"/>
                <a:gd name="T17" fmla="*/ 360 h 375"/>
                <a:gd name="T18" fmla="*/ 40 w 74"/>
                <a:gd name="T19" fmla="*/ 373 h 375"/>
                <a:gd name="T20" fmla="*/ 55 w 74"/>
                <a:gd name="T21" fmla="*/ 372 h 375"/>
                <a:gd name="T22" fmla="*/ 46 w 74"/>
                <a:gd name="T23" fmla="*/ 366 h 375"/>
                <a:gd name="T24" fmla="*/ 41 w 74"/>
                <a:gd name="T25" fmla="*/ 340 h 375"/>
                <a:gd name="T26" fmla="*/ 41 w 74"/>
                <a:gd name="T27" fmla="*/ 336 h 375"/>
                <a:gd name="T28" fmla="*/ 62 w 74"/>
                <a:gd name="T29" fmla="*/ 185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4" h="375">
                  <a:moveTo>
                    <a:pt x="62" y="185"/>
                  </a:moveTo>
                  <a:cubicBezTo>
                    <a:pt x="74" y="116"/>
                    <a:pt x="69" y="58"/>
                    <a:pt x="64" y="27"/>
                  </a:cubicBezTo>
                  <a:cubicBezTo>
                    <a:pt x="62" y="14"/>
                    <a:pt x="51" y="3"/>
                    <a:pt x="37" y="2"/>
                  </a:cubicBezTo>
                  <a:cubicBezTo>
                    <a:pt x="17" y="0"/>
                    <a:pt x="0" y="16"/>
                    <a:pt x="1" y="36"/>
                  </a:cubicBezTo>
                  <a:cubicBezTo>
                    <a:pt x="2" y="44"/>
                    <a:pt x="3" y="55"/>
                    <a:pt x="5" y="67"/>
                  </a:cubicBezTo>
                  <a:cubicBezTo>
                    <a:pt x="14" y="113"/>
                    <a:pt x="30" y="337"/>
                    <a:pt x="30" y="337"/>
                  </a:cubicBezTo>
                  <a:cubicBezTo>
                    <a:pt x="30" y="338"/>
                    <a:pt x="30" y="339"/>
                    <a:pt x="30" y="340"/>
                  </a:cubicBezTo>
                  <a:cubicBezTo>
                    <a:pt x="29" y="344"/>
                    <a:pt x="27" y="345"/>
                    <a:pt x="26" y="347"/>
                  </a:cubicBezTo>
                  <a:cubicBezTo>
                    <a:pt x="23" y="352"/>
                    <a:pt x="25" y="355"/>
                    <a:pt x="32" y="360"/>
                  </a:cubicBezTo>
                  <a:cubicBezTo>
                    <a:pt x="37" y="365"/>
                    <a:pt x="34" y="373"/>
                    <a:pt x="40" y="373"/>
                  </a:cubicBezTo>
                  <a:cubicBezTo>
                    <a:pt x="48" y="375"/>
                    <a:pt x="54" y="374"/>
                    <a:pt x="55" y="372"/>
                  </a:cubicBezTo>
                  <a:cubicBezTo>
                    <a:pt x="56" y="369"/>
                    <a:pt x="53" y="369"/>
                    <a:pt x="46" y="366"/>
                  </a:cubicBezTo>
                  <a:cubicBezTo>
                    <a:pt x="41" y="363"/>
                    <a:pt x="41" y="347"/>
                    <a:pt x="41" y="340"/>
                  </a:cubicBezTo>
                  <a:cubicBezTo>
                    <a:pt x="40" y="339"/>
                    <a:pt x="41" y="337"/>
                    <a:pt x="41" y="336"/>
                  </a:cubicBezTo>
                  <a:lnTo>
                    <a:pt x="62" y="185"/>
                  </a:ln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4" name="Freeform 181"/>
            <p:cNvSpPr/>
            <p:nvPr/>
          </p:nvSpPr>
          <p:spPr bwMode="auto">
            <a:xfrm>
              <a:off x="6784991" y="4032416"/>
              <a:ext cx="625765" cy="1933911"/>
            </a:xfrm>
            <a:custGeom>
              <a:avLst/>
              <a:gdLst>
                <a:gd name="T0" fmla="*/ 86 w 122"/>
                <a:gd name="T1" fmla="*/ 197 h 378"/>
                <a:gd name="T2" fmla="*/ 117 w 122"/>
                <a:gd name="T3" fmla="*/ 3 h 378"/>
                <a:gd name="T4" fmla="*/ 86 w 122"/>
                <a:gd name="T5" fmla="*/ 1 h 378"/>
                <a:gd name="T6" fmla="*/ 52 w 122"/>
                <a:gd name="T7" fmla="*/ 25 h 378"/>
                <a:gd name="T8" fmla="*/ 45 w 122"/>
                <a:gd name="T9" fmla="*/ 139 h 378"/>
                <a:gd name="T10" fmla="*/ 45 w 122"/>
                <a:gd name="T11" fmla="*/ 188 h 378"/>
                <a:gd name="T12" fmla="*/ 12 w 122"/>
                <a:gd name="T13" fmla="*/ 333 h 378"/>
                <a:gd name="T14" fmla="*/ 10 w 122"/>
                <a:gd name="T15" fmla="*/ 339 h 378"/>
                <a:gd name="T16" fmla="*/ 5 w 122"/>
                <a:gd name="T17" fmla="*/ 345 h 378"/>
                <a:gd name="T18" fmla="*/ 7 w 122"/>
                <a:gd name="T19" fmla="*/ 359 h 378"/>
                <a:gd name="T20" fmla="*/ 12 w 122"/>
                <a:gd name="T21" fmla="*/ 374 h 378"/>
                <a:gd name="T22" fmla="*/ 26 w 122"/>
                <a:gd name="T23" fmla="*/ 376 h 378"/>
                <a:gd name="T24" fmla="*/ 20 w 122"/>
                <a:gd name="T25" fmla="*/ 368 h 378"/>
                <a:gd name="T26" fmla="*/ 18 w 122"/>
                <a:gd name="T27" fmla="*/ 353 h 378"/>
                <a:gd name="T28" fmla="*/ 24 w 122"/>
                <a:gd name="T29" fmla="*/ 333 h 378"/>
                <a:gd name="T30" fmla="*/ 86 w 122"/>
                <a:gd name="T31" fmla="*/ 197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378">
                  <a:moveTo>
                    <a:pt x="86" y="197"/>
                  </a:moveTo>
                  <a:cubicBezTo>
                    <a:pt x="99" y="159"/>
                    <a:pt x="122" y="38"/>
                    <a:pt x="117" y="3"/>
                  </a:cubicBezTo>
                  <a:cubicBezTo>
                    <a:pt x="86" y="1"/>
                    <a:pt x="86" y="1"/>
                    <a:pt x="86" y="1"/>
                  </a:cubicBezTo>
                  <a:cubicBezTo>
                    <a:pt x="71" y="0"/>
                    <a:pt x="57" y="10"/>
                    <a:pt x="52" y="25"/>
                  </a:cubicBezTo>
                  <a:cubicBezTo>
                    <a:pt x="45" y="47"/>
                    <a:pt x="39" y="85"/>
                    <a:pt x="45" y="139"/>
                  </a:cubicBezTo>
                  <a:cubicBezTo>
                    <a:pt x="45" y="139"/>
                    <a:pt x="50" y="169"/>
                    <a:pt x="45" y="188"/>
                  </a:cubicBezTo>
                  <a:cubicBezTo>
                    <a:pt x="41" y="205"/>
                    <a:pt x="17" y="313"/>
                    <a:pt x="12" y="333"/>
                  </a:cubicBezTo>
                  <a:cubicBezTo>
                    <a:pt x="11" y="335"/>
                    <a:pt x="10" y="338"/>
                    <a:pt x="10" y="339"/>
                  </a:cubicBezTo>
                  <a:cubicBezTo>
                    <a:pt x="8" y="343"/>
                    <a:pt x="6" y="344"/>
                    <a:pt x="5" y="345"/>
                  </a:cubicBezTo>
                  <a:cubicBezTo>
                    <a:pt x="0" y="348"/>
                    <a:pt x="2" y="352"/>
                    <a:pt x="7" y="359"/>
                  </a:cubicBezTo>
                  <a:cubicBezTo>
                    <a:pt x="11" y="365"/>
                    <a:pt x="7" y="372"/>
                    <a:pt x="12" y="374"/>
                  </a:cubicBezTo>
                  <a:cubicBezTo>
                    <a:pt x="19" y="377"/>
                    <a:pt x="25" y="378"/>
                    <a:pt x="26" y="376"/>
                  </a:cubicBezTo>
                  <a:cubicBezTo>
                    <a:pt x="28" y="374"/>
                    <a:pt x="26" y="373"/>
                    <a:pt x="20" y="368"/>
                  </a:cubicBezTo>
                  <a:cubicBezTo>
                    <a:pt x="18" y="366"/>
                    <a:pt x="18" y="359"/>
                    <a:pt x="18" y="353"/>
                  </a:cubicBezTo>
                  <a:cubicBezTo>
                    <a:pt x="19" y="346"/>
                    <a:pt x="21" y="339"/>
                    <a:pt x="24" y="333"/>
                  </a:cubicBezTo>
                  <a:cubicBezTo>
                    <a:pt x="37" y="307"/>
                    <a:pt x="75" y="229"/>
                    <a:pt x="86" y="197"/>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5" name="Freeform 182"/>
            <p:cNvSpPr/>
            <p:nvPr/>
          </p:nvSpPr>
          <p:spPr bwMode="auto">
            <a:xfrm>
              <a:off x="6981660" y="4032416"/>
              <a:ext cx="658543" cy="1171074"/>
            </a:xfrm>
            <a:custGeom>
              <a:avLst/>
              <a:gdLst>
                <a:gd name="T0" fmla="*/ 112 w 129"/>
                <a:gd name="T1" fmla="*/ 219 h 229"/>
                <a:gd name="T2" fmla="*/ 0 w 129"/>
                <a:gd name="T3" fmla="*/ 219 h 229"/>
                <a:gd name="T4" fmla="*/ 7 w 129"/>
                <a:gd name="T5" fmla="*/ 188 h 229"/>
                <a:gd name="T6" fmla="*/ 7 w 129"/>
                <a:gd name="T7" fmla="*/ 139 h 229"/>
                <a:gd name="T8" fmla="*/ 14 w 129"/>
                <a:gd name="T9" fmla="*/ 25 h 229"/>
                <a:gd name="T10" fmla="*/ 48 w 129"/>
                <a:gd name="T11" fmla="*/ 1 h 229"/>
                <a:gd name="T12" fmla="*/ 79 w 129"/>
                <a:gd name="T13" fmla="*/ 3 h 229"/>
                <a:gd name="T14" fmla="*/ 79 w 129"/>
                <a:gd name="T15" fmla="*/ 4 h 229"/>
                <a:gd name="T16" fmla="*/ 92 w 129"/>
                <a:gd name="T17" fmla="*/ 5 h 229"/>
                <a:gd name="T18" fmla="*/ 119 w 129"/>
                <a:gd name="T19" fmla="*/ 30 h 229"/>
                <a:gd name="T20" fmla="*/ 117 w 129"/>
                <a:gd name="T21" fmla="*/ 188 h 229"/>
                <a:gd name="T22" fmla="*/ 112 w 129"/>
                <a:gd name="T23" fmla="*/ 21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9" h="229">
                  <a:moveTo>
                    <a:pt x="112" y="219"/>
                  </a:moveTo>
                  <a:cubicBezTo>
                    <a:pt x="77" y="229"/>
                    <a:pt x="39" y="229"/>
                    <a:pt x="0" y="219"/>
                  </a:cubicBezTo>
                  <a:cubicBezTo>
                    <a:pt x="3" y="204"/>
                    <a:pt x="6" y="193"/>
                    <a:pt x="7" y="188"/>
                  </a:cubicBezTo>
                  <a:cubicBezTo>
                    <a:pt x="12" y="169"/>
                    <a:pt x="7" y="139"/>
                    <a:pt x="7" y="139"/>
                  </a:cubicBezTo>
                  <a:cubicBezTo>
                    <a:pt x="1" y="85"/>
                    <a:pt x="7" y="47"/>
                    <a:pt x="14" y="25"/>
                  </a:cubicBezTo>
                  <a:cubicBezTo>
                    <a:pt x="19" y="10"/>
                    <a:pt x="33" y="0"/>
                    <a:pt x="48" y="1"/>
                  </a:cubicBezTo>
                  <a:cubicBezTo>
                    <a:pt x="79" y="3"/>
                    <a:pt x="79" y="3"/>
                    <a:pt x="79" y="3"/>
                  </a:cubicBezTo>
                  <a:cubicBezTo>
                    <a:pt x="79" y="4"/>
                    <a:pt x="79" y="4"/>
                    <a:pt x="79" y="4"/>
                  </a:cubicBezTo>
                  <a:cubicBezTo>
                    <a:pt x="92" y="5"/>
                    <a:pt x="92" y="5"/>
                    <a:pt x="92" y="5"/>
                  </a:cubicBezTo>
                  <a:cubicBezTo>
                    <a:pt x="106" y="6"/>
                    <a:pt x="117" y="17"/>
                    <a:pt x="119" y="30"/>
                  </a:cubicBezTo>
                  <a:cubicBezTo>
                    <a:pt x="124" y="61"/>
                    <a:pt x="129" y="119"/>
                    <a:pt x="117" y="188"/>
                  </a:cubicBezTo>
                  <a:lnTo>
                    <a:pt x="112" y="219"/>
                  </a:lnTo>
                  <a:close/>
                </a:path>
              </a:pathLst>
            </a:custGeom>
            <a:solidFill>
              <a:srgbClr val="6469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6" name="Freeform 183"/>
            <p:cNvSpPr/>
            <p:nvPr/>
          </p:nvSpPr>
          <p:spPr bwMode="auto">
            <a:xfrm>
              <a:off x="6984640" y="4032416"/>
              <a:ext cx="613846" cy="840313"/>
            </a:xfrm>
            <a:custGeom>
              <a:avLst/>
              <a:gdLst>
                <a:gd name="T0" fmla="*/ 19 w 120"/>
                <a:gd name="T1" fmla="*/ 136 h 164"/>
                <a:gd name="T2" fmla="*/ 8 w 120"/>
                <a:gd name="T3" fmla="*/ 164 h 164"/>
                <a:gd name="T4" fmla="*/ 6 w 120"/>
                <a:gd name="T5" fmla="*/ 139 h 164"/>
                <a:gd name="T6" fmla="*/ 13 w 120"/>
                <a:gd name="T7" fmla="*/ 25 h 164"/>
                <a:gd name="T8" fmla="*/ 47 w 120"/>
                <a:gd name="T9" fmla="*/ 1 h 164"/>
                <a:gd name="T10" fmla="*/ 58 w 120"/>
                <a:gd name="T11" fmla="*/ 2 h 164"/>
                <a:gd name="T12" fmla="*/ 58 w 120"/>
                <a:gd name="T13" fmla="*/ 2 h 164"/>
                <a:gd name="T14" fmla="*/ 78 w 120"/>
                <a:gd name="T15" fmla="*/ 3 h 164"/>
                <a:gd name="T16" fmla="*/ 78 w 120"/>
                <a:gd name="T17" fmla="*/ 4 h 164"/>
                <a:gd name="T18" fmla="*/ 91 w 120"/>
                <a:gd name="T19" fmla="*/ 5 h 164"/>
                <a:gd name="T20" fmla="*/ 118 w 120"/>
                <a:gd name="T21" fmla="*/ 30 h 164"/>
                <a:gd name="T22" fmla="*/ 120 w 120"/>
                <a:gd name="T23" fmla="*/ 47 h 164"/>
                <a:gd name="T24" fmla="*/ 19 w 120"/>
                <a:gd name="T25" fmla="*/ 13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164">
                  <a:moveTo>
                    <a:pt x="19" y="136"/>
                  </a:moveTo>
                  <a:cubicBezTo>
                    <a:pt x="15" y="145"/>
                    <a:pt x="11" y="155"/>
                    <a:pt x="8" y="164"/>
                  </a:cubicBezTo>
                  <a:cubicBezTo>
                    <a:pt x="8" y="151"/>
                    <a:pt x="6" y="139"/>
                    <a:pt x="6" y="139"/>
                  </a:cubicBezTo>
                  <a:cubicBezTo>
                    <a:pt x="0" y="85"/>
                    <a:pt x="6" y="47"/>
                    <a:pt x="13" y="25"/>
                  </a:cubicBezTo>
                  <a:cubicBezTo>
                    <a:pt x="18" y="10"/>
                    <a:pt x="32" y="0"/>
                    <a:pt x="47" y="1"/>
                  </a:cubicBezTo>
                  <a:cubicBezTo>
                    <a:pt x="58" y="2"/>
                    <a:pt x="58" y="2"/>
                    <a:pt x="58" y="2"/>
                  </a:cubicBezTo>
                  <a:cubicBezTo>
                    <a:pt x="58" y="2"/>
                    <a:pt x="58" y="2"/>
                    <a:pt x="58" y="2"/>
                  </a:cubicBezTo>
                  <a:cubicBezTo>
                    <a:pt x="78" y="3"/>
                    <a:pt x="78" y="3"/>
                    <a:pt x="78" y="3"/>
                  </a:cubicBezTo>
                  <a:cubicBezTo>
                    <a:pt x="78" y="4"/>
                    <a:pt x="78" y="4"/>
                    <a:pt x="78" y="4"/>
                  </a:cubicBezTo>
                  <a:cubicBezTo>
                    <a:pt x="91" y="5"/>
                    <a:pt x="91" y="5"/>
                    <a:pt x="91" y="5"/>
                  </a:cubicBezTo>
                  <a:cubicBezTo>
                    <a:pt x="105" y="6"/>
                    <a:pt x="116" y="17"/>
                    <a:pt x="118" y="30"/>
                  </a:cubicBezTo>
                  <a:cubicBezTo>
                    <a:pt x="119" y="35"/>
                    <a:pt x="120" y="41"/>
                    <a:pt x="120" y="47"/>
                  </a:cubicBezTo>
                  <a:cubicBezTo>
                    <a:pt x="69" y="45"/>
                    <a:pt x="38" y="92"/>
                    <a:pt x="19" y="136"/>
                  </a:cubicBezTo>
                  <a:close/>
                </a:path>
              </a:pathLst>
            </a:custGeom>
            <a:solidFill>
              <a:srgbClr val="5159B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7" name="Freeform 184"/>
            <p:cNvSpPr/>
            <p:nvPr/>
          </p:nvSpPr>
          <p:spPr bwMode="auto">
            <a:xfrm>
              <a:off x="6802870" y="2563359"/>
              <a:ext cx="932688" cy="1674666"/>
            </a:xfrm>
            <a:custGeom>
              <a:avLst/>
              <a:gdLst>
                <a:gd name="T0" fmla="*/ 173 w 183"/>
                <a:gd name="T1" fmla="*/ 94 h 327"/>
                <a:gd name="T2" fmla="*/ 183 w 183"/>
                <a:gd name="T3" fmla="*/ 8 h 327"/>
                <a:gd name="T4" fmla="*/ 167 w 183"/>
                <a:gd name="T5" fmla="*/ 5 h 327"/>
                <a:gd name="T6" fmla="*/ 147 w 183"/>
                <a:gd name="T7" fmla="*/ 90 h 327"/>
                <a:gd name="T8" fmla="*/ 100 w 183"/>
                <a:gd name="T9" fmla="*/ 153 h 327"/>
                <a:gd name="T10" fmla="*/ 87 w 183"/>
                <a:gd name="T11" fmla="*/ 161 h 327"/>
                <a:gd name="T12" fmla="*/ 52 w 183"/>
                <a:gd name="T13" fmla="*/ 166 h 327"/>
                <a:gd name="T14" fmla="*/ 22 w 183"/>
                <a:gd name="T15" fmla="*/ 199 h 327"/>
                <a:gd name="T16" fmla="*/ 37 w 183"/>
                <a:gd name="T17" fmla="*/ 221 h 327"/>
                <a:gd name="T18" fmla="*/ 58 w 183"/>
                <a:gd name="T19" fmla="*/ 264 h 327"/>
                <a:gd name="T20" fmla="*/ 51 w 183"/>
                <a:gd name="T21" fmla="*/ 298 h 327"/>
                <a:gd name="T22" fmla="*/ 47 w 183"/>
                <a:gd name="T23" fmla="*/ 312 h 327"/>
                <a:gd name="T24" fmla="*/ 49 w 183"/>
                <a:gd name="T25" fmla="*/ 318 h 327"/>
                <a:gd name="T26" fmla="*/ 151 w 183"/>
                <a:gd name="T27" fmla="*/ 317 h 327"/>
                <a:gd name="T28" fmla="*/ 154 w 183"/>
                <a:gd name="T29" fmla="*/ 309 h 327"/>
                <a:gd name="T30" fmla="*/ 131 w 183"/>
                <a:gd name="T31" fmla="*/ 248 h 327"/>
                <a:gd name="T32" fmla="*/ 131 w 183"/>
                <a:gd name="T33" fmla="*/ 224 h 327"/>
                <a:gd name="T34" fmla="*/ 132 w 183"/>
                <a:gd name="T35" fmla="*/ 210 h 327"/>
                <a:gd name="T36" fmla="*/ 126 w 183"/>
                <a:gd name="T37" fmla="*/ 198 h 327"/>
                <a:gd name="T38" fmla="*/ 128 w 183"/>
                <a:gd name="T39" fmla="*/ 176 h 327"/>
                <a:gd name="T40" fmla="*/ 173 w 183"/>
                <a:gd name="T41" fmla="*/ 94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3" h="327">
                  <a:moveTo>
                    <a:pt x="173" y="94"/>
                  </a:moveTo>
                  <a:cubicBezTo>
                    <a:pt x="178" y="70"/>
                    <a:pt x="183" y="8"/>
                    <a:pt x="183" y="8"/>
                  </a:cubicBezTo>
                  <a:cubicBezTo>
                    <a:pt x="180" y="5"/>
                    <a:pt x="170" y="0"/>
                    <a:pt x="167" y="5"/>
                  </a:cubicBezTo>
                  <a:cubicBezTo>
                    <a:pt x="147" y="90"/>
                    <a:pt x="147" y="90"/>
                    <a:pt x="147" y="90"/>
                  </a:cubicBezTo>
                  <a:cubicBezTo>
                    <a:pt x="126" y="116"/>
                    <a:pt x="109" y="141"/>
                    <a:pt x="100" y="153"/>
                  </a:cubicBezTo>
                  <a:cubicBezTo>
                    <a:pt x="97" y="157"/>
                    <a:pt x="92" y="160"/>
                    <a:pt x="87" y="161"/>
                  </a:cubicBezTo>
                  <a:cubicBezTo>
                    <a:pt x="76" y="162"/>
                    <a:pt x="63" y="163"/>
                    <a:pt x="52" y="166"/>
                  </a:cubicBezTo>
                  <a:cubicBezTo>
                    <a:pt x="0" y="179"/>
                    <a:pt x="22" y="199"/>
                    <a:pt x="22" y="199"/>
                  </a:cubicBezTo>
                  <a:cubicBezTo>
                    <a:pt x="28" y="205"/>
                    <a:pt x="33" y="213"/>
                    <a:pt x="37" y="221"/>
                  </a:cubicBezTo>
                  <a:cubicBezTo>
                    <a:pt x="44" y="235"/>
                    <a:pt x="53" y="254"/>
                    <a:pt x="58" y="264"/>
                  </a:cubicBezTo>
                  <a:cubicBezTo>
                    <a:pt x="60" y="271"/>
                    <a:pt x="53" y="291"/>
                    <a:pt x="51" y="298"/>
                  </a:cubicBezTo>
                  <a:cubicBezTo>
                    <a:pt x="47" y="312"/>
                    <a:pt x="47" y="312"/>
                    <a:pt x="47" y="312"/>
                  </a:cubicBezTo>
                  <a:cubicBezTo>
                    <a:pt x="46" y="315"/>
                    <a:pt x="47" y="317"/>
                    <a:pt x="49" y="318"/>
                  </a:cubicBezTo>
                  <a:cubicBezTo>
                    <a:pt x="73" y="326"/>
                    <a:pt x="120" y="327"/>
                    <a:pt x="151" y="317"/>
                  </a:cubicBezTo>
                  <a:cubicBezTo>
                    <a:pt x="154" y="316"/>
                    <a:pt x="156" y="312"/>
                    <a:pt x="154" y="309"/>
                  </a:cubicBezTo>
                  <a:cubicBezTo>
                    <a:pt x="131" y="248"/>
                    <a:pt x="131" y="248"/>
                    <a:pt x="131" y="248"/>
                  </a:cubicBezTo>
                  <a:cubicBezTo>
                    <a:pt x="125" y="235"/>
                    <a:pt x="127" y="232"/>
                    <a:pt x="131" y="224"/>
                  </a:cubicBezTo>
                  <a:cubicBezTo>
                    <a:pt x="133" y="220"/>
                    <a:pt x="134" y="215"/>
                    <a:pt x="132" y="210"/>
                  </a:cubicBezTo>
                  <a:cubicBezTo>
                    <a:pt x="132" y="207"/>
                    <a:pt x="129" y="203"/>
                    <a:pt x="126" y="198"/>
                  </a:cubicBezTo>
                  <a:cubicBezTo>
                    <a:pt x="122" y="191"/>
                    <a:pt x="123" y="182"/>
                    <a:pt x="128" y="176"/>
                  </a:cubicBezTo>
                  <a:cubicBezTo>
                    <a:pt x="145" y="154"/>
                    <a:pt x="169" y="116"/>
                    <a:pt x="173" y="94"/>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8" name="Freeform 185"/>
            <p:cNvSpPr/>
            <p:nvPr/>
          </p:nvSpPr>
          <p:spPr bwMode="auto">
            <a:xfrm>
              <a:off x="6948882" y="2992455"/>
              <a:ext cx="318842" cy="518491"/>
            </a:xfrm>
            <a:custGeom>
              <a:avLst/>
              <a:gdLst>
                <a:gd name="T0" fmla="*/ 19 w 62"/>
                <a:gd name="T1" fmla="*/ 4 h 101"/>
                <a:gd name="T2" fmla="*/ 6 w 62"/>
                <a:gd name="T3" fmla="*/ 42 h 101"/>
                <a:gd name="T4" fmla="*/ 18 w 62"/>
                <a:gd name="T5" fmla="*/ 61 h 101"/>
                <a:gd name="T6" fmla="*/ 22 w 62"/>
                <a:gd name="T7" fmla="*/ 72 h 101"/>
                <a:gd name="T8" fmla="*/ 22 w 62"/>
                <a:gd name="T9" fmla="*/ 85 h 101"/>
                <a:gd name="T10" fmla="*/ 38 w 62"/>
                <a:gd name="T11" fmla="*/ 101 h 101"/>
                <a:gd name="T12" fmla="*/ 49 w 62"/>
                <a:gd name="T13" fmla="*/ 96 h 101"/>
                <a:gd name="T14" fmla="*/ 49 w 62"/>
                <a:gd name="T15" fmla="*/ 82 h 101"/>
                <a:gd name="T16" fmla="*/ 47 w 62"/>
                <a:gd name="T17" fmla="*/ 79 h 101"/>
                <a:gd name="T18" fmla="*/ 50 w 62"/>
                <a:gd name="T19" fmla="*/ 67 h 101"/>
                <a:gd name="T20" fmla="*/ 59 w 62"/>
                <a:gd name="T21" fmla="*/ 60 h 101"/>
                <a:gd name="T22" fmla="*/ 54 w 62"/>
                <a:gd name="T23" fmla="*/ 21 h 101"/>
                <a:gd name="T24" fmla="*/ 19 w 62"/>
                <a:gd name="T25" fmla="*/ 4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2" h="101">
                  <a:moveTo>
                    <a:pt x="19" y="4"/>
                  </a:moveTo>
                  <a:cubicBezTo>
                    <a:pt x="3" y="9"/>
                    <a:pt x="0" y="21"/>
                    <a:pt x="6" y="42"/>
                  </a:cubicBezTo>
                  <a:cubicBezTo>
                    <a:pt x="8" y="50"/>
                    <a:pt x="14" y="57"/>
                    <a:pt x="18" y="61"/>
                  </a:cubicBezTo>
                  <a:cubicBezTo>
                    <a:pt x="21" y="64"/>
                    <a:pt x="23" y="68"/>
                    <a:pt x="22" y="72"/>
                  </a:cubicBezTo>
                  <a:cubicBezTo>
                    <a:pt x="22" y="85"/>
                    <a:pt x="22" y="85"/>
                    <a:pt x="22" y="85"/>
                  </a:cubicBezTo>
                  <a:cubicBezTo>
                    <a:pt x="23" y="96"/>
                    <a:pt x="30" y="101"/>
                    <a:pt x="38" y="101"/>
                  </a:cubicBezTo>
                  <a:cubicBezTo>
                    <a:pt x="42" y="101"/>
                    <a:pt x="46" y="99"/>
                    <a:pt x="49" y="96"/>
                  </a:cubicBezTo>
                  <a:cubicBezTo>
                    <a:pt x="52" y="92"/>
                    <a:pt x="51" y="87"/>
                    <a:pt x="49" y="82"/>
                  </a:cubicBezTo>
                  <a:cubicBezTo>
                    <a:pt x="47" y="79"/>
                    <a:pt x="47" y="79"/>
                    <a:pt x="47" y="79"/>
                  </a:cubicBezTo>
                  <a:cubicBezTo>
                    <a:pt x="45" y="75"/>
                    <a:pt x="46" y="70"/>
                    <a:pt x="50" y="67"/>
                  </a:cubicBezTo>
                  <a:cubicBezTo>
                    <a:pt x="54" y="66"/>
                    <a:pt x="57" y="63"/>
                    <a:pt x="59" y="60"/>
                  </a:cubicBezTo>
                  <a:cubicBezTo>
                    <a:pt x="61" y="58"/>
                    <a:pt x="62" y="40"/>
                    <a:pt x="54" y="21"/>
                  </a:cubicBezTo>
                  <a:cubicBezTo>
                    <a:pt x="45" y="1"/>
                    <a:pt x="35" y="0"/>
                    <a:pt x="19" y="4"/>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9" name="Freeform 186"/>
            <p:cNvSpPr/>
            <p:nvPr/>
          </p:nvSpPr>
          <p:spPr bwMode="auto">
            <a:xfrm>
              <a:off x="7175349" y="3141446"/>
              <a:ext cx="56617" cy="107274"/>
            </a:xfrm>
            <a:custGeom>
              <a:avLst/>
              <a:gdLst>
                <a:gd name="T0" fmla="*/ 10 w 11"/>
                <a:gd name="T1" fmla="*/ 16 h 21"/>
                <a:gd name="T2" fmla="*/ 8 w 11"/>
                <a:gd name="T3" fmla="*/ 21 h 21"/>
                <a:gd name="T4" fmla="*/ 3 w 11"/>
                <a:gd name="T5" fmla="*/ 18 h 21"/>
                <a:gd name="T6" fmla="*/ 0 w 11"/>
                <a:gd name="T7" fmla="*/ 3 h 21"/>
                <a:gd name="T8" fmla="*/ 0 w 11"/>
                <a:gd name="T9" fmla="*/ 1 h 21"/>
                <a:gd name="T10" fmla="*/ 2 w 11"/>
                <a:gd name="T11" fmla="*/ 0 h 21"/>
                <a:gd name="T12" fmla="*/ 4 w 11"/>
                <a:gd name="T13" fmla="*/ 1 h 21"/>
                <a:gd name="T14" fmla="*/ 10 w 11"/>
                <a:gd name="T15" fmla="*/ 16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21">
                  <a:moveTo>
                    <a:pt x="10" y="16"/>
                  </a:moveTo>
                  <a:cubicBezTo>
                    <a:pt x="11" y="18"/>
                    <a:pt x="10" y="20"/>
                    <a:pt x="8" y="21"/>
                  </a:cubicBezTo>
                  <a:cubicBezTo>
                    <a:pt x="6" y="21"/>
                    <a:pt x="4" y="20"/>
                    <a:pt x="3" y="18"/>
                  </a:cubicBezTo>
                  <a:cubicBezTo>
                    <a:pt x="0" y="3"/>
                    <a:pt x="0" y="3"/>
                    <a:pt x="0" y="3"/>
                  </a:cubicBezTo>
                  <a:cubicBezTo>
                    <a:pt x="0" y="2"/>
                    <a:pt x="0" y="2"/>
                    <a:pt x="0" y="1"/>
                  </a:cubicBezTo>
                  <a:cubicBezTo>
                    <a:pt x="1" y="1"/>
                    <a:pt x="1" y="0"/>
                    <a:pt x="2" y="0"/>
                  </a:cubicBezTo>
                  <a:cubicBezTo>
                    <a:pt x="3" y="0"/>
                    <a:pt x="3" y="0"/>
                    <a:pt x="4" y="1"/>
                  </a:cubicBezTo>
                  <a:lnTo>
                    <a:pt x="10" y="16"/>
                  </a:lnTo>
                  <a:close/>
                </a:path>
              </a:pathLst>
            </a:custGeom>
            <a:solidFill>
              <a:srgbClr val="FA96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0" name="Freeform 187"/>
            <p:cNvSpPr/>
            <p:nvPr/>
          </p:nvSpPr>
          <p:spPr bwMode="auto">
            <a:xfrm>
              <a:off x="6945902" y="3174224"/>
              <a:ext cx="89395" cy="110254"/>
            </a:xfrm>
            <a:custGeom>
              <a:avLst/>
              <a:gdLst>
                <a:gd name="T0" fmla="*/ 15 w 18"/>
                <a:gd name="T1" fmla="*/ 8 h 22"/>
                <a:gd name="T2" fmla="*/ 14 w 18"/>
                <a:gd name="T3" fmla="*/ 20 h 22"/>
                <a:gd name="T4" fmla="*/ 2 w 18"/>
                <a:gd name="T5" fmla="*/ 9 h 22"/>
                <a:gd name="T6" fmla="*/ 7 w 18"/>
                <a:gd name="T7" fmla="*/ 1 h 22"/>
                <a:gd name="T8" fmla="*/ 15 w 18"/>
                <a:gd name="T9" fmla="*/ 8 h 22"/>
              </a:gdLst>
              <a:ahLst/>
              <a:cxnLst>
                <a:cxn ang="0">
                  <a:pos x="T0" y="T1"/>
                </a:cxn>
                <a:cxn ang="0">
                  <a:pos x="T2" y="T3"/>
                </a:cxn>
                <a:cxn ang="0">
                  <a:pos x="T4" y="T5"/>
                </a:cxn>
                <a:cxn ang="0">
                  <a:pos x="T6" y="T7"/>
                </a:cxn>
                <a:cxn ang="0">
                  <a:pos x="T8" y="T9"/>
                </a:cxn>
              </a:cxnLst>
              <a:rect l="0" t="0" r="r" b="b"/>
              <a:pathLst>
                <a:path w="18" h="22">
                  <a:moveTo>
                    <a:pt x="15" y="8"/>
                  </a:moveTo>
                  <a:cubicBezTo>
                    <a:pt x="17" y="13"/>
                    <a:pt x="18" y="19"/>
                    <a:pt x="14" y="20"/>
                  </a:cubicBezTo>
                  <a:cubicBezTo>
                    <a:pt x="10" y="22"/>
                    <a:pt x="3" y="14"/>
                    <a:pt x="2" y="9"/>
                  </a:cubicBezTo>
                  <a:cubicBezTo>
                    <a:pt x="0" y="4"/>
                    <a:pt x="3" y="2"/>
                    <a:pt x="7" y="1"/>
                  </a:cubicBezTo>
                  <a:cubicBezTo>
                    <a:pt x="11" y="0"/>
                    <a:pt x="14" y="4"/>
                    <a:pt x="15" y="8"/>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1" name="Freeform 188"/>
            <p:cNvSpPr/>
            <p:nvPr/>
          </p:nvSpPr>
          <p:spPr bwMode="auto">
            <a:xfrm>
              <a:off x="6904184" y="2926898"/>
              <a:ext cx="402277" cy="306923"/>
            </a:xfrm>
            <a:custGeom>
              <a:avLst/>
              <a:gdLst>
                <a:gd name="T0" fmla="*/ 7 w 79"/>
                <a:gd name="T1" fmla="*/ 33 h 60"/>
                <a:gd name="T2" fmla="*/ 61 w 79"/>
                <a:gd name="T3" fmla="*/ 8 h 60"/>
                <a:gd name="T4" fmla="*/ 62 w 79"/>
                <a:gd name="T5" fmla="*/ 33 h 60"/>
                <a:gd name="T6" fmla="*/ 51 w 79"/>
                <a:gd name="T7" fmla="*/ 30 h 60"/>
                <a:gd name="T8" fmla="*/ 47 w 79"/>
                <a:gd name="T9" fmla="*/ 29 h 60"/>
                <a:gd name="T10" fmla="*/ 36 w 79"/>
                <a:gd name="T11" fmla="*/ 32 h 60"/>
                <a:gd name="T12" fmla="*/ 26 w 79"/>
                <a:gd name="T13" fmla="*/ 54 h 60"/>
                <a:gd name="T14" fmla="*/ 27 w 79"/>
                <a:gd name="T15" fmla="*/ 57 h 60"/>
                <a:gd name="T16" fmla="*/ 24 w 79"/>
                <a:gd name="T17" fmla="*/ 59 h 60"/>
                <a:gd name="T18" fmla="*/ 23 w 79"/>
                <a:gd name="T19" fmla="*/ 58 h 60"/>
                <a:gd name="T20" fmla="*/ 16 w 79"/>
                <a:gd name="T21" fmla="*/ 52 h 60"/>
                <a:gd name="T22" fmla="*/ 7 w 79"/>
                <a:gd name="T23" fmla="*/ 33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9" h="60">
                  <a:moveTo>
                    <a:pt x="7" y="33"/>
                  </a:moveTo>
                  <a:cubicBezTo>
                    <a:pt x="20" y="8"/>
                    <a:pt x="47" y="0"/>
                    <a:pt x="61" y="8"/>
                  </a:cubicBezTo>
                  <a:cubicBezTo>
                    <a:pt x="68" y="13"/>
                    <a:pt x="79" y="32"/>
                    <a:pt x="62" y="33"/>
                  </a:cubicBezTo>
                  <a:cubicBezTo>
                    <a:pt x="58" y="33"/>
                    <a:pt x="54" y="32"/>
                    <a:pt x="51" y="30"/>
                  </a:cubicBezTo>
                  <a:cubicBezTo>
                    <a:pt x="50" y="29"/>
                    <a:pt x="48" y="29"/>
                    <a:pt x="47" y="29"/>
                  </a:cubicBezTo>
                  <a:cubicBezTo>
                    <a:pt x="36" y="32"/>
                    <a:pt x="36" y="32"/>
                    <a:pt x="36" y="32"/>
                  </a:cubicBezTo>
                  <a:cubicBezTo>
                    <a:pt x="28" y="36"/>
                    <a:pt x="23" y="45"/>
                    <a:pt x="26" y="54"/>
                  </a:cubicBezTo>
                  <a:cubicBezTo>
                    <a:pt x="27" y="57"/>
                    <a:pt x="27" y="57"/>
                    <a:pt x="27" y="57"/>
                  </a:cubicBezTo>
                  <a:cubicBezTo>
                    <a:pt x="27" y="59"/>
                    <a:pt x="26" y="60"/>
                    <a:pt x="24" y="59"/>
                  </a:cubicBezTo>
                  <a:cubicBezTo>
                    <a:pt x="23" y="58"/>
                    <a:pt x="23" y="58"/>
                    <a:pt x="23" y="58"/>
                  </a:cubicBezTo>
                  <a:cubicBezTo>
                    <a:pt x="22" y="55"/>
                    <a:pt x="19" y="53"/>
                    <a:pt x="16" y="52"/>
                  </a:cubicBezTo>
                  <a:cubicBezTo>
                    <a:pt x="8" y="50"/>
                    <a:pt x="0" y="47"/>
                    <a:pt x="7" y="33"/>
                  </a:cubicBezTo>
                  <a:close/>
                </a:path>
              </a:pathLst>
            </a:custGeom>
            <a:solidFill>
              <a:srgbClr val="5046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2" name="Freeform 189"/>
            <p:cNvSpPr/>
            <p:nvPr/>
          </p:nvSpPr>
          <p:spPr bwMode="auto">
            <a:xfrm>
              <a:off x="6925043" y="4458532"/>
              <a:ext cx="187729" cy="235407"/>
            </a:xfrm>
            <a:custGeom>
              <a:avLst/>
              <a:gdLst>
                <a:gd name="T0" fmla="*/ 28 w 37"/>
                <a:gd name="T1" fmla="*/ 28 h 46"/>
                <a:gd name="T2" fmla="*/ 22 w 37"/>
                <a:gd name="T3" fmla="*/ 19 h 46"/>
                <a:gd name="T4" fmla="*/ 19 w 37"/>
                <a:gd name="T5" fmla="*/ 17 h 46"/>
                <a:gd name="T6" fmla="*/ 15 w 37"/>
                <a:gd name="T7" fmla="*/ 13 h 46"/>
                <a:gd name="T8" fmla="*/ 12 w 37"/>
                <a:gd name="T9" fmla="*/ 5 h 46"/>
                <a:gd name="T10" fmla="*/ 5 w 37"/>
                <a:gd name="T11" fmla="*/ 1 h 46"/>
                <a:gd name="T12" fmla="*/ 2 w 37"/>
                <a:gd name="T13" fmla="*/ 10 h 46"/>
                <a:gd name="T14" fmla="*/ 4 w 37"/>
                <a:gd name="T15" fmla="*/ 15 h 46"/>
                <a:gd name="T16" fmla="*/ 6 w 37"/>
                <a:gd name="T17" fmla="*/ 24 h 46"/>
                <a:gd name="T18" fmla="*/ 14 w 37"/>
                <a:gd name="T19" fmla="*/ 42 h 46"/>
                <a:gd name="T20" fmla="*/ 28 w 37"/>
                <a:gd name="T21" fmla="*/ 46 h 46"/>
                <a:gd name="T22" fmla="*/ 34 w 37"/>
                <a:gd name="T23" fmla="*/ 42 h 46"/>
                <a:gd name="T24" fmla="*/ 20 w 37"/>
                <a:gd name="T25" fmla="*/ 29 h 46"/>
                <a:gd name="T26" fmla="*/ 20 w 37"/>
                <a:gd name="T27" fmla="*/ 27 h 46"/>
                <a:gd name="T28" fmla="*/ 25 w 37"/>
                <a:gd name="T29" fmla="*/ 31 h 46"/>
                <a:gd name="T30" fmla="*/ 31 w 37"/>
                <a:gd name="T31" fmla="*/ 33 h 46"/>
                <a:gd name="T32" fmla="*/ 28 w 37"/>
                <a:gd name="T33" fmla="*/ 2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46">
                  <a:moveTo>
                    <a:pt x="28" y="28"/>
                  </a:moveTo>
                  <a:cubicBezTo>
                    <a:pt x="25" y="25"/>
                    <a:pt x="23" y="20"/>
                    <a:pt x="22" y="19"/>
                  </a:cubicBezTo>
                  <a:cubicBezTo>
                    <a:pt x="22" y="18"/>
                    <a:pt x="20" y="17"/>
                    <a:pt x="19" y="17"/>
                  </a:cubicBezTo>
                  <a:cubicBezTo>
                    <a:pt x="18" y="16"/>
                    <a:pt x="15" y="14"/>
                    <a:pt x="15" y="13"/>
                  </a:cubicBezTo>
                  <a:cubicBezTo>
                    <a:pt x="12" y="5"/>
                    <a:pt x="12" y="5"/>
                    <a:pt x="12" y="5"/>
                  </a:cubicBezTo>
                  <a:cubicBezTo>
                    <a:pt x="11" y="2"/>
                    <a:pt x="8" y="0"/>
                    <a:pt x="5" y="1"/>
                  </a:cubicBezTo>
                  <a:cubicBezTo>
                    <a:pt x="1" y="3"/>
                    <a:pt x="0" y="7"/>
                    <a:pt x="2" y="10"/>
                  </a:cubicBezTo>
                  <a:cubicBezTo>
                    <a:pt x="4" y="15"/>
                    <a:pt x="4" y="15"/>
                    <a:pt x="4" y="15"/>
                  </a:cubicBezTo>
                  <a:cubicBezTo>
                    <a:pt x="5" y="18"/>
                    <a:pt x="6" y="21"/>
                    <a:pt x="6" y="24"/>
                  </a:cubicBezTo>
                  <a:cubicBezTo>
                    <a:pt x="6" y="31"/>
                    <a:pt x="10" y="37"/>
                    <a:pt x="14" y="42"/>
                  </a:cubicBezTo>
                  <a:cubicBezTo>
                    <a:pt x="16" y="45"/>
                    <a:pt x="21" y="45"/>
                    <a:pt x="28" y="46"/>
                  </a:cubicBezTo>
                  <a:cubicBezTo>
                    <a:pt x="32" y="46"/>
                    <a:pt x="37" y="45"/>
                    <a:pt x="34" y="42"/>
                  </a:cubicBezTo>
                  <a:cubicBezTo>
                    <a:pt x="31" y="40"/>
                    <a:pt x="21" y="39"/>
                    <a:pt x="20" y="29"/>
                  </a:cubicBezTo>
                  <a:cubicBezTo>
                    <a:pt x="20" y="28"/>
                    <a:pt x="20" y="27"/>
                    <a:pt x="20" y="27"/>
                  </a:cubicBezTo>
                  <a:cubicBezTo>
                    <a:pt x="22" y="26"/>
                    <a:pt x="24" y="30"/>
                    <a:pt x="25" y="31"/>
                  </a:cubicBezTo>
                  <a:cubicBezTo>
                    <a:pt x="27" y="33"/>
                    <a:pt x="30" y="34"/>
                    <a:pt x="31" y="33"/>
                  </a:cubicBezTo>
                  <a:cubicBezTo>
                    <a:pt x="32" y="32"/>
                    <a:pt x="30" y="31"/>
                    <a:pt x="28" y="28"/>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3" name="Freeform 190"/>
            <p:cNvSpPr/>
            <p:nvPr/>
          </p:nvSpPr>
          <p:spPr bwMode="auto">
            <a:xfrm>
              <a:off x="7863690" y="4381057"/>
              <a:ext cx="736019" cy="1582291"/>
            </a:xfrm>
            <a:custGeom>
              <a:avLst/>
              <a:gdLst>
                <a:gd name="T0" fmla="*/ 92 w 144"/>
                <a:gd name="T1" fmla="*/ 0 h 309"/>
                <a:gd name="T2" fmla="*/ 39 w 144"/>
                <a:gd name="T3" fmla="*/ 45 h 309"/>
                <a:gd name="T4" fmla="*/ 0 w 144"/>
                <a:gd name="T5" fmla="*/ 128 h 309"/>
                <a:gd name="T6" fmla="*/ 0 w 144"/>
                <a:gd name="T7" fmla="*/ 309 h 309"/>
                <a:gd name="T8" fmla="*/ 38 w 144"/>
                <a:gd name="T9" fmla="*/ 272 h 309"/>
                <a:gd name="T10" fmla="*/ 38 w 144"/>
                <a:gd name="T11" fmla="*/ 250 h 309"/>
                <a:gd name="T12" fmla="*/ 94 w 144"/>
                <a:gd name="T13" fmla="*/ 129 h 309"/>
                <a:gd name="T14" fmla="*/ 144 w 144"/>
                <a:gd name="T15" fmla="*/ 88 h 309"/>
                <a:gd name="T16" fmla="*/ 92 w 144"/>
                <a:gd name="T17"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309">
                  <a:moveTo>
                    <a:pt x="92" y="0"/>
                  </a:moveTo>
                  <a:cubicBezTo>
                    <a:pt x="39" y="45"/>
                    <a:pt x="39" y="45"/>
                    <a:pt x="39" y="45"/>
                  </a:cubicBezTo>
                  <a:cubicBezTo>
                    <a:pt x="14" y="66"/>
                    <a:pt x="0" y="96"/>
                    <a:pt x="0" y="128"/>
                  </a:cubicBezTo>
                  <a:cubicBezTo>
                    <a:pt x="0" y="309"/>
                    <a:pt x="0" y="309"/>
                    <a:pt x="0" y="309"/>
                  </a:cubicBezTo>
                  <a:cubicBezTo>
                    <a:pt x="21" y="309"/>
                    <a:pt x="38" y="292"/>
                    <a:pt x="38" y="272"/>
                  </a:cubicBezTo>
                  <a:cubicBezTo>
                    <a:pt x="38" y="250"/>
                    <a:pt x="38" y="250"/>
                    <a:pt x="38" y="250"/>
                  </a:cubicBezTo>
                  <a:cubicBezTo>
                    <a:pt x="38" y="204"/>
                    <a:pt x="58" y="159"/>
                    <a:pt x="94" y="129"/>
                  </a:cubicBezTo>
                  <a:cubicBezTo>
                    <a:pt x="144" y="88"/>
                    <a:pt x="144" y="88"/>
                    <a:pt x="144" y="88"/>
                  </a:cubicBezTo>
                  <a:lnTo>
                    <a:pt x="92" y="0"/>
                  </a:lnTo>
                  <a:close/>
                </a:path>
              </a:pathLst>
            </a:custGeom>
            <a:solidFill>
              <a:srgbClr val="827D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4" name="Freeform 191"/>
            <p:cNvSpPr/>
            <p:nvPr/>
          </p:nvSpPr>
          <p:spPr bwMode="auto">
            <a:xfrm>
              <a:off x="9052643" y="4381057"/>
              <a:ext cx="736019" cy="1582291"/>
            </a:xfrm>
            <a:custGeom>
              <a:avLst/>
              <a:gdLst>
                <a:gd name="T0" fmla="*/ 51 w 144"/>
                <a:gd name="T1" fmla="*/ 0 h 309"/>
                <a:gd name="T2" fmla="*/ 105 w 144"/>
                <a:gd name="T3" fmla="*/ 45 h 309"/>
                <a:gd name="T4" fmla="*/ 144 w 144"/>
                <a:gd name="T5" fmla="*/ 128 h 309"/>
                <a:gd name="T6" fmla="*/ 144 w 144"/>
                <a:gd name="T7" fmla="*/ 309 h 309"/>
                <a:gd name="T8" fmla="*/ 106 w 144"/>
                <a:gd name="T9" fmla="*/ 272 h 309"/>
                <a:gd name="T10" fmla="*/ 106 w 144"/>
                <a:gd name="T11" fmla="*/ 250 h 309"/>
                <a:gd name="T12" fmla="*/ 50 w 144"/>
                <a:gd name="T13" fmla="*/ 129 h 309"/>
                <a:gd name="T14" fmla="*/ 0 w 144"/>
                <a:gd name="T15" fmla="*/ 88 h 309"/>
                <a:gd name="T16" fmla="*/ 51 w 144"/>
                <a:gd name="T17"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309">
                  <a:moveTo>
                    <a:pt x="51" y="0"/>
                  </a:moveTo>
                  <a:cubicBezTo>
                    <a:pt x="105" y="45"/>
                    <a:pt x="105" y="45"/>
                    <a:pt x="105" y="45"/>
                  </a:cubicBezTo>
                  <a:cubicBezTo>
                    <a:pt x="130" y="66"/>
                    <a:pt x="144" y="96"/>
                    <a:pt x="144" y="128"/>
                  </a:cubicBezTo>
                  <a:cubicBezTo>
                    <a:pt x="144" y="309"/>
                    <a:pt x="144" y="309"/>
                    <a:pt x="144" y="309"/>
                  </a:cubicBezTo>
                  <a:cubicBezTo>
                    <a:pt x="123" y="309"/>
                    <a:pt x="106" y="292"/>
                    <a:pt x="106" y="272"/>
                  </a:cubicBezTo>
                  <a:cubicBezTo>
                    <a:pt x="106" y="250"/>
                    <a:pt x="106" y="250"/>
                    <a:pt x="106" y="250"/>
                  </a:cubicBezTo>
                  <a:cubicBezTo>
                    <a:pt x="106" y="204"/>
                    <a:pt x="86" y="159"/>
                    <a:pt x="50" y="129"/>
                  </a:cubicBezTo>
                  <a:cubicBezTo>
                    <a:pt x="0" y="88"/>
                    <a:pt x="0" y="88"/>
                    <a:pt x="0" y="88"/>
                  </a:cubicBezTo>
                  <a:cubicBezTo>
                    <a:pt x="51" y="0"/>
                    <a:pt x="51" y="0"/>
                    <a:pt x="51" y="0"/>
                  </a:cubicBezTo>
                </a:path>
              </a:pathLst>
            </a:custGeom>
            <a:solidFill>
              <a:srgbClr val="827D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5" name="Freeform 192"/>
            <p:cNvSpPr/>
            <p:nvPr/>
          </p:nvSpPr>
          <p:spPr bwMode="auto">
            <a:xfrm>
              <a:off x="9207595" y="4437673"/>
              <a:ext cx="581067" cy="1525674"/>
            </a:xfrm>
            <a:custGeom>
              <a:avLst/>
              <a:gdLst>
                <a:gd name="T0" fmla="*/ 34 w 114"/>
                <a:gd name="T1" fmla="*/ 0 h 298"/>
                <a:gd name="T2" fmla="*/ 24 w 114"/>
                <a:gd name="T3" fmla="*/ 68 h 298"/>
                <a:gd name="T4" fmla="*/ 0 w 114"/>
                <a:gd name="T5" fmla="*/ 101 h 298"/>
                <a:gd name="T6" fmla="*/ 1 w 114"/>
                <a:gd name="T7" fmla="*/ 103 h 298"/>
                <a:gd name="T8" fmla="*/ 20 w 114"/>
                <a:gd name="T9" fmla="*/ 118 h 298"/>
                <a:gd name="T10" fmla="*/ 76 w 114"/>
                <a:gd name="T11" fmla="*/ 239 h 298"/>
                <a:gd name="T12" fmla="*/ 76 w 114"/>
                <a:gd name="T13" fmla="*/ 261 h 298"/>
                <a:gd name="T14" fmla="*/ 114 w 114"/>
                <a:gd name="T15" fmla="*/ 298 h 298"/>
                <a:gd name="T16" fmla="*/ 114 w 114"/>
                <a:gd name="T17" fmla="*/ 117 h 298"/>
                <a:gd name="T18" fmla="*/ 75 w 114"/>
                <a:gd name="T19" fmla="*/ 34 h 298"/>
                <a:gd name="T20" fmla="*/ 34 w 114"/>
                <a:gd name="T21" fmla="*/ 0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4" h="298">
                  <a:moveTo>
                    <a:pt x="34" y="0"/>
                  </a:moveTo>
                  <a:cubicBezTo>
                    <a:pt x="31" y="24"/>
                    <a:pt x="28" y="47"/>
                    <a:pt x="24" y="68"/>
                  </a:cubicBezTo>
                  <a:cubicBezTo>
                    <a:pt x="21" y="82"/>
                    <a:pt x="12" y="94"/>
                    <a:pt x="0" y="101"/>
                  </a:cubicBezTo>
                  <a:cubicBezTo>
                    <a:pt x="1" y="103"/>
                    <a:pt x="1" y="103"/>
                    <a:pt x="1" y="103"/>
                  </a:cubicBezTo>
                  <a:cubicBezTo>
                    <a:pt x="20" y="118"/>
                    <a:pt x="20" y="118"/>
                    <a:pt x="20" y="118"/>
                  </a:cubicBezTo>
                  <a:cubicBezTo>
                    <a:pt x="56" y="148"/>
                    <a:pt x="76" y="193"/>
                    <a:pt x="76" y="239"/>
                  </a:cubicBezTo>
                  <a:cubicBezTo>
                    <a:pt x="76" y="261"/>
                    <a:pt x="76" y="261"/>
                    <a:pt x="76" y="261"/>
                  </a:cubicBezTo>
                  <a:cubicBezTo>
                    <a:pt x="76" y="281"/>
                    <a:pt x="93" y="298"/>
                    <a:pt x="114" y="298"/>
                  </a:cubicBezTo>
                  <a:cubicBezTo>
                    <a:pt x="114" y="117"/>
                    <a:pt x="114" y="117"/>
                    <a:pt x="114" y="117"/>
                  </a:cubicBezTo>
                  <a:cubicBezTo>
                    <a:pt x="114" y="85"/>
                    <a:pt x="100" y="55"/>
                    <a:pt x="75" y="34"/>
                  </a:cubicBezTo>
                  <a:cubicBezTo>
                    <a:pt x="34" y="0"/>
                    <a:pt x="34" y="0"/>
                    <a:pt x="34" y="0"/>
                  </a:cubicBezTo>
                </a:path>
              </a:pathLst>
            </a:custGeom>
            <a:solidFill>
              <a:srgbClr val="6863D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6" name="Freeform 193"/>
            <p:cNvSpPr/>
            <p:nvPr/>
          </p:nvSpPr>
          <p:spPr bwMode="auto">
            <a:xfrm>
              <a:off x="8391121" y="4878689"/>
              <a:ext cx="876071" cy="607886"/>
            </a:xfrm>
            <a:custGeom>
              <a:avLst/>
              <a:gdLst>
                <a:gd name="T0" fmla="*/ 155 w 172"/>
                <a:gd name="T1" fmla="*/ 119 h 119"/>
                <a:gd name="T2" fmla="*/ 17 w 172"/>
                <a:gd name="T3" fmla="*/ 119 h 119"/>
                <a:gd name="T4" fmla="*/ 1 w 172"/>
                <a:gd name="T5" fmla="*/ 101 h 119"/>
                <a:gd name="T6" fmla="*/ 13 w 172"/>
                <a:gd name="T7" fmla="*/ 0 h 119"/>
                <a:gd name="T8" fmla="*/ 159 w 172"/>
                <a:gd name="T9" fmla="*/ 0 h 119"/>
                <a:gd name="T10" fmla="*/ 171 w 172"/>
                <a:gd name="T11" fmla="*/ 101 h 119"/>
                <a:gd name="T12" fmla="*/ 155 w 172"/>
                <a:gd name="T13" fmla="*/ 119 h 119"/>
              </a:gdLst>
              <a:ahLst/>
              <a:cxnLst>
                <a:cxn ang="0">
                  <a:pos x="T0" y="T1"/>
                </a:cxn>
                <a:cxn ang="0">
                  <a:pos x="T2" y="T3"/>
                </a:cxn>
                <a:cxn ang="0">
                  <a:pos x="T4" y="T5"/>
                </a:cxn>
                <a:cxn ang="0">
                  <a:pos x="T6" y="T7"/>
                </a:cxn>
                <a:cxn ang="0">
                  <a:pos x="T8" y="T9"/>
                </a:cxn>
                <a:cxn ang="0">
                  <a:pos x="T10" y="T11"/>
                </a:cxn>
                <a:cxn ang="0">
                  <a:pos x="T12" y="T13"/>
                </a:cxn>
              </a:cxnLst>
              <a:rect l="0" t="0" r="r" b="b"/>
              <a:pathLst>
                <a:path w="172" h="119">
                  <a:moveTo>
                    <a:pt x="155" y="119"/>
                  </a:moveTo>
                  <a:cubicBezTo>
                    <a:pt x="17" y="119"/>
                    <a:pt x="17" y="119"/>
                    <a:pt x="17" y="119"/>
                  </a:cubicBezTo>
                  <a:cubicBezTo>
                    <a:pt x="8" y="119"/>
                    <a:pt x="0" y="110"/>
                    <a:pt x="1" y="101"/>
                  </a:cubicBezTo>
                  <a:cubicBezTo>
                    <a:pt x="13" y="0"/>
                    <a:pt x="13" y="0"/>
                    <a:pt x="13" y="0"/>
                  </a:cubicBezTo>
                  <a:cubicBezTo>
                    <a:pt x="159" y="0"/>
                    <a:pt x="159" y="0"/>
                    <a:pt x="159" y="0"/>
                  </a:cubicBezTo>
                  <a:cubicBezTo>
                    <a:pt x="171" y="101"/>
                    <a:pt x="171" y="101"/>
                    <a:pt x="171" y="101"/>
                  </a:cubicBezTo>
                  <a:cubicBezTo>
                    <a:pt x="172" y="110"/>
                    <a:pt x="165" y="119"/>
                    <a:pt x="155" y="119"/>
                  </a:cubicBezTo>
                </a:path>
              </a:pathLst>
            </a:custGeom>
            <a:solidFill>
              <a:srgbClr val="6469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7" name="Freeform 194"/>
            <p:cNvSpPr/>
            <p:nvPr/>
          </p:nvSpPr>
          <p:spPr bwMode="auto">
            <a:xfrm>
              <a:off x="8987087" y="4878689"/>
              <a:ext cx="280104" cy="607886"/>
            </a:xfrm>
            <a:custGeom>
              <a:avLst/>
              <a:gdLst>
                <a:gd name="T0" fmla="*/ 38 w 55"/>
                <a:gd name="T1" fmla="*/ 119 h 119"/>
                <a:gd name="T2" fmla="*/ 0 w 55"/>
                <a:gd name="T3" fmla="*/ 119 h 119"/>
                <a:gd name="T4" fmla="*/ 0 w 55"/>
                <a:gd name="T5" fmla="*/ 0 h 119"/>
                <a:gd name="T6" fmla="*/ 42 w 55"/>
                <a:gd name="T7" fmla="*/ 0 h 119"/>
                <a:gd name="T8" fmla="*/ 54 w 55"/>
                <a:gd name="T9" fmla="*/ 101 h 119"/>
                <a:gd name="T10" fmla="*/ 38 w 55"/>
                <a:gd name="T11" fmla="*/ 119 h 119"/>
              </a:gdLst>
              <a:ahLst/>
              <a:cxnLst>
                <a:cxn ang="0">
                  <a:pos x="T0" y="T1"/>
                </a:cxn>
                <a:cxn ang="0">
                  <a:pos x="T2" y="T3"/>
                </a:cxn>
                <a:cxn ang="0">
                  <a:pos x="T4" y="T5"/>
                </a:cxn>
                <a:cxn ang="0">
                  <a:pos x="T6" y="T7"/>
                </a:cxn>
                <a:cxn ang="0">
                  <a:pos x="T8" y="T9"/>
                </a:cxn>
                <a:cxn ang="0">
                  <a:pos x="T10" y="T11"/>
                </a:cxn>
              </a:cxnLst>
              <a:rect l="0" t="0" r="r" b="b"/>
              <a:pathLst>
                <a:path w="55" h="119">
                  <a:moveTo>
                    <a:pt x="38" y="119"/>
                  </a:moveTo>
                  <a:cubicBezTo>
                    <a:pt x="0" y="119"/>
                    <a:pt x="0" y="119"/>
                    <a:pt x="0" y="119"/>
                  </a:cubicBezTo>
                  <a:cubicBezTo>
                    <a:pt x="0" y="0"/>
                    <a:pt x="0" y="0"/>
                    <a:pt x="0" y="0"/>
                  </a:cubicBezTo>
                  <a:cubicBezTo>
                    <a:pt x="42" y="0"/>
                    <a:pt x="42" y="0"/>
                    <a:pt x="42" y="0"/>
                  </a:cubicBezTo>
                  <a:cubicBezTo>
                    <a:pt x="54" y="101"/>
                    <a:pt x="54" y="101"/>
                    <a:pt x="54" y="101"/>
                  </a:cubicBezTo>
                  <a:cubicBezTo>
                    <a:pt x="55" y="110"/>
                    <a:pt x="48" y="119"/>
                    <a:pt x="38" y="119"/>
                  </a:cubicBezTo>
                  <a:close/>
                </a:path>
              </a:pathLst>
            </a:custGeom>
            <a:solidFill>
              <a:srgbClr val="6469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8" name="Freeform 195"/>
            <p:cNvSpPr/>
            <p:nvPr/>
          </p:nvSpPr>
          <p:spPr bwMode="auto">
            <a:xfrm>
              <a:off x="8242129" y="1693247"/>
              <a:ext cx="1174054" cy="3301655"/>
            </a:xfrm>
            <a:custGeom>
              <a:avLst/>
              <a:gdLst>
                <a:gd name="T0" fmla="*/ 163 w 230"/>
                <a:gd name="T1" fmla="*/ 645 h 645"/>
                <a:gd name="T2" fmla="*/ 213 w 230"/>
                <a:gd name="T3" fmla="*/ 604 h 645"/>
                <a:gd name="T4" fmla="*/ 230 w 230"/>
                <a:gd name="T5" fmla="*/ 412 h 645"/>
                <a:gd name="T6" fmla="*/ 115 w 230"/>
                <a:gd name="T7" fmla="*/ 0 h 645"/>
                <a:gd name="T8" fmla="*/ 0 w 230"/>
                <a:gd name="T9" fmla="*/ 412 h 645"/>
                <a:gd name="T10" fmla="*/ 17 w 230"/>
                <a:gd name="T11" fmla="*/ 604 h 645"/>
                <a:gd name="T12" fmla="*/ 67 w 230"/>
                <a:gd name="T13" fmla="*/ 645 h 645"/>
                <a:gd name="T14" fmla="*/ 163 w 230"/>
                <a:gd name="T15" fmla="*/ 645 h 6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0" h="645">
                  <a:moveTo>
                    <a:pt x="163" y="645"/>
                  </a:moveTo>
                  <a:cubicBezTo>
                    <a:pt x="187" y="645"/>
                    <a:pt x="208" y="628"/>
                    <a:pt x="213" y="604"/>
                  </a:cubicBezTo>
                  <a:cubicBezTo>
                    <a:pt x="224" y="548"/>
                    <a:pt x="230" y="482"/>
                    <a:pt x="230" y="412"/>
                  </a:cubicBezTo>
                  <a:cubicBezTo>
                    <a:pt x="230" y="210"/>
                    <a:pt x="140" y="0"/>
                    <a:pt x="115" y="0"/>
                  </a:cubicBezTo>
                  <a:cubicBezTo>
                    <a:pt x="85" y="0"/>
                    <a:pt x="0" y="210"/>
                    <a:pt x="0" y="412"/>
                  </a:cubicBezTo>
                  <a:cubicBezTo>
                    <a:pt x="0" y="482"/>
                    <a:pt x="6" y="548"/>
                    <a:pt x="17" y="604"/>
                  </a:cubicBezTo>
                  <a:cubicBezTo>
                    <a:pt x="22" y="628"/>
                    <a:pt x="43" y="645"/>
                    <a:pt x="67" y="645"/>
                  </a:cubicBezTo>
                  <a:cubicBezTo>
                    <a:pt x="163" y="645"/>
                    <a:pt x="163" y="645"/>
                    <a:pt x="163" y="645"/>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9" name="Freeform 196"/>
            <p:cNvSpPr/>
            <p:nvPr/>
          </p:nvSpPr>
          <p:spPr bwMode="auto">
            <a:xfrm>
              <a:off x="8420919" y="1693247"/>
              <a:ext cx="807535" cy="855212"/>
            </a:xfrm>
            <a:custGeom>
              <a:avLst/>
              <a:gdLst>
                <a:gd name="T0" fmla="*/ 158 w 158"/>
                <a:gd name="T1" fmla="*/ 167 h 167"/>
                <a:gd name="T2" fmla="*/ 80 w 158"/>
                <a:gd name="T3" fmla="*/ 0 h 167"/>
                <a:gd name="T4" fmla="*/ 0 w 158"/>
                <a:gd name="T5" fmla="*/ 167 h 167"/>
                <a:gd name="T6" fmla="*/ 158 w 158"/>
                <a:gd name="T7" fmla="*/ 167 h 167"/>
              </a:gdLst>
              <a:ahLst/>
              <a:cxnLst>
                <a:cxn ang="0">
                  <a:pos x="T0" y="T1"/>
                </a:cxn>
                <a:cxn ang="0">
                  <a:pos x="T2" y="T3"/>
                </a:cxn>
                <a:cxn ang="0">
                  <a:pos x="T4" y="T5"/>
                </a:cxn>
                <a:cxn ang="0">
                  <a:pos x="T6" y="T7"/>
                </a:cxn>
              </a:cxnLst>
              <a:rect l="0" t="0" r="r" b="b"/>
              <a:pathLst>
                <a:path w="158" h="167">
                  <a:moveTo>
                    <a:pt x="158" y="167"/>
                  </a:moveTo>
                  <a:cubicBezTo>
                    <a:pt x="130" y="69"/>
                    <a:pt x="94" y="0"/>
                    <a:pt x="80" y="0"/>
                  </a:cubicBezTo>
                  <a:cubicBezTo>
                    <a:pt x="63" y="0"/>
                    <a:pt x="27" y="69"/>
                    <a:pt x="0" y="167"/>
                  </a:cubicBezTo>
                  <a:lnTo>
                    <a:pt x="158" y="167"/>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0" name="Freeform 197"/>
            <p:cNvSpPr/>
            <p:nvPr/>
          </p:nvSpPr>
          <p:spPr bwMode="auto">
            <a:xfrm>
              <a:off x="8462637" y="1693247"/>
              <a:ext cx="730059" cy="727079"/>
            </a:xfrm>
            <a:custGeom>
              <a:avLst/>
              <a:gdLst>
                <a:gd name="T0" fmla="*/ 143 w 143"/>
                <a:gd name="T1" fmla="*/ 142 h 142"/>
                <a:gd name="T2" fmla="*/ 72 w 143"/>
                <a:gd name="T3" fmla="*/ 0 h 142"/>
                <a:gd name="T4" fmla="*/ 0 w 143"/>
                <a:gd name="T5" fmla="*/ 142 h 142"/>
                <a:gd name="T6" fmla="*/ 143 w 143"/>
                <a:gd name="T7" fmla="*/ 142 h 142"/>
              </a:gdLst>
              <a:ahLst/>
              <a:cxnLst>
                <a:cxn ang="0">
                  <a:pos x="T0" y="T1"/>
                </a:cxn>
                <a:cxn ang="0">
                  <a:pos x="T2" y="T3"/>
                </a:cxn>
                <a:cxn ang="0">
                  <a:pos x="T4" y="T5"/>
                </a:cxn>
                <a:cxn ang="0">
                  <a:pos x="T6" y="T7"/>
                </a:cxn>
              </a:cxnLst>
              <a:rect l="0" t="0" r="r" b="b"/>
              <a:pathLst>
                <a:path w="143" h="142">
                  <a:moveTo>
                    <a:pt x="143" y="142"/>
                  </a:moveTo>
                  <a:cubicBezTo>
                    <a:pt x="116" y="58"/>
                    <a:pt x="85" y="0"/>
                    <a:pt x="72" y="0"/>
                  </a:cubicBezTo>
                  <a:cubicBezTo>
                    <a:pt x="56" y="0"/>
                    <a:pt x="25" y="58"/>
                    <a:pt x="0" y="142"/>
                  </a:cubicBezTo>
                  <a:lnTo>
                    <a:pt x="143" y="142"/>
                  </a:lnTo>
                  <a:close/>
                </a:path>
              </a:pathLst>
            </a:custGeom>
            <a:solidFill>
              <a:srgbClr val="827D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1" name="Freeform 198"/>
            <p:cNvSpPr/>
            <p:nvPr/>
          </p:nvSpPr>
          <p:spPr bwMode="auto">
            <a:xfrm>
              <a:off x="8534153" y="1830320"/>
              <a:ext cx="250306" cy="590007"/>
            </a:xfrm>
            <a:custGeom>
              <a:avLst/>
              <a:gdLst>
                <a:gd name="T0" fmla="*/ 0 w 49"/>
                <a:gd name="T1" fmla="*/ 115 h 115"/>
                <a:gd name="T2" fmla="*/ 15 w 49"/>
                <a:gd name="T3" fmla="*/ 115 h 115"/>
                <a:gd name="T4" fmla="*/ 48 w 49"/>
                <a:gd name="T5" fmla="*/ 5 h 115"/>
                <a:gd name="T6" fmla="*/ 44 w 49"/>
                <a:gd name="T7" fmla="*/ 3 h 115"/>
                <a:gd name="T8" fmla="*/ 0 w 49"/>
                <a:gd name="T9" fmla="*/ 115 h 115"/>
              </a:gdLst>
              <a:ahLst/>
              <a:cxnLst>
                <a:cxn ang="0">
                  <a:pos x="T0" y="T1"/>
                </a:cxn>
                <a:cxn ang="0">
                  <a:pos x="T2" y="T3"/>
                </a:cxn>
                <a:cxn ang="0">
                  <a:pos x="T4" y="T5"/>
                </a:cxn>
                <a:cxn ang="0">
                  <a:pos x="T6" y="T7"/>
                </a:cxn>
                <a:cxn ang="0">
                  <a:pos x="T8" y="T9"/>
                </a:cxn>
              </a:cxnLst>
              <a:rect l="0" t="0" r="r" b="b"/>
              <a:pathLst>
                <a:path w="49" h="115">
                  <a:moveTo>
                    <a:pt x="0" y="115"/>
                  </a:moveTo>
                  <a:cubicBezTo>
                    <a:pt x="15" y="115"/>
                    <a:pt x="15" y="115"/>
                    <a:pt x="15" y="115"/>
                  </a:cubicBezTo>
                  <a:cubicBezTo>
                    <a:pt x="30" y="68"/>
                    <a:pt x="36" y="35"/>
                    <a:pt x="48" y="5"/>
                  </a:cubicBezTo>
                  <a:cubicBezTo>
                    <a:pt x="49" y="2"/>
                    <a:pt x="45" y="0"/>
                    <a:pt x="44" y="3"/>
                  </a:cubicBezTo>
                  <a:cubicBezTo>
                    <a:pt x="32" y="23"/>
                    <a:pt x="18" y="58"/>
                    <a:pt x="0" y="115"/>
                  </a:cubicBezTo>
                  <a:close/>
                </a:path>
              </a:pathLst>
            </a:custGeom>
            <a:solidFill>
              <a:srgbClr val="928DE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2" name="Freeform 199"/>
            <p:cNvSpPr/>
            <p:nvPr/>
          </p:nvSpPr>
          <p:spPr bwMode="auto">
            <a:xfrm>
              <a:off x="8406020" y="3609280"/>
              <a:ext cx="837333" cy="438035"/>
            </a:xfrm>
            <a:custGeom>
              <a:avLst/>
              <a:gdLst>
                <a:gd name="T0" fmla="*/ 164 w 164"/>
                <a:gd name="T1" fmla="*/ 0 h 86"/>
                <a:gd name="T2" fmla="*/ 82 w 164"/>
                <a:gd name="T3" fmla="*/ 77 h 86"/>
                <a:gd name="T4" fmla="*/ 0 w 164"/>
                <a:gd name="T5" fmla="*/ 0 h 86"/>
                <a:gd name="T6" fmla="*/ 0 w 164"/>
                <a:gd name="T7" fmla="*/ 4 h 86"/>
                <a:gd name="T8" fmla="*/ 82 w 164"/>
                <a:gd name="T9" fmla="*/ 86 h 86"/>
                <a:gd name="T10" fmla="*/ 164 w 164"/>
                <a:gd name="T11" fmla="*/ 4 h 86"/>
                <a:gd name="T12" fmla="*/ 164 w 164"/>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164" h="86">
                  <a:moveTo>
                    <a:pt x="164" y="0"/>
                  </a:moveTo>
                  <a:cubicBezTo>
                    <a:pt x="162" y="43"/>
                    <a:pt x="126" y="77"/>
                    <a:pt x="82" y="77"/>
                  </a:cubicBezTo>
                  <a:cubicBezTo>
                    <a:pt x="38" y="77"/>
                    <a:pt x="3" y="43"/>
                    <a:pt x="0" y="0"/>
                  </a:cubicBezTo>
                  <a:cubicBezTo>
                    <a:pt x="0" y="1"/>
                    <a:pt x="0" y="3"/>
                    <a:pt x="0" y="4"/>
                  </a:cubicBezTo>
                  <a:cubicBezTo>
                    <a:pt x="0" y="49"/>
                    <a:pt x="37" y="86"/>
                    <a:pt x="82" y="86"/>
                  </a:cubicBezTo>
                  <a:cubicBezTo>
                    <a:pt x="128" y="86"/>
                    <a:pt x="164" y="49"/>
                    <a:pt x="164" y="4"/>
                  </a:cubicBezTo>
                  <a:cubicBezTo>
                    <a:pt x="164" y="3"/>
                    <a:pt x="164" y="1"/>
                    <a:pt x="164" y="0"/>
                  </a:cubicBezTo>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3" name="Oval 200"/>
            <p:cNvSpPr>
              <a:spLocks noChangeArrowheads="1"/>
            </p:cNvSpPr>
            <p:nvPr/>
          </p:nvSpPr>
          <p:spPr bwMode="auto">
            <a:xfrm>
              <a:off x="8406020" y="3162305"/>
              <a:ext cx="837333" cy="840313"/>
            </a:xfrm>
            <a:prstGeom prst="ellipse">
              <a:avLst/>
            </a:prstGeom>
            <a:solidFill>
              <a:srgbClr val="827D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4" name="Freeform 201"/>
            <p:cNvSpPr/>
            <p:nvPr/>
          </p:nvSpPr>
          <p:spPr bwMode="auto">
            <a:xfrm>
              <a:off x="8820216" y="3162305"/>
              <a:ext cx="423136" cy="840313"/>
            </a:xfrm>
            <a:custGeom>
              <a:avLst/>
              <a:gdLst>
                <a:gd name="T0" fmla="*/ 1 w 83"/>
                <a:gd name="T1" fmla="*/ 0 h 164"/>
                <a:gd name="T2" fmla="*/ 1 w 83"/>
                <a:gd name="T3" fmla="*/ 0 h 164"/>
                <a:gd name="T4" fmla="*/ 0 w 83"/>
                <a:gd name="T5" fmla="*/ 0 h 164"/>
                <a:gd name="T6" fmla="*/ 0 w 83"/>
                <a:gd name="T7" fmla="*/ 164 h 164"/>
                <a:gd name="T8" fmla="*/ 1 w 83"/>
                <a:gd name="T9" fmla="*/ 164 h 164"/>
                <a:gd name="T10" fmla="*/ 83 w 83"/>
                <a:gd name="T11" fmla="*/ 82 h 164"/>
                <a:gd name="T12" fmla="*/ 1 w 83"/>
                <a:gd name="T13" fmla="*/ 0 h 164"/>
              </a:gdLst>
              <a:ahLst/>
              <a:cxnLst>
                <a:cxn ang="0">
                  <a:pos x="T0" y="T1"/>
                </a:cxn>
                <a:cxn ang="0">
                  <a:pos x="T2" y="T3"/>
                </a:cxn>
                <a:cxn ang="0">
                  <a:pos x="T4" y="T5"/>
                </a:cxn>
                <a:cxn ang="0">
                  <a:pos x="T6" y="T7"/>
                </a:cxn>
                <a:cxn ang="0">
                  <a:pos x="T8" y="T9"/>
                </a:cxn>
                <a:cxn ang="0">
                  <a:pos x="T10" y="T11"/>
                </a:cxn>
                <a:cxn ang="0">
                  <a:pos x="T12" y="T13"/>
                </a:cxn>
              </a:cxnLst>
              <a:rect l="0" t="0" r="r" b="b"/>
              <a:pathLst>
                <a:path w="83" h="164">
                  <a:moveTo>
                    <a:pt x="1" y="0"/>
                  </a:moveTo>
                  <a:cubicBezTo>
                    <a:pt x="1" y="0"/>
                    <a:pt x="1" y="0"/>
                    <a:pt x="1" y="0"/>
                  </a:cubicBezTo>
                  <a:cubicBezTo>
                    <a:pt x="0" y="0"/>
                    <a:pt x="0" y="0"/>
                    <a:pt x="0" y="0"/>
                  </a:cubicBezTo>
                  <a:cubicBezTo>
                    <a:pt x="0" y="164"/>
                    <a:pt x="0" y="164"/>
                    <a:pt x="0" y="164"/>
                  </a:cubicBezTo>
                  <a:cubicBezTo>
                    <a:pt x="1" y="164"/>
                    <a:pt x="1" y="164"/>
                    <a:pt x="1" y="164"/>
                  </a:cubicBezTo>
                  <a:cubicBezTo>
                    <a:pt x="47" y="164"/>
                    <a:pt x="83" y="128"/>
                    <a:pt x="83" y="82"/>
                  </a:cubicBezTo>
                  <a:cubicBezTo>
                    <a:pt x="83" y="37"/>
                    <a:pt x="47" y="0"/>
                    <a:pt x="1" y="0"/>
                  </a:cubicBezTo>
                </a:path>
              </a:pathLst>
            </a:custGeom>
            <a:solidFill>
              <a:srgbClr val="6863D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5" name="Oval 202"/>
            <p:cNvSpPr>
              <a:spLocks noChangeArrowheads="1"/>
            </p:cNvSpPr>
            <p:nvPr/>
          </p:nvSpPr>
          <p:spPr bwMode="auto">
            <a:xfrm>
              <a:off x="8537132" y="3296397"/>
              <a:ext cx="572128" cy="572128"/>
            </a:xfrm>
            <a:prstGeom prst="ellipse">
              <a:avLst/>
            </a:prstGeom>
            <a:solidFill>
              <a:srgbClr val="D2F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6" name="Freeform 203"/>
            <p:cNvSpPr/>
            <p:nvPr/>
          </p:nvSpPr>
          <p:spPr bwMode="auto">
            <a:xfrm>
              <a:off x="8471576" y="5486574"/>
              <a:ext cx="715160" cy="205608"/>
            </a:xfrm>
            <a:custGeom>
              <a:avLst/>
              <a:gdLst>
                <a:gd name="T0" fmla="*/ 122 w 140"/>
                <a:gd name="T1" fmla="*/ 40 h 40"/>
                <a:gd name="T2" fmla="*/ 17 w 140"/>
                <a:gd name="T3" fmla="*/ 40 h 40"/>
                <a:gd name="T4" fmla="*/ 0 w 140"/>
                <a:gd name="T5" fmla="*/ 23 h 40"/>
                <a:gd name="T6" fmla="*/ 0 w 140"/>
                <a:gd name="T7" fmla="*/ 0 h 40"/>
                <a:gd name="T8" fmla="*/ 140 w 140"/>
                <a:gd name="T9" fmla="*/ 0 h 40"/>
                <a:gd name="T10" fmla="*/ 140 w 140"/>
                <a:gd name="T11" fmla="*/ 23 h 40"/>
                <a:gd name="T12" fmla="*/ 122 w 140"/>
                <a:gd name="T13" fmla="*/ 40 h 40"/>
              </a:gdLst>
              <a:ahLst/>
              <a:cxnLst>
                <a:cxn ang="0">
                  <a:pos x="T0" y="T1"/>
                </a:cxn>
                <a:cxn ang="0">
                  <a:pos x="T2" y="T3"/>
                </a:cxn>
                <a:cxn ang="0">
                  <a:pos x="T4" y="T5"/>
                </a:cxn>
                <a:cxn ang="0">
                  <a:pos x="T6" y="T7"/>
                </a:cxn>
                <a:cxn ang="0">
                  <a:pos x="T8" y="T9"/>
                </a:cxn>
                <a:cxn ang="0">
                  <a:pos x="T10" y="T11"/>
                </a:cxn>
                <a:cxn ang="0">
                  <a:pos x="T12" y="T13"/>
                </a:cxn>
              </a:cxnLst>
              <a:rect l="0" t="0" r="r" b="b"/>
              <a:pathLst>
                <a:path w="140" h="40">
                  <a:moveTo>
                    <a:pt x="122" y="40"/>
                  </a:moveTo>
                  <a:cubicBezTo>
                    <a:pt x="17" y="40"/>
                    <a:pt x="17" y="40"/>
                    <a:pt x="17" y="40"/>
                  </a:cubicBezTo>
                  <a:cubicBezTo>
                    <a:pt x="8" y="40"/>
                    <a:pt x="0" y="33"/>
                    <a:pt x="0" y="23"/>
                  </a:cubicBezTo>
                  <a:cubicBezTo>
                    <a:pt x="0" y="0"/>
                    <a:pt x="0" y="0"/>
                    <a:pt x="0" y="0"/>
                  </a:cubicBezTo>
                  <a:cubicBezTo>
                    <a:pt x="140" y="0"/>
                    <a:pt x="140" y="0"/>
                    <a:pt x="140" y="0"/>
                  </a:cubicBezTo>
                  <a:cubicBezTo>
                    <a:pt x="140" y="23"/>
                    <a:pt x="140" y="23"/>
                    <a:pt x="140" y="23"/>
                  </a:cubicBezTo>
                  <a:cubicBezTo>
                    <a:pt x="140" y="33"/>
                    <a:pt x="132" y="40"/>
                    <a:pt x="122" y="40"/>
                  </a:cubicBezTo>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7" name="Freeform 204"/>
            <p:cNvSpPr/>
            <p:nvPr/>
          </p:nvSpPr>
          <p:spPr bwMode="auto">
            <a:xfrm>
              <a:off x="9034764" y="5486574"/>
              <a:ext cx="151971" cy="205608"/>
            </a:xfrm>
            <a:custGeom>
              <a:avLst/>
              <a:gdLst>
                <a:gd name="T0" fmla="*/ 12 w 30"/>
                <a:gd name="T1" fmla="*/ 40 h 40"/>
                <a:gd name="T2" fmla="*/ 0 w 30"/>
                <a:gd name="T3" fmla="*/ 40 h 40"/>
                <a:gd name="T4" fmla="*/ 0 w 30"/>
                <a:gd name="T5" fmla="*/ 0 h 40"/>
                <a:gd name="T6" fmla="*/ 30 w 30"/>
                <a:gd name="T7" fmla="*/ 0 h 40"/>
                <a:gd name="T8" fmla="*/ 30 w 30"/>
                <a:gd name="T9" fmla="*/ 23 h 40"/>
                <a:gd name="T10" fmla="*/ 12 w 30"/>
                <a:gd name="T11" fmla="*/ 40 h 40"/>
              </a:gdLst>
              <a:ahLst/>
              <a:cxnLst>
                <a:cxn ang="0">
                  <a:pos x="T0" y="T1"/>
                </a:cxn>
                <a:cxn ang="0">
                  <a:pos x="T2" y="T3"/>
                </a:cxn>
                <a:cxn ang="0">
                  <a:pos x="T4" y="T5"/>
                </a:cxn>
                <a:cxn ang="0">
                  <a:pos x="T6" y="T7"/>
                </a:cxn>
                <a:cxn ang="0">
                  <a:pos x="T8" y="T9"/>
                </a:cxn>
                <a:cxn ang="0">
                  <a:pos x="T10" y="T11"/>
                </a:cxn>
              </a:cxnLst>
              <a:rect l="0" t="0" r="r" b="b"/>
              <a:pathLst>
                <a:path w="30" h="40">
                  <a:moveTo>
                    <a:pt x="12" y="40"/>
                  </a:moveTo>
                  <a:cubicBezTo>
                    <a:pt x="0" y="40"/>
                    <a:pt x="0" y="40"/>
                    <a:pt x="0" y="40"/>
                  </a:cubicBezTo>
                  <a:cubicBezTo>
                    <a:pt x="0" y="0"/>
                    <a:pt x="0" y="0"/>
                    <a:pt x="0" y="0"/>
                  </a:cubicBezTo>
                  <a:cubicBezTo>
                    <a:pt x="30" y="0"/>
                    <a:pt x="30" y="0"/>
                    <a:pt x="30" y="0"/>
                  </a:cubicBezTo>
                  <a:cubicBezTo>
                    <a:pt x="30" y="23"/>
                    <a:pt x="30" y="23"/>
                    <a:pt x="30" y="23"/>
                  </a:cubicBezTo>
                  <a:cubicBezTo>
                    <a:pt x="30" y="33"/>
                    <a:pt x="22" y="40"/>
                    <a:pt x="12" y="40"/>
                  </a:cubicBezTo>
                  <a:close/>
                </a:path>
              </a:pathLst>
            </a:custGeom>
            <a:solidFill>
              <a:srgbClr val="9797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8" name="Freeform 205"/>
            <p:cNvSpPr/>
            <p:nvPr/>
          </p:nvSpPr>
          <p:spPr bwMode="auto">
            <a:xfrm>
              <a:off x="8715922" y="4339339"/>
              <a:ext cx="226467" cy="1624009"/>
            </a:xfrm>
            <a:custGeom>
              <a:avLst/>
              <a:gdLst>
                <a:gd name="T0" fmla="*/ 23 w 44"/>
                <a:gd name="T1" fmla="*/ 316 h 317"/>
                <a:gd name="T2" fmla="*/ 22 w 44"/>
                <a:gd name="T3" fmla="*/ 317 h 317"/>
                <a:gd name="T4" fmla="*/ 8 w 44"/>
                <a:gd name="T5" fmla="*/ 283 h 317"/>
                <a:gd name="T6" fmla="*/ 1 w 44"/>
                <a:gd name="T7" fmla="*/ 45 h 317"/>
                <a:gd name="T8" fmla="*/ 22 w 44"/>
                <a:gd name="T9" fmla="*/ 0 h 317"/>
                <a:gd name="T10" fmla="*/ 22 w 44"/>
                <a:gd name="T11" fmla="*/ 0 h 317"/>
                <a:gd name="T12" fmla="*/ 43 w 44"/>
                <a:gd name="T13" fmla="*/ 45 h 317"/>
                <a:gd name="T14" fmla="*/ 35 w 44"/>
                <a:gd name="T15" fmla="*/ 283 h 317"/>
                <a:gd name="T16" fmla="*/ 23 w 44"/>
                <a:gd name="T17" fmla="*/ 316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317">
                  <a:moveTo>
                    <a:pt x="23" y="316"/>
                  </a:moveTo>
                  <a:cubicBezTo>
                    <a:pt x="22" y="317"/>
                    <a:pt x="22" y="317"/>
                    <a:pt x="22" y="317"/>
                  </a:cubicBezTo>
                  <a:cubicBezTo>
                    <a:pt x="13" y="308"/>
                    <a:pt x="9" y="295"/>
                    <a:pt x="8" y="283"/>
                  </a:cubicBezTo>
                  <a:cubicBezTo>
                    <a:pt x="1" y="45"/>
                    <a:pt x="1" y="45"/>
                    <a:pt x="1" y="45"/>
                  </a:cubicBezTo>
                  <a:cubicBezTo>
                    <a:pt x="0" y="28"/>
                    <a:pt x="8" y="11"/>
                    <a:pt x="22" y="0"/>
                  </a:cubicBezTo>
                  <a:cubicBezTo>
                    <a:pt x="22" y="0"/>
                    <a:pt x="22" y="0"/>
                    <a:pt x="22" y="0"/>
                  </a:cubicBezTo>
                  <a:cubicBezTo>
                    <a:pt x="36" y="11"/>
                    <a:pt x="44" y="28"/>
                    <a:pt x="43" y="45"/>
                  </a:cubicBezTo>
                  <a:cubicBezTo>
                    <a:pt x="35" y="283"/>
                    <a:pt x="35" y="283"/>
                    <a:pt x="35" y="283"/>
                  </a:cubicBezTo>
                  <a:cubicBezTo>
                    <a:pt x="35" y="295"/>
                    <a:pt x="31" y="307"/>
                    <a:pt x="23" y="316"/>
                  </a:cubicBezTo>
                </a:path>
              </a:pathLst>
            </a:custGeom>
            <a:solidFill>
              <a:srgbClr val="827D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9" name="Freeform 206"/>
            <p:cNvSpPr/>
            <p:nvPr/>
          </p:nvSpPr>
          <p:spPr bwMode="auto">
            <a:xfrm>
              <a:off x="8829156" y="4339339"/>
              <a:ext cx="107274" cy="1624009"/>
            </a:xfrm>
            <a:custGeom>
              <a:avLst/>
              <a:gdLst>
                <a:gd name="T0" fmla="*/ 0 w 21"/>
                <a:gd name="T1" fmla="*/ 0 h 317"/>
                <a:gd name="T2" fmla="*/ 0 w 21"/>
                <a:gd name="T3" fmla="*/ 0 h 317"/>
                <a:gd name="T4" fmla="*/ 0 w 21"/>
                <a:gd name="T5" fmla="*/ 317 h 317"/>
                <a:gd name="T6" fmla="*/ 1 w 21"/>
                <a:gd name="T7" fmla="*/ 316 h 317"/>
                <a:gd name="T8" fmla="*/ 13 w 21"/>
                <a:gd name="T9" fmla="*/ 283 h 317"/>
                <a:gd name="T10" fmla="*/ 21 w 21"/>
                <a:gd name="T11" fmla="*/ 45 h 317"/>
                <a:gd name="T12" fmla="*/ 21 w 21"/>
                <a:gd name="T13" fmla="*/ 43 h 317"/>
                <a:gd name="T14" fmla="*/ 0 w 21"/>
                <a:gd name="T15" fmla="*/ 0 h 3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317">
                  <a:moveTo>
                    <a:pt x="0" y="0"/>
                  </a:moveTo>
                  <a:cubicBezTo>
                    <a:pt x="0" y="0"/>
                    <a:pt x="0" y="0"/>
                    <a:pt x="0" y="0"/>
                  </a:cubicBezTo>
                  <a:cubicBezTo>
                    <a:pt x="0" y="317"/>
                    <a:pt x="0" y="317"/>
                    <a:pt x="0" y="317"/>
                  </a:cubicBezTo>
                  <a:cubicBezTo>
                    <a:pt x="1" y="316"/>
                    <a:pt x="1" y="316"/>
                    <a:pt x="1" y="316"/>
                  </a:cubicBezTo>
                  <a:cubicBezTo>
                    <a:pt x="9" y="307"/>
                    <a:pt x="13" y="295"/>
                    <a:pt x="13" y="283"/>
                  </a:cubicBezTo>
                  <a:cubicBezTo>
                    <a:pt x="21" y="45"/>
                    <a:pt x="21" y="45"/>
                    <a:pt x="21" y="45"/>
                  </a:cubicBezTo>
                  <a:cubicBezTo>
                    <a:pt x="21" y="45"/>
                    <a:pt x="21" y="44"/>
                    <a:pt x="21" y="43"/>
                  </a:cubicBezTo>
                  <a:cubicBezTo>
                    <a:pt x="21" y="26"/>
                    <a:pt x="14" y="10"/>
                    <a:pt x="0" y="0"/>
                  </a:cubicBezTo>
                </a:path>
              </a:pathLst>
            </a:custGeom>
            <a:solidFill>
              <a:srgbClr val="6863D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0" name="Freeform 207"/>
            <p:cNvSpPr/>
            <p:nvPr/>
          </p:nvSpPr>
          <p:spPr bwMode="auto">
            <a:xfrm>
              <a:off x="8578850" y="3347055"/>
              <a:ext cx="530410" cy="521471"/>
            </a:xfrm>
            <a:custGeom>
              <a:avLst/>
              <a:gdLst>
                <a:gd name="T0" fmla="*/ 79 w 104"/>
                <a:gd name="T1" fmla="*/ 0 h 102"/>
                <a:gd name="T2" fmla="*/ 79 w 104"/>
                <a:gd name="T3" fmla="*/ 3 h 102"/>
                <a:gd name="T4" fmla="*/ 7 w 104"/>
                <a:gd name="T5" fmla="*/ 76 h 102"/>
                <a:gd name="T6" fmla="*/ 0 w 104"/>
                <a:gd name="T7" fmla="*/ 75 h 102"/>
                <a:gd name="T8" fmla="*/ 48 w 104"/>
                <a:gd name="T9" fmla="*/ 102 h 102"/>
                <a:gd name="T10" fmla="*/ 104 w 104"/>
                <a:gd name="T11" fmla="*/ 46 h 102"/>
                <a:gd name="T12" fmla="*/ 79 w 104"/>
                <a:gd name="T13" fmla="*/ 0 h 102"/>
              </a:gdLst>
              <a:ahLst/>
              <a:cxnLst>
                <a:cxn ang="0">
                  <a:pos x="T0" y="T1"/>
                </a:cxn>
                <a:cxn ang="0">
                  <a:pos x="T2" y="T3"/>
                </a:cxn>
                <a:cxn ang="0">
                  <a:pos x="T4" y="T5"/>
                </a:cxn>
                <a:cxn ang="0">
                  <a:pos x="T6" y="T7"/>
                </a:cxn>
                <a:cxn ang="0">
                  <a:pos x="T8" y="T9"/>
                </a:cxn>
                <a:cxn ang="0">
                  <a:pos x="T10" y="T11"/>
                </a:cxn>
                <a:cxn ang="0">
                  <a:pos x="T12" y="T13"/>
                </a:cxn>
              </a:cxnLst>
              <a:rect l="0" t="0" r="r" b="b"/>
              <a:pathLst>
                <a:path w="104" h="102">
                  <a:moveTo>
                    <a:pt x="79" y="0"/>
                  </a:moveTo>
                  <a:cubicBezTo>
                    <a:pt x="79" y="1"/>
                    <a:pt x="79" y="2"/>
                    <a:pt x="79" y="3"/>
                  </a:cubicBezTo>
                  <a:cubicBezTo>
                    <a:pt x="79" y="43"/>
                    <a:pt x="47" y="76"/>
                    <a:pt x="7" y="76"/>
                  </a:cubicBezTo>
                  <a:cubicBezTo>
                    <a:pt x="5" y="76"/>
                    <a:pt x="2" y="76"/>
                    <a:pt x="0" y="75"/>
                  </a:cubicBezTo>
                  <a:cubicBezTo>
                    <a:pt x="10" y="92"/>
                    <a:pt x="28" y="102"/>
                    <a:pt x="48" y="102"/>
                  </a:cubicBezTo>
                  <a:cubicBezTo>
                    <a:pt x="79" y="102"/>
                    <a:pt x="104" y="77"/>
                    <a:pt x="104" y="46"/>
                  </a:cubicBezTo>
                  <a:cubicBezTo>
                    <a:pt x="104" y="27"/>
                    <a:pt x="94" y="10"/>
                    <a:pt x="79" y="0"/>
                  </a:cubicBezTo>
                  <a:close/>
                </a:path>
              </a:pathLst>
            </a:custGeom>
            <a:solidFill>
              <a:srgbClr val="AFE6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1" name="Freeform 208"/>
            <p:cNvSpPr/>
            <p:nvPr/>
          </p:nvSpPr>
          <p:spPr bwMode="auto">
            <a:xfrm>
              <a:off x="6713475" y="3445389"/>
              <a:ext cx="405257" cy="1093599"/>
            </a:xfrm>
            <a:custGeom>
              <a:avLst/>
              <a:gdLst>
                <a:gd name="T0" fmla="*/ 39 w 79"/>
                <a:gd name="T1" fmla="*/ 7 h 214"/>
                <a:gd name="T2" fmla="*/ 68 w 79"/>
                <a:gd name="T3" fmla="*/ 3 h 214"/>
                <a:gd name="T4" fmla="*/ 34 w 79"/>
                <a:gd name="T5" fmla="*/ 114 h 214"/>
                <a:gd name="T6" fmla="*/ 33 w 79"/>
                <a:gd name="T7" fmla="*/ 127 h 214"/>
                <a:gd name="T8" fmla="*/ 55 w 79"/>
                <a:gd name="T9" fmla="*/ 207 h 214"/>
                <a:gd name="T10" fmla="*/ 42 w 79"/>
                <a:gd name="T11" fmla="*/ 214 h 214"/>
                <a:gd name="T12" fmla="*/ 4 w 79"/>
                <a:gd name="T13" fmla="*/ 130 h 214"/>
                <a:gd name="T14" fmla="*/ 2 w 79"/>
                <a:gd name="T15" fmla="*/ 105 h 214"/>
                <a:gd name="T16" fmla="*/ 39 w 79"/>
                <a:gd name="T17" fmla="*/ 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214">
                  <a:moveTo>
                    <a:pt x="39" y="7"/>
                  </a:moveTo>
                  <a:cubicBezTo>
                    <a:pt x="45" y="2"/>
                    <a:pt x="57" y="0"/>
                    <a:pt x="68" y="3"/>
                  </a:cubicBezTo>
                  <a:cubicBezTo>
                    <a:pt x="79" y="5"/>
                    <a:pt x="56" y="79"/>
                    <a:pt x="34" y="114"/>
                  </a:cubicBezTo>
                  <a:cubicBezTo>
                    <a:pt x="32" y="118"/>
                    <a:pt x="31" y="122"/>
                    <a:pt x="33" y="127"/>
                  </a:cubicBezTo>
                  <a:cubicBezTo>
                    <a:pt x="55" y="207"/>
                    <a:pt x="55" y="207"/>
                    <a:pt x="55" y="207"/>
                  </a:cubicBezTo>
                  <a:cubicBezTo>
                    <a:pt x="53" y="213"/>
                    <a:pt x="48" y="214"/>
                    <a:pt x="42" y="214"/>
                  </a:cubicBezTo>
                  <a:cubicBezTo>
                    <a:pt x="4" y="130"/>
                    <a:pt x="4" y="130"/>
                    <a:pt x="4" y="130"/>
                  </a:cubicBezTo>
                  <a:cubicBezTo>
                    <a:pt x="0" y="122"/>
                    <a:pt x="0" y="113"/>
                    <a:pt x="2" y="105"/>
                  </a:cubicBezTo>
                  <a:cubicBezTo>
                    <a:pt x="8" y="79"/>
                    <a:pt x="24" y="23"/>
                    <a:pt x="39" y="7"/>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2" name="Freeform 209"/>
            <p:cNvSpPr/>
            <p:nvPr/>
          </p:nvSpPr>
          <p:spPr bwMode="auto">
            <a:xfrm>
              <a:off x="10193919" y="5674304"/>
              <a:ext cx="229447" cy="297983"/>
            </a:xfrm>
            <a:custGeom>
              <a:avLst/>
              <a:gdLst>
                <a:gd name="T0" fmla="*/ 31 w 45"/>
                <a:gd name="T1" fmla="*/ 5 h 58"/>
                <a:gd name="T2" fmla="*/ 37 w 45"/>
                <a:gd name="T3" fmla="*/ 29 h 58"/>
                <a:gd name="T4" fmla="*/ 38 w 45"/>
                <a:gd name="T5" fmla="*/ 31 h 58"/>
                <a:gd name="T6" fmla="*/ 42 w 45"/>
                <a:gd name="T7" fmla="*/ 38 h 58"/>
                <a:gd name="T8" fmla="*/ 38 w 45"/>
                <a:gd name="T9" fmla="*/ 49 h 58"/>
                <a:gd name="T10" fmla="*/ 21 w 45"/>
                <a:gd name="T11" fmla="*/ 55 h 58"/>
                <a:gd name="T12" fmla="*/ 0 w 45"/>
                <a:gd name="T13" fmla="*/ 53 h 58"/>
                <a:gd name="T14" fmla="*/ 13 w 45"/>
                <a:gd name="T15" fmla="*/ 46 h 58"/>
                <a:gd name="T16" fmla="*/ 22 w 45"/>
                <a:gd name="T17" fmla="*/ 40 h 58"/>
                <a:gd name="T18" fmla="*/ 18 w 45"/>
                <a:gd name="T19" fmla="*/ 12 h 58"/>
                <a:gd name="T20" fmla="*/ 21 w 45"/>
                <a:gd name="T21" fmla="*/ 2 h 58"/>
                <a:gd name="T22" fmla="*/ 24 w 45"/>
                <a:gd name="T23" fmla="*/ 1 h 58"/>
                <a:gd name="T24" fmla="*/ 31 w 45"/>
                <a:gd name="T25" fmla="*/ 5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 h="58">
                  <a:moveTo>
                    <a:pt x="31" y="5"/>
                  </a:moveTo>
                  <a:cubicBezTo>
                    <a:pt x="37" y="29"/>
                    <a:pt x="37" y="29"/>
                    <a:pt x="37" y="29"/>
                  </a:cubicBezTo>
                  <a:cubicBezTo>
                    <a:pt x="37" y="30"/>
                    <a:pt x="37" y="31"/>
                    <a:pt x="38" y="31"/>
                  </a:cubicBezTo>
                  <a:cubicBezTo>
                    <a:pt x="42" y="38"/>
                    <a:pt x="42" y="38"/>
                    <a:pt x="42" y="38"/>
                  </a:cubicBezTo>
                  <a:cubicBezTo>
                    <a:pt x="45" y="42"/>
                    <a:pt x="43" y="47"/>
                    <a:pt x="38" y="49"/>
                  </a:cubicBezTo>
                  <a:cubicBezTo>
                    <a:pt x="38" y="49"/>
                    <a:pt x="29" y="52"/>
                    <a:pt x="21" y="55"/>
                  </a:cubicBezTo>
                  <a:cubicBezTo>
                    <a:pt x="11" y="58"/>
                    <a:pt x="0" y="55"/>
                    <a:pt x="0" y="53"/>
                  </a:cubicBezTo>
                  <a:cubicBezTo>
                    <a:pt x="0" y="48"/>
                    <a:pt x="5" y="52"/>
                    <a:pt x="13" y="46"/>
                  </a:cubicBezTo>
                  <a:cubicBezTo>
                    <a:pt x="16" y="44"/>
                    <a:pt x="19" y="42"/>
                    <a:pt x="22" y="40"/>
                  </a:cubicBezTo>
                  <a:cubicBezTo>
                    <a:pt x="29" y="35"/>
                    <a:pt x="23" y="20"/>
                    <a:pt x="18" y="12"/>
                  </a:cubicBezTo>
                  <a:cubicBezTo>
                    <a:pt x="17" y="9"/>
                    <a:pt x="18" y="2"/>
                    <a:pt x="21" y="2"/>
                  </a:cubicBezTo>
                  <a:cubicBezTo>
                    <a:pt x="24" y="1"/>
                    <a:pt x="24" y="1"/>
                    <a:pt x="24" y="1"/>
                  </a:cubicBezTo>
                  <a:cubicBezTo>
                    <a:pt x="27" y="0"/>
                    <a:pt x="30" y="2"/>
                    <a:pt x="31" y="5"/>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3" name="Freeform 210"/>
            <p:cNvSpPr/>
            <p:nvPr/>
          </p:nvSpPr>
          <p:spPr bwMode="auto">
            <a:xfrm>
              <a:off x="10202859" y="4497270"/>
              <a:ext cx="148992" cy="262225"/>
            </a:xfrm>
            <a:custGeom>
              <a:avLst/>
              <a:gdLst>
                <a:gd name="T0" fmla="*/ 23 w 29"/>
                <a:gd name="T1" fmla="*/ 32 h 51"/>
                <a:gd name="T2" fmla="*/ 19 w 29"/>
                <a:gd name="T3" fmla="*/ 22 h 51"/>
                <a:gd name="T4" fmla="*/ 17 w 29"/>
                <a:gd name="T5" fmla="*/ 19 h 51"/>
                <a:gd name="T6" fmla="*/ 13 w 29"/>
                <a:gd name="T7" fmla="*/ 14 h 51"/>
                <a:gd name="T8" fmla="*/ 12 w 29"/>
                <a:gd name="T9" fmla="*/ 6 h 51"/>
                <a:gd name="T10" fmla="*/ 6 w 29"/>
                <a:gd name="T11" fmla="*/ 0 h 51"/>
                <a:gd name="T12" fmla="*/ 1 w 29"/>
                <a:gd name="T13" fmla="*/ 9 h 51"/>
                <a:gd name="T14" fmla="*/ 2 w 29"/>
                <a:gd name="T15" fmla="*/ 14 h 51"/>
                <a:gd name="T16" fmla="*/ 2 w 29"/>
                <a:gd name="T17" fmla="*/ 24 h 51"/>
                <a:gd name="T18" fmla="*/ 6 w 29"/>
                <a:gd name="T19" fmla="*/ 43 h 51"/>
                <a:gd name="T20" fmla="*/ 20 w 29"/>
                <a:gd name="T21" fmla="*/ 50 h 51"/>
                <a:gd name="T22" fmla="*/ 26 w 29"/>
                <a:gd name="T23" fmla="*/ 47 h 51"/>
                <a:gd name="T24" fmla="*/ 15 w 29"/>
                <a:gd name="T25" fmla="*/ 31 h 51"/>
                <a:gd name="T26" fmla="*/ 16 w 29"/>
                <a:gd name="T27" fmla="*/ 29 h 51"/>
                <a:gd name="T28" fmla="*/ 20 w 29"/>
                <a:gd name="T29" fmla="*/ 35 h 51"/>
                <a:gd name="T30" fmla="*/ 25 w 29"/>
                <a:gd name="T31" fmla="*/ 38 h 51"/>
                <a:gd name="T32" fmla="*/ 23 w 29"/>
                <a:gd name="T33" fmla="*/ 3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51">
                  <a:moveTo>
                    <a:pt x="23" y="32"/>
                  </a:moveTo>
                  <a:cubicBezTo>
                    <a:pt x="21" y="28"/>
                    <a:pt x="20" y="23"/>
                    <a:pt x="19" y="22"/>
                  </a:cubicBezTo>
                  <a:cubicBezTo>
                    <a:pt x="19" y="21"/>
                    <a:pt x="17" y="19"/>
                    <a:pt x="17" y="19"/>
                  </a:cubicBezTo>
                  <a:cubicBezTo>
                    <a:pt x="16" y="18"/>
                    <a:pt x="14" y="16"/>
                    <a:pt x="13" y="14"/>
                  </a:cubicBezTo>
                  <a:cubicBezTo>
                    <a:pt x="12" y="6"/>
                    <a:pt x="12" y="6"/>
                    <a:pt x="12" y="6"/>
                  </a:cubicBezTo>
                  <a:cubicBezTo>
                    <a:pt x="12" y="2"/>
                    <a:pt x="9" y="0"/>
                    <a:pt x="6" y="0"/>
                  </a:cubicBezTo>
                  <a:cubicBezTo>
                    <a:pt x="1" y="1"/>
                    <a:pt x="0" y="5"/>
                    <a:pt x="1" y="9"/>
                  </a:cubicBezTo>
                  <a:cubicBezTo>
                    <a:pt x="2" y="14"/>
                    <a:pt x="2" y="14"/>
                    <a:pt x="2" y="14"/>
                  </a:cubicBezTo>
                  <a:cubicBezTo>
                    <a:pt x="3" y="17"/>
                    <a:pt x="2" y="20"/>
                    <a:pt x="2" y="24"/>
                  </a:cubicBezTo>
                  <a:cubicBezTo>
                    <a:pt x="1" y="30"/>
                    <a:pt x="3" y="37"/>
                    <a:pt x="6" y="43"/>
                  </a:cubicBezTo>
                  <a:cubicBezTo>
                    <a:pt x="8" y="47"/>
                    <a:pt x="13" y="48"/>
                    <a:pt x="20" y="50"/>
                  </a:cubicBezTo>
                  <a:cubicBezTo>
                    <a:pt x="23" y="51"/>
                    <a:pt x="29" y="51"/>
                    <a:pt x="26" y="47"/>
                  </a:cubicBezTo>
                  <a:cubicBezTo>
                    <a:pt x="24" y="45"/>
                    <a:pt x="14" y="41"/>
                    <a:pt x="15" y="31"/>
                  </a:cubicBezTo>
                  <a:cubicBezTo>
                    <a:pt x="15" y="30"/>
                    <a:pt x="15" y="29"/>
                    <a:pt x="16" y="29"/>
                  </a:cubicBezTo>
                  <a:cubicBezTo>
                    <a:pt x="18" y="29"/>
                    <a:pt x="19" y="33"/>
                    <a:pt x="20" y="35"/>
                  </a:cubicBezTo>
                  <a:cubicBezTo>
                    <a:pt x="22" y="37"/>
                    <a:pt x="24" y="38"/>
                    <a:pt x="25" y="38"/>
                  </a:cubicBezTo>
                  <a:cubicBezTo>
                    <a:pt x="26" y="37"/>
                    <a:pt x="24" y="35"/>
                    <a:pt x="23" y="32"/>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4" name="Freeform 211"/>
            <p:cNvSpPr/>
            <p:nvPr/>
          </p:nvSpPr>
          <p:spPr bwMode="auto">
            <a:xfrm>
              <a:off x="9523457" y="3299377"/>
              <a:ext cx="935667" cy="932688"/>
            </a:xfrm>
            <a:custGeom>
              <a:avLst/>
              <a:gdLst>
                <a:gd name="T0" fmla="*/ 177 w 183"/>
                <a:gd name="T1" fmla="*/ 25 h 182"/>
                <a:gd name="T2" fmla="*/ 99 w 183"/>
                <a:gd name="T3" fmla="*/ 144 h 182"/>
                <a:gd name="T4" fmla="*/ 6 w 183"/>
                <a:gd name="T5" fmla="*/ 182 h 182"/>
                <a:gd name="T6" fmla="*/ 2 w 183"/>
                <a:gd name="T7" fmla="*/ 176 h 182"/>
                <a:gd name="T8" fmla="*/ 0 w 183"/>
                <a:gd name="T9" fmla="*/ 170 h 182"/>
                <a:gd name="T10" fmla="*/ 93 w 183"/>
                <a:gd name="T11" fmla="*/ 116 h 182"/>
                <a:gd name="T12" fmla="*/ 152 w 183"/>
                <a:gd name="T13" fmla="*/ 14 h 182"/>
                <a:gd name="T14" fmla="*/ 177 w 183"/>
                <a:gd name="T15" fmla="*/ 25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182">
                  <a:moveTo>
                    <a:pt x="177" y="25"/>
                  </a:moveTo>
                  <a:cubicBezTo>
                    <a:pt x="167" y="59"/>
                    <a:pt x="139" y="122"/>
                    <a:pt x="99" y="144"/>
                  </a:cubicBezTo>
                  <a:cubicBezTo>
                    <a:pt x="72" y="159"/>
                    <a:pt x="6" y="182"/>
                    <a:pt x="6" y="182"/>
                  </a:cubicBezTo>
                  <a:cubicBezTo>
                    <a:pt x="6" y="182"/>
                    <a:pt x="4" y="179"/>
                    <a:pt x="2" y="176"/>
                  </a:cubicBezTo>
                  <a:cubicBezTo>
                    <a:pt x="1" y="174"/>
                    <a:pt x="0" y="170"/>
                    <a:pt x="0" y="170"/>
                  </a:cubicBezTo>
                  <a:cubicBezTo>
                    <a:pt x="0" y="170"/>
                    <a:pt x="82" y="128"/>
                    <a:pt x="93" y="116"/>
                  </a:cubicBezTo>
                  <a:cubicBezTo>
                    <a:pt x="104" y="104"/>
                    <a:pt x="141" y="26"/>
                    <a:pt x="152" y="14"/>
                  </a:cubicBezTo>
                  <a:cubicBezTo>
                    <a:pt x="164" y="0"/>
                    <a:pt x="183" y="6"/>
                    <a:pt x="177" y="25"/>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5" name="Freeform 212"/>
            <p:cNvSpPr/>
            <p:nvPr/>
          </p:nvSpPr>
          <p:spPr bwMode="auto">
            <a:xfrm>
              <a:off x="10250536" y="3281498"/>
              <a:ext cx="673442" cy="980365"/>
            </a:xfrm>
            <a:custGeom>
              <a:avLst/>
              <a:gdLst>
                <a:gd name="T0" fmla="*/ 0 w 226"/>
                <a:gd name="T1" fmla="*/ 329 h 329"/>
                <a:gd name="T2" fmla="*/ 44 w 226"/>
                <a:gd name="T3" fmla="*/ 17 h 329"/>
                <a:gd name="T4" fmla="*/ 164 w 226"/>
                <a:gd name="T5" fmla="*/ 0 h 329"/>
                <a:gd name="T6" fmla="*/ 226 w 226"/>
                <a:gd name="T7" fmla="*/ 328 h 329"/>
                <a:gd name="T8" fmla="*/ 0 w 226"/>
                <a:gd name="T9" fmla="*/ 329 h 329"/>
              </a:gdLst>
              <a:ahLst/>
              <a:cxnLst>
                <a:cxn ang="0">
                  <a:pos x="T0" y="T1"/>
                </a:cxn>
                <a:cxn ang="0">
                  <a:pos x="T2" y="T3"/>
                </a:cxn>
                <a:cxn ang="0">
                  <a:pos x="T4" y="T5"/>
                </a:cxn>
                <a:cxn ang="0">
                  <a:pos x="T6" y="T7"/>
                </a:cxn>
                <a:cxn ang="0">
                  <a:pos x="T8" y="T9"/>
                </a:cxn>
              </a:cxnLst>
              <a:rect l="0" t="0" r="r" b="b"/>
              <a:pathLst>
                <a:path w="226" h="329">
                  <a:moveTo>
                    <a:pt x="0" y="329"/>
                  </a:moveTo>
                  <a:lnTo>
                    <a:pt x="44" y="17"/>
                  </a:lnTo>
                  <a:lnTo>
                    <a:pt x="164" y="0"/>
                  </a:lnTo>
                  <a:lnTo>
                    <a:pt x="226" y="328"/>
                  </a:lnTo>
                  <a:lnTo>
                    <a:pt x="0" y="329"/>
                  </a:ln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6" name="Freeform 213"/>
            <p:cNvSpPr/>
            <p:nvPr/>
          </p:nvSpPr>
          <p:spPr bwMode="auto">
            <a:xfrm>
              <a:off x="10831603" y="5650465"/>
              <a:ext cx="271165" cy="321822"/>
            </a:xfrm>
            <a:custGeom>
              <a:avLst/>
              <a:gdLst>
                <a:gd name="T0" fmla="*/ 36 w 53"/>
                <a:gd name="T1" fmla="*/ 6 h 63"/>
                <a:gd name="T2" fmla="*/ 43 w 53"/>
                <a:gd name="T3" fmla="*/ 29 h 63"/>
                <a:gd name="T4" fmla="*/ 44 w 53"/>
                <a:gd name="T5" fmla="*/ 32 h 63"/>
                <a:gd name="T6" fmla="*/ 49 w 53"/>
                <a:gd name="T7" fmla="*/ 40 h 63"/>
                <a:gd name="T8" fmla="*/ 45 w 53"/>
                <a:gd name="T9" fmla="*/ 53 h 63"/>
                <a:gd name="T10" fmla="*/ 24 w 53"/>
                <a:gd name="T11" fmla="*/ 60 h 63"/>
                <a:gd name="T12" fmla="*/ 0 w 53"/>
                <a:gd name="T13" fmla="*/ 57 h 63"/>
                <a:gd name="T14" fmla="*/ 16 w 53"/>
                <a:gd name="T15" fmla="*/ 49 h 63"/>
                <a:gd name="T16" fmla="*/ 25 w 53"/>
                <a:gd name="T17" fmla="*/ 43 h 63"/>
                <a:gd name="T18" fmla="*/ 21 w 53"/>
                <a:gd name="T19" fmla="*/ 10 h 63"/>
                <a:gd name="T20" fmla="*/ 25 w 53"/>
                <a:gd name="T21" fmla="*/ 1 h 63"/>
                <a:gd name="T22" fmla="*/ 28 w 53"/>
                <a:gd name="T23" fmla="*/ 1 h 63"/>
                <a:gd name="T24" fmla="*/ 36 w 53"/>
                <a:gd name="T25" fmla="*/ 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63">
                  <a:moveTo>
                    <a:pt x="36" y="6"/>
                  </a:moveTo>
                  <a:cubicBezTo>
                    <a:pt x="43" y="29"/>
                    <a:pt x="43" y="29"/>
                    <a:pt x="43" y="29"/>
                  </a:cubicBezTo>
                  <a:cubicBezTo>
                    <a:pt x="43" y="30"/>
                    <a:pt x="44" y="31"/>
                    <a:pt x="44" y="32"/>
                  </a:cubicBezTo>
                  <a:cubicBezTo>
                    <a:pt x="49" y="40"/>
                    <a:pt x="49" y="40"/>
                    <a:pt x="49" y="40"/>
                  </a:cubicBezTo>
                  <a:cubicBezTo>
                    <a:pt x="53" y="44"/>
                    <a:pt x="50" y="51"/>
                    <a:pt x="45" y="53"/>
                  </a:cubicBezTo>
                  <a:cubicBezTo>
                    <a:pt x="45" y="53"/>
                    <a:pt x="35" y="56"/>
                    <a:pt x="24" y="60"/>
                  </a:cubicBezTo>
                  <a:cubicBezTo>
                    <a:pt x="14" y="63"/>
                    <a:pt x="0" y="60"/>
                    <a:pt x="0" y="57"/>
                  </a:cubicBezTo>
                  <a:cubicBezTo>
                    <a:pt x="0" y="51"/>
                    <a:pt x="6" y="56"/>
                    <a:pt x="16" y="49"/>
                  </a:cubicBezTo>
                  <a:cubicBezTo>
                    <a:pt x="19" y="47"/>
                    <a:pt x="22" y="45"/>
                    <a:pt x="25" y="43"/>
                  </a:cubicBezTo>
                  <a:cubicBezTo>
                    <a:pt x="34" y="36"/>
                    <a:pt x="27" y="19"/>
                    <a:pt x="21" y="10"/>
                  </a:cubicBezTo>
                  <a:cubicBezTo>
                    <a:pt x="20" y="6"/>
                    <a:pt x="22" y="2"/>
                    <a:pt x="25" y="1"/>
                  </a:cubicBezTo>
                  <a:cubicBezTo>
                    <a:pt x="28" y="1"/>
                    <a:pt x="28" y="1"/>
                    <a:pt x="28" y="1"/>
                  </a:cubicBezTo>
                  <a:cubicBezTo>
                    <a:pt x="31" y="0"/>
                    <a:pt x="35" y="2"/>
                    <a:pt x="36" y="6"/>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7" name="Freeform 214"/>
            <p:cNvSpPr/>
            <p:nvPr/>
          </p:nvSpPr>
          <p:spPr bwMode="auto">
            <a:xfrm>
              <a:off x="10044928" y="4238025"/>
              <a:ext cx="601926" cy="1528654"/>
            </a:xfrm>
            <a:custGeom>
              <a:avLst/>
              <a:gdLst>
                <a:gd name="T0" fmla="*/ 118 w 118"/>
                <a:gd name="T1" fmla="*/ 7 h 299"/>
                <a:gd name="T2" fmla="*/ 40 w 118"/>
                <a:gd name="T3" fmla="*/ 0 h 299"/>
                <a:gd name="T4" fmla="*/ 5 w 118"/>
                <a:gd name="T5" fmla="*/ 143 h 299"/>
                <a:gd name="T6" fmla="*/ 48 w 118"/>
                <a:gd name="T7" fmla="*/ 297 h 299"/>
                <a:gd name="T8" fmla="*/ 62 w 118"/>
                <a:gd name="T9" fmla="*/ 295 h 299"/>
                <a:gd name="T10" fmla="*/ 53 w 118"/>
                <a:gd name="T11" fmla="*/ 160 h 299"/>
                <a:gd name="T12" fmla="*/ 102 w 118"/>
                <a:gd name="T13" fmla="*/ 63 h 299"/>
                <a:gd name="T14" fmla="*/ 118 w 118"/>
                <a:gd name="T15" fmla="*/ 7 h 29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299">
                  <a:moveTo>
                    <a:pt x="118" y="7"/>
                  </a:moveTo>
                  <a:cubicBezTo>
                    <a:pt x="40" y="0"/>
                    <a:pt x="40" y="0"/>
                    <a:pt x="40" y="0"/>
                  </a:cubicBezTo>
                  <a:cubicBezTo>
                    <a:pt x="40" y="0"/>
                    <a:pt x="13" y="99"/>
                    <a:pt x="5" y="143"/>
                  </a:cubicBezTo>
                  <a:cubicBezTo>
                    <a:pt x="0" y="174"/>
                    <a:pt x="48" y="297"/>
                    <a:pt x="48" y="297"/>
                  </a:cubicBezTo>
                  <a:cubicBezTo>
                    <a:pt x="53" y="299"/>
                    <a:pt x="57" y="296"/>
                    <a:pt x="62" y="295"/>
                  </a:cubicBezTo>
                  <a:cubicBezTo>
                    <a:pt x="62" y="295"/>
                    <a:pt x="48" y="187"/>
                    <a:pt x="53" y="160"/>
                  </a:cubicBezTo>
                  <a:cubicBezTo>
                    <a:pt x="58" y="133"/>
                    <a:pt x="99" y="77"/>
                    <a:pt x="102" y="63"/>
                  </a:cubicBezTo>
                  <a:cubicBezTo>
                    <a:pt x="107" y="33"/>
                    <a:pt x="118" y="7"/>
                    <a:pt x="118" y="7"/>
                  </a:cubicBezTo>
                  <a:close/>
                </a:path>
              </a:pathLst>
            </a:custGeom>
            <a:solidFill>
              <a:srgbClr val="5046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8" name="Freeform 215"/>
            <p:cNvSpPr/>
            <p:nvPr/>
          </p:nvSpPr>
          <p:spPr bwMode="auto">
            <a:xfrm>
              <a:off x="10432306" y="4133730"/>
              <a:ext cx="601926" cy="1632948"/>
            </a:xfrm>
            <a:custGeom>
              <a:avLst/>
              <a:gdLst>
                <a:gd name="T0" fmla="*/ 26 w 118"/>
                <a:gd name="T1" fmla="*/ 28 h 319"/>
                <a:gd name="T2" fmla="*/ 34 w 118"/>
                <a:gd name="T3" fmla="*/ 195 h 319"/>
                <a:gd name="T4" fmla="*/ 105 w 118"/>
                <a:gd name="T5" fmla="*/ 319 h 319"/>
                <a:gd name="T6" fmla="*/ 118 w 118"/>
                <a:gd name="T7" fmla="*/ 314 h 319"/>
                <a:gd name="T8" fmla="*/ 103 w 118"/>
                <a:gd name="T9" fmla="*/ 255 h 319"/>
                <a:gd name="T10" fmla="*/ 84 w 118"/>
                <a:gd name="T11" fmla="*/ 153 h 319"/>
                <a:gd name="T12" fmla="*/ 96 w 118"/>
                <a:gd name="T13" fmla="*/ 28 h 319"/>
                <a:gd name="T14" fmla="*/ 26 w 118"/>
                <a:gd name="T15" fmla="*/ 28 h 3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319">
                  <a:moveTo>
                    <a:pt x="26" y="28"/>
                  </a:moveTo>
                  <a:cubicBezTo>
                    <a:pt x="18" y="71"/>
                    <a:pt x="0" y="135"/>
                    <a:pt x="34" y="195"/>
                  </a:cubicBezTo>
                  <a:cubicBezTo>
                    <a:pt x="69" y="256"/>
                    <a:pt x="105" y="319"/>
                    <a:pt x="105" y="319"/>
                  </a:cubicBezTo>
                  <a:cubicBezTo>
                    <a:pt x="109" y="319"/>
                    <a:pt x="114" y="317"/>
                    <a:pt x="118" y="314"/>
                  </a:cubicBezTo>
                  <a:cubicBezTo>
                    <a:pt x="118" y="314"/>
                    <a:pt x="112" y="287"/>
                    <a:pt x="103" y="255"/>
                  </a:cubicBezTo>
                  <a:cubicBezTo>
                    <a:pt x="93" y="218"/>
                    <a:pt x="80" y="175"/>
                    <a:pt x="84" y="153"/>
                  </a:cubicBezTo>
                  <a:cubicBezTo>
                    <a:pt x="91" y="111"/>
                    <a:pt x="98" y="55"/>
                    <a:pt x="96" y="28"/>
                  </a:cubicBezTo>
                  <a:cubicBezTo>
                    <a:pt x="94" y="0"/>
                    <a:pt x="30" y="5"/>
                    <a:pt x="26" y="28"/>
                  </a:cubicBezTo>
                  <a:close/>
                </a:path>
              </a:pathLst>
            </a:custGeom>
            <a:solidFill>
              <a:srgbClr val="5046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9" name="Freeform 216"/>
            <p:cNvSpPr/>
            <p:nvPr/>
          </p:nvSpPr>
          <p:spPr bwMode="auto">
            <a:xfrm>
              <a:off x="10229677" y="3281498"/>
              <a:ext cx="703241" cy="1036982"/>
            </a:xfrm>
            <a:custGeom>
              <a:avLst/>
              <a:gdLst>
                <a:gd name="T0" fmla="*/ 5 w 138"/>
                <a:gd name="T1" fmla="*/ 195 h 203"/>
                <a:gd name="T2" fmla="*/ 1 w 138"/>
                <a:gd name="T3" fmla="*/ 187 h 203"/>
                <a:gd name="T4" fmla="*/ 30 w 138"/>
                <a:gd name="T5" fmla="*/ 10 h 203"/>
                <a:gd name="T6" fmla="*/ 100 w 138"/>
                <a:gd name="T7" fmla="*/ 0 h 203"/>
                <a:gd name="T8" fmla="*/ 137 w 138"/>
                <a:gd name="T9" fmla="*/ 188 h 203"/>
                <a:gd name="T10" fmla="*/ 132 w 138"/>
                <a:gd name="T11" fmla="*/ 195 h 203"/>
                <a:gd name="T12" fmla="*/ 52 w 138"/>
                <a:gd name="T13" fmla="*/ 203 h 203"/>
                <a:gd name="T14" fmla="*/ 5 w 138"/>
                <a:gd name="T15" fmla="*/ 195 h 20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8" h="203">
                  <a:moveTo>
                    <a:pt x="5" y="195"/>
                  </a:moveTo>
                  <a:cubicBezTo>
                    <a:pt x="2" y="193"/>
                    <a:pt x="0" y="190"/>
                    <a:pt x="1" y="187"/>
                  </a:cubicBezTo>
                  <a:cubicBezTo>
                    <a:pt x="30" y="10"/>
                    <a:pt x="30" y="10"/>
                    <a:pt x="30" y="10"/>
                  </a:cubicBezTo>
                  <a:cubicBezTo>
                    <a:pt x="100" y="0"/>
                    <a:pt x="100" y="0"/>
                    <a:pt x="100" y="0"/>
                  </a:cubicBezTo>
                  <a:cubicBezTo>
                    <a:pt x="137" y="188"/>
                    <a:pt x="137" y="188"/>
                    <a:pt x="137" y="188"/>
                  </a:cubicBezTo>
                  <a:cubicBezTo>
                    <a:pt x="138" y="191"/>
                    <a:pt x="136" y="195"/>
                    <a:pt x="132" y="195"/>
                  </a:cubicBezTo>
                  <a:cubicBezTo>
                    <a:pt x="119" y="198"/>
                    <a:pt x="88" y="203"/>
                    <a:pt x="52" y="203"/>
                  </a:cubicBezTo>
                  <a:cubicBezTo>
                    <a:pt x="26" y="203"/>
                    <a:pt x="11" y="198"/>
                    <a:pt x="5" y="195"/>
                  </a:cubicBezTo>
                  <a:close/>
                </a:path>
              </a:pathLst>
            </a:custGeom>
            <a:solidFill>
              <a:srgbClr val="D2F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0" name="Freeform 217"/>
            <p:cNvSpPr/>
            <p:nvPr/>
          </p:nvSpPr>
          <p:spPr bwMode="auto">
            <a:xfrm>
              <a:off x="10602156" y="3284478"/>
              <a:ext cx="378439" cy="1337945"/>
            </a:xfrm>
            <a:custGeom>
              <a:avLst/>
              <a:gdLst>
                <a:gd name="T0" fmla="*/ 11 w 74"/>
                <a:gd name="T1" fmla="*/ 46 h 261"/>
                <a:gd name="T2" fmla="*/ 25 w 74"/>
                <a:gd name="T3" fmla="*/ 155 h 261"/>
                <a:gd name="T4" fmla="*/ 18 w 74"/>
                <a:gd name="T5" fmla="*/ 247 h 261"/>
                <a:gd name="T6" fmla="*/ 73 w 74"/>
                <a:gd name="T7" fmla="*/ 231 h 261"/>
                <a:gd name="T8" fmla="*/ 57 w 74"/>
                <a:gd name="T9" fmla="*/ 95 h 261"/>
                <a:gd name="T10" fmla="*/ 23 w 74"/>
                <a:gd name="T11" fmla="*/ 0 h 261"/>
                <a:gd name="T12" fmla="*/ 10 w 74"/>
                <a:gd name="T13" fmla="*/ 1 h 261"/>
                <a:gd name="T14" fmla="*/ 11 w 74"/>
                <a:gd name="T15" fmla="*/ 46 h 2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261">
                  <a:moveTo>
                    <a:pt x="11" y="46"/>
                  </a:moveTo>
                  <a:cubicBezTo>
                    <a:pt x="19" y="69"/>
                    <a:pt x="33" y="115"/>
                    <a:pt x="25" y="155"/>
                  </a:cubicBezTo>
                  <a:cubicBezTo>
                    <a:pt x="14" y="211"/>
                    <a:pt x="0" y="234"/>
                    <a:pt x="18" y="247"/>
                  </a:cubicBezTo>
                  <a:cubicBezTo>
                    <a:pt x="37" y="261"/>
                    <a:pt x="72" y="239"/>
                    <a:pt x="73" y="231"/>
                  </a:cubicBezTo>
                  <a:cubicBezTo>
                    <a:pt x="74" y="224"/>
                    <a:pt x="66" y="134"/>
                    <a:pt x="57" y="95"/>
                  </a:cubicBezTo>
                  <a:cubicBezTo>
                    <a:pt x="48" y="56"/>
                    <a:pt x="23" y="0"/>
                    <a:pt x="23" y="0"/>
                  </a:cubicBezTo>
                  <a:cubicBezTo>
                    <a:pt x="10" y="1"/>
                    <a:pt x="10" y="1"/>
                    <a:pt x="10" y="1"/>
                  </a:cubicBezTo>
                  <a:cubicBezTo>
                    <a:pt x="10" y="1"/>
                    <a:pt x="7" y="35"/>
                    <a:pt x="11" y="46"/>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1" name="Freeform 218"/>
            <p:cNvSpPr/>
            <p:nvPr/>
          </p:nvSpPr>
          <p:spPr bwMode="auto">
            <a:xfrm>
              <a:off x="10152202" y="3320236"/>
              <a:ext cx="357580" cy="1218752"/>
            </a:xfrm>
            <a:custGeom>
              <a:avLst/>
              <a:gdLst>
                <a:gd name="T0" fmla="*/ 57 w 70"/>
                <a:gd name="T1" fmla="*/ 0 h 238"/>
                <a:gd name="T2" fmla="*/ 56 w 70"/>
                <a:gd name="T3" fmla="*/ 63 h 238"/>
                <a:gd name="T4" fmla="*/ 35 w 70"/>
                <a:gd name="T5" fmla="*/ 233 h 238"/>
                <a:gd name="T6" fmla="*/ 0 w 70"/>
                <a:gd name="T7" fmla="*/ 205 h 238"/>
                <a:gd name="T8" fmla="*/ 16 w 70"/>
                <a:gd name="T9" fmla="*/ 138 h 238"/>
                <a:gd name="T10" fmla="*/ 31 w 70"/>
                <a:gd name="T11" fmla="*/ 15 h 238"/>
                <a:gd name="T12" fmla="*/ 43 w 70"/>
                <a:gd name="T13" fmla="*/ 2 h 238"/>
                <a:gd name="T14" fmla="*/ 57 w 70"/>
                <a:gd name="T15" fmla="*/ 0 h 2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238">
                  <a:moveTo>
                    <a:pt x="57" y="0"/>
                  </a:moveTo>
                  <a:cubicBezTo>
                    <a:pt x="57" y="0"/>
                    <a:pt x="51" y="25"/>
                    <a:pt x="56" y="63"/>
                  </a:cubicBezTo>
                  <a:cubicBezTo>
                    <a:pt x="60" y="101"/>
                    <a:pt x="70" y="216"/>
                    <a:pt x="35" y="233"/>
                  </a:cubicBezTo>
                  <a:cubicBezTo>
                    <a:pt x="25" y="238"/>
                    <a:pt x="0" y="210"/>
                    <a:pt x="0" y="205"/>
                  </a:cubicBezTo>
                  <a:cubicBezTo>
                    <a:pt x="0" y="196"/>
                    <a:pt x="8" y="166"/>
                    <a:pt x="16" y="138"/>
                  </a:cubicBezTo>
                  <a:cubicBezTo>
                    <a:pt x="22" y="116"/>
                    <a:pt x="29" y="43"/>
                    <a:pt x="31" y="15"/>
                  </a:cubicBezTo>
                  <a:cubicBezTo>
                    <a:pt x="31" y="8"/>
                    <a:pt x="36" y="3"/>
                    <a:pt x="43" y="2"/>
                  </a:cubicBezTo>
                  <a:lnTo>
                    <a:pt x="57" y="0"/>
                  </a:ln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2" name="Freeform 219"/>
            <p:cNvSpPr/>
            <p:nvPr/>
          </p:nvSpPr>
          <p:spPr bwMode="auto">
            <a:xfrm>
              <a:off x="10524681" y="2906039"/>
              <a:ext cx="235407" cy="327782"/>
            </a:xfrm>
            <a:custGeom>
              <a:avLst/>
              <a:gdLst>
                <a:gd name="T0" fmla="*/ 35 w 46"/>
                <a:gd name="T1" fmla="*/ 4 h 64"/>
                <a:gd name="T2" fmla="*/ 40 w 46"/>
                <a:gd name="T3" fmla="*/ 22 h 64"/>
                <a:gd name="T4" fmla="*/ 35 w 46"/>
                <a:gd name="T5" fmla="*/ 42 h 64"/>
                <a:gd name="T6" fmla="*/ 29 w 46"/>
                <a:gd name="T7" fmla="*/ 59 h 64"/>
                <a:gd name="T8" fmla="*/ 3 w 46"/>
                <a:gd name="T9" fmla="*/ 57 h 64"/>
                <a:gd name="T10" fmla="*/ 35 w 46"/>
                <a:gd name="T11" fmla="*/ 4 h 64"/>
              </a:gdLst>
              <a:ahLst/>
              <a:cxnLst>
                <a:cxn ang="0">
                  <a:pos x="T0" y="T1"/>
                </a:cxn>
                <a:cxn ang="0">
                  <a:pos x="T2" y="T3"/>
                </a:cxn>
                <a:cxn ang="0">
                  <a:pos x="T4" y="T5"/>
                </a:cxn>
                <a:cxn ang="0">
                  <a:pos x="T6" y="T7"/>
                </a:cxn>
                <a:cxn ang="0">
                  <a:pos x="T8" y="T9"/>
                </a:cxn>
                <a:cxn ang="0">
                  <a:pos x="T10" y="T11"/>
                </a:cxn>
              </a:cxnLst>
              <a:rect l="0" t="0" r="r" b="b"/>
              <a:pathLst>
                <a:path w="46" h="64">
                  <a:moveTo>
                    <a:pt x="35" y="4"/>
                  </a:moveTo>
                  <a:cubicBezTo>
                    <a:pt x="35" y="4"/>
                    <a:pt x="33" y="15"/>
                    <a:pt x="40" y="22"/>
                  </a:cubicBezTo>
                  <a:cubicBezTo>
                    <a:pt x="46" y="30"/>
                    <a:pt x="37" y="37"/>
                    <a:pt x="35" y="42"/>
                  </a:cubicBezTo>
                  <a:cubicBezTo>
                    <a:pt x="32" y="48"/>
                    <a:pt x="35" y="55"/>
                    <a:pt x="29" y="59"/>
                  </a:cubicBezTo>
                  <a:cubicBezTo>
                    <a:pt x="23" y="63"/>
                    <a:pt x="6" y="64"/>
                    <a:pt x="3" y="57"/>
                  </a:cubicBezTo>
                  <a:cubicBezTo>
                    <a:pt x="0" y="51"/>
                    <a:pt x="15" y="0"/>
                    <a:pt x="35" y="4"/>
                  </a:cubicBezTo>
                  <a:close/>
                </a:path>
              </a:pathLst>
            </a:custGeom>
            <a:solidFill>
              <a:srgbClr val="4137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3" name="Freeform 220"/>
            <p:cNvSpPr/>
            <p:nvPr/>
          </p:nvSpPr>
          <p:spPr bwMode="auto">
            <a:xfrm>
              <a:off x="10339931" y="2834523"/>
              <a:ext cx="363540" cy="375459"/>
            </a:xfrm>
            <a:custGeom>
              <a:avLst/>
              <a:gdLst>
                <a:gd name="T0" fmla="*/ 1 w 71"/>
                <a:gd name="T1" fmla="*/ 32 h 73"/>
                <a:gd name="T2" fmla="*/ 51 w 71"/>
                <a:gd name="T3" fmla="*/ 73 h 73"/>
                <a:gd name="T4" fmla="*/ 71 w 71"/>
                <a:gd name="T5" fmla="*/ 17 h 73"/>
                <a:gd name="T6" fmla="*/ 37 w 71"/>
                <a:gd name="T7" fmla="*/ 0 h 73"/>
                <a:gd name="T8" fmla="*/ 3 w 71"/>
                <a:gd name="T9" fmla="*/ 22 h 73"/>
                <a:gd name="T10" fmla="*/ 1 w 71"/>
                <a:gd name="T11" fmla="*/ 32 h 73"/>
              </a:gdLst>
              <a:ahLst/>
              <a:cxnLst>
                <a:cxn ang="0">
                  <a:pos x="T0" y="T1"/>
                </a:cxn>
                <a:cxn ang="0">
                  <a:pos x="T2" y="T3"/>
                </a:cxn>
                <a:cxn ang="0">
                  <a:pos x="T4" y="T5"/>
                </a:cxn>
                <a:cxn ang="0">
                  <a:pos x="T6" y="T7"/>
                </a:cxn>
                <a:cxn ang="0">
                  <a:pos x="T8" y="T9"/>
                </a:cxn>
                <a:cxn ang="0">
                  <a:pos x="T10" y="T11"/>
                </a:cxn>
              </a:cxnLst>
              <a:rect l="0" t="0" r="r" b="b"/>
              <a:pathLst>
                <a:path w="71" h="73">
                  <a:moveTo>
                    <a:pt x="1" y="32"/>
                  </a:moveTo>
                  <a:cubicBezTo>
                    <a:pt x="0" y="66"/>
                    <a:pt x="32" y="73"/>
                    <a:pt x="51" y="73"/>
                  </a:cubicBezTo>
                  <a:cubicBezTo>
                    <a:pt x="70" y="73"/>
                    <a:pt x="71" y="32"/>
                    <a:pt x="71" y="17"/>
                  </a:cubicBezTo>
                  <a:cubicBezTo>
                    <a:pt x="71" y="2"/>
                    <a:pt x="56" y="0"/>
                    <a:pt x="37" y="0"/>
                  </a:cubicBezTo>
                  <a:cubicBezTo>
                    <a:pt x="23" y="0"/>
                    <a:pt x="9" y="11"/>
                    <a:pt x="3" y="22"/>
                  </a:cubicBezTo>
                  <a:cubicBezTo>
                    <a:pt x="1" y="25"/>
                    <a:pt x="1" y="29"/>
                    <a:pt x="1" y="32"/>
                  </a:cubicBezTo>
                  <a:close/>
                </a:path>
              </a:pathLst>
            </a:custGeom>
            <a:solidFill>
              <a:srgbClr val="4137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4" name="Freeform 221"/>
            <p:cNvSpPr/>
            <p:nvPr/>
          </p:nvSpPr>
          <p:spPr bwMode="auto">
            <a:xfrm>
              <a:off x="10357810" y="2900080"/>
              <a:ext cx="280104" cy="488693"/>
            </a:xfrm>
            <a:custGeom>
              <a:avLst/>
              <a:gdLst>
                <a:gd name="T0" fmla="*/ 33 w 55"/>
                <a:gd name="T1" fmla="*/ 0 h 95"/>
                <a:gd name="T2" fmla="*/ 55 w 55"/>
                <a:gd name="T3" fmla="*/ 32 h 95"/>
                <a:gd name="T4" fmla="*/ 49 w 55"/>
                <a:gd name="T5" fmla="*/ 52 h 95"/>
                <a:gd name="T6" fmla="*/ 48 w 55"/>
                <a:gd name="T7" fmla="*/ 64 h 95"/>
                <a:gd name="T8" fmla="*/ 51 w 55"/>
                <a:gd name="T9" fmla="*/ 75 h 95"/>
                <a:gd name="T10" fmla="*/ 41 w 55"/>
                <a:gd name="T11" fmla="*/ 94 h 95"/>
                <a:gd name="T12" fmla="*/ 29 w 55"/>
                <a:gd name="T13" fmla="*/ 92 h 95"/>
                <a:gd name="T14" fmla="*/ 26 w 55"/>
                <a:gd name="T15" fmla="*/ 80 h 95"/>
                <a:gd name="T16" fmla="*/ 27 w 55"/>
                <a:gd name="T17" fmla="*/ 76 h 95"/>
                <a:gd name="T18" fmla="*/ 21 w 55"/>
                <a:gd name="T19" fmla="*/ 66 h 95"/>
                <a:gd name="T20" fmla="*/ 4 w 55"/>
                <a:gd name="T21" fmla="*/ 32 h 95"/>
                <a:gd name="T22" fmla="*/ 33 w 55"/>
                <a:gd name="T23"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95">
                  <a:moveTo>
                    <a:pt x="33" y="0"/>
                  </a:moveTo>
                  <a:cubicBezTo>
                    <a:pt x="49" y="0"/>
                    <a:pt x="55" y="11"/>
                    <a:pt x="55" y="32"/>
                  </a:cubicBezTo>
                  <a:cubicBezTo>
                    <a:pt x="55" y="39"/>
                    <a:pt x="52" y="47"/>
                    <a:pt x="49" y="52"/>
                  </a:cubicBezTo>
                  <a:cubicBezTo>
                    <a:pt x="47" y="55"/>
                    <a:pt x="46" y="60"/>
                    <a:pt x="48" y="64"/>
                  </a:cubicBezTo>
                  <a:cubicBezTo>
                    <a:pt x="51" y="75"/>
                    <a:pt x="51" y="75"/>
                    <a:pt x="51" y="75"/>
                  </a:cubicBezTo>
                  <a:cubicBezTo>
                    <a:pt x="53" y="86"/>
                    <a:pt x="48" y="92"/>
                    <a:pt x="41" y="94"/>
                  </a:cubicBezTo>
                  <a:cubicBezTo>
                    <a:pt x="37" y="95"/>
                    <a:pt x="32" y="94"/>
                    <a:pt x="29" y="92"/>
                  </a:cubicBezTo>
                  <a:cubicBezTo>
                    <a:pt x="25" y="90"/>
                    <a:pt x="25" y="84"/>
                    <a:pt x="26" y="80"/>
                  </a:cubicBezTo>
                  <a:cubicBezTo>
                    <a:pt x="27" y="76"/>
                    <a:pt x="27" y="76"/>
                    <a:pt x="27" y="76"/>
                  </a:cubicBezTo>
                  <a:cubicBezTo>
                    <a:pt x="28" y="72"/>
                    <a:pt x="25" y="67"/>
                    <a:pt x="21" y="66"/>
                  </a:cubicBezTo>
                  <a:cubicBezTo>
                    <a:pt x="9" y="64"/>
                    <a:pt x="7" y="51"/>
                    <a:pt x="4" y="32"/>
                  </a:cubicBezTo>
                  <a:cubicBezTo>
                    <a:pt x="0" y="11"/>
                    <a:pt x="18" y="0"/>
                    <a:pt x="33" y="0"/>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5" name="Freeform 222"/>
            <p:cNvSpPr/>
            <p:nvPr/>
          </p:nvSpPr>
          <p:spPr bwMode="auto">
            <a:xfrm>
              <a:off x="10295234" y="2840483"/>
              <a:ext cx="381419" cy="223487"/>
            </a:xfrm>
            <a:custGeom>
              <a:avLst/>
              <a:gdLst>
                <a:gd name="T0" fmla="*/ 9 w 75"/>
                <a:gd name="T1" fmla="*/ 3 h 44"/>
                <a:gd name="T2" fmla="*/ 18 w 75"/>
                <a:gd name="T3" fmla="*/ 6 h 44"/>
                <a:gd name="T4" fmla="*/ 28 w 75"/>
                <a:gd name="T5" fmla="*/ 6 h 44"/>
                <a:gd name="T6" fmla="*/ 46 w 75"/>
                <a:gd name="T7" fmla="*/ 0 h 44"/>
                <a:gd name="T8" fmla="*/ 72 w 75"/>
                <a:gd name="T9" fmla="*/ 22 h 44"/>
                <a:gd name="T10" fmla="*/ 70 w 75"/>
                <a:gd name="T11" fmla="*/ 33 h 44"/>
                <a:gd name="T12" fmla="*/ 61 w 75"/>
                <a:gd name="T13" fmla="*/ 41 h 44"/>
                <a:gd name="T14" fmla="*/ 58 w 75"/>
                <a:gd name="T15" fmla="*/ 44 h 44"/>
                <a:gd name="T16" fmla="*/ 55 w 75"/>
                <a:gd name="T17" fmla="*/ 40 h 44"/>
                <a:gd name="T18" fmla="*/ 46 w 75"/>
                <a:gd name="T19" fmla="*/ 30 h 44"/>
                <a:gd name="T20" fmla="*/ 27 w 75"/>
                <a:gd name="T21" fmla="*/ 30 h 44"/>
                <a:gd name="T22" fmla="*/ 0 w 75"/>
                <a:gd name="T23" fmla="*/ 13 h 44"/>
                <a:gd name="T24" fmla="*/ 0 w 75"/>
                <a:gd name="T25" fmla="*/ 11 h 44"/>
                <a:gd name="T26" fmla="*/ 9 w 75"/>
                <a:gd name="T2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5" h="44">
                  <a:moveTo>
                    <a:pt x="9" y="3"/>
                  </a:moveTo>
                  <a:cubicBezTo>
                    <a:pt x="18" y="6"/>
                    <a:pt x="18" y="6"/>
                    <a:pt x="18" y="6"/>
                  </a:cubicBezTo>
                  <a:cubicBezTo>
                    <a:pt x="21" y="7"/>
                    <a:pt x="25" y="7"/>
                    <a:pt x="28" y="6"/>
                  </a:cubicBezTo>
                  <a:cubicBezTo>
                    <a:pt x="46" y="0"/>
                    <a:pt x="46" y="0"/>
                    <a:pt x="46" y="0"/>
                  </a:cubicBezTo>
                  <a:cubicBezTo>
                    <a:pt x="57" y="0"/>
                    <a:pt x="75" y="7"/>
                    <a:pt x="72" y="22"/>
                  </a:cubicBezTo>
                  <a:cubicBezTo>
                    <a:pt x="70" y="33"/>
                    <a:pt x="70" y="33"/>
                    <a:pt x="70" y="33"/>
                  </a:cubicBezTo>
                  <a:cubicBezTo>
                    <a:pt x="70" y="38"/>
                    <a:pt x="66" y="41"/>
                    <a:pt x="61" y="41"/>
                  </a:cubicBezTo>
                  <a:cubicBezTo>
                    <a:pt x="61" y="43"/>
                    <a:pt x="60" y="44"/>
                    <a:pt x="58" y="44"/>
                  </a:cubicBezTo>
                  <a:cubicBezTo>
                    <a:pt x="56" y="44"/>
                    <a:pt x="55" y="42"/>
                    <a:pt x="55" y="40"/>
                  </a:cubicBezTo>
                  <a:cubicBezTo>
                    <a:pt x="55" y="35"/>
                    <a:pt x="51" y="31"/>
                    <a:pt x="46" y="30"/>
                  </a:cubicBezTo>
                  <a:cubicBezTo>
                    <a:pt x="40" y="29"/>
                    <a:pt x="34" y="28"/>
                    <a:pt x="27" y="30"/>
                  </a:cubicBezTo>
                  <a:cubicBezTo>
                    <a:pt x="15" y="34"/>
                    <a:pt x="2" y="26"/>
                    <a:pt x="0" y="13"/>
                  </a:cubicBezTo>
                  <a:cubicBezTo>
                    <a:pt x="0" y="12"/>
                    <a:pt x="0" y="11"/>
                    <a:pt x="0" y="11"/>
                  </a:cubicBezTo>
                  <a:cubicBezTo>
                    <a:pt x="0" y="5"/>
                    <a:pt x="5" y="2"/>
                    <a:pt x="9" y="3"/>
                  </a:cubicBezTo>
                  <a:close/>
                </a:path>
              </a:pathLst>
            </a:custGeom>
            <a:solidFill>
              <a:srgbClr val="4137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6" name="Freeform 223"/>
            <p:cNvSpPr/>
            <p:nvPr/>
          </p:nvSpPr>
          <p:spPr bwMode="auto">
            <a:xfrm>
              <a:off x="10590237" y="3019273"/>
              <a:ext cx="71516" cy="92375"/>
            </a:xfrm>
            <a:custGeom>
              <a:avLst/>
              <a:gdLst>
                <a:gd name="T0" fmla="*/ 0 w 14"/>
                <a:gd name="T1" fmla="*/ 9 h 18"/>
                <a:gd name="T2" fmla="*/ 7 w 14"/>
                <a:gd name="T3" fmla="*/ 18 h 18"/>
                <a:gd name="T4" fmla="*/ 14 w 14"/>
                <a:gd name="T5" fmla="*/ 6 h 18"/>
                <a:gd name="T6" fmla="*/ 7 w 14"/>
                <a:gd name="T7" fmla="*/ 0 h 18"/>
                <a:gd name="T8" fmla="*/ 0 w 14"/>
                <a:gd name="T9" fmla="*/ 9 h 18"/>
              </a:gdLst>
              <a:ahLst/>
              <a:cxnLst>
                <a:cxn ang="0">
                  <a:pos x="T0" y="T1"/>
                </a:cxn>
                <a:cxn ang="0">
                  <a:pos x="T2" y="T3"/>
                </a:cxn>
                <a:cxn ang="0">
                  <a:pos x="T4" y="T5"/>
                </a:cxn>
                <a:cxn ang="0">
                  <a:pos x="T6" y="T7"/>
                </a:cxn>
                <a:cxn ang="0">
                  <a:pos x="T8" y="T9"/>
                </a:cxn>
              </a:cxnLst>
              <a:rect l="0" t="0" r="r" b="b"/>
              <a:pathLst>
                <a:path w="14" h="18">
                  <a:moveTo>
                    <a:pt x="0" y="9"/>
                  </a:moveTo>
                  <a:cubicBezTo>
                    <a:pt x="0" y="14"/>
                    <a:pt x="2" y="18"/>
                    <a:pt x="7" y="18"/>
                  </a:cubicBezTo>
                  <a:cubicBezTo>
                    <a:pt x="11" y="18"/>
                    <a:pt x="14" y="11"/>
                    <a:pt x="14" y="6"/>
                  </a:cubicBezTo>
                  <a:cubicBezTo>
                    <a:pt x="14" y="1"/>
                    <a:pt x="11" y="0"/>
                    <a:pt x="7" y="0"/>
                  </a:cubicBezTo>
                  <a:cubicBezTo>
                    <a:pt x="2" y="0"/>
                    <a:pt x="0" y="4"/>
                    <a:pt x="0" y="9"/>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7" name="Freeform 224"/>
            <p:cNvSpPr/>
            <p:nvPr/>
          </p:nvSpPr>
          <p:spPr bwMode="auto">
            <a:xfrm>
              <a:off x="10396548" y="3055031"/>
              <a:ext cx="35758" cy="107274"/>
            </a:xfrm>
            <a:custGeom>
              <a:avLst/>
              <a:gdLst>
                <a:gd name="T0" fmla="*/ 0 w 7"/>
                <a:gd name="T1" fmla="*/ 16 h 21"/>
                <a:gd name="T2" fmla="*/ 4 w 7"/>
                <a:gd name="T3" fmla="*/ 21 h 21"/>
                <a:gd name="T4" fmla="*/ 7 w 7"/>
                <a:gd name="T5" fmla="*/ 17 h 21"/>
                <a:gd name="T6" fmla="*/ 7 w 7"/>
                <a:gd name="T7" fmla="*/ 2 h 21"/>
                <a:gd name="T8" fmla="*/ 7 w 7"/>
                <a:gd name="T9" fmla="*/ 0 h 21"/>
                <a:gd name="T10" fmla="*/ 5 w 7"/>
                <a:gd name="T11" fmla="*/ 0 h 21"/>
                <a:gd name="T12" fmla="*/ 4 w 7"/>
                <a:gd name="T13" fmla="*/ 1 h 21"/>
                <a:gd name="T14" fmla="*/ 0 w 7"/>
                <a:gd name="T15" fmla="*/ 16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21">
                  <a:moveTo>
                    <a:pt x="0" y="16"/>
                  </a:moveTo>
                  <a:cubicBezTo>
                    <a:pt x="0" y="18"/>
                    <a:pt x="1" y="21"/>
                    <a:pt x="4" y="21"/>
                  </a:cubicBezTo>
                  <a:cubicBezTo>
                    <a:pt x="6" y="21"/>
                    <a:pt x="7" y="19"/>
                    <a:pt x="7" y="17"/>
                  </a:cubicBezTo>
                  <a:cubicBezTo>
                    <a:pt x="7" y="2"/>
                    <a:pt x="7" y="2"/>
                    <a:pt x="7" y="2"/>
                  </a:cubicBezTo>
                  <a:cubicBezTo>
                    <a:pt x="7" y="1"/>
                    <a:pt x="7" y="1"/>
                    <a:pt x="7" y="0"/>
                  </a:cubicBezTo>
                  <a:cubicBezTo>
                    <a:pt x="6" y="0"/>
                    <a:pt x="6" y="0"/>
                    <a:pt x="5" y="0"/>
                  </a:cubicBezTo>
                  <a:cubicBezTo>
                    <a:pt x="4" y="0"/>
                    <a:pt x="4" y="0"/>
                    <a:pt x="4" y="1"/>
                  </a:cubicBezTo>
                  <a:lnTo>
                    <a:pt x="0" y="16"/>
                  </a:lnTo>
                  <a:close/>
                </a:path>
              </a:pathLst>
            </a:custGeom>
            <a:solidFill>
              <a:srgbClr val="FA96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8" name="Freeform 225"/>
            <p:cNvSpPr/>
            <p:nvPr/>
          </p:nvSpPr>
          <p:spPr bwMode="auto">
            <a:xfrm>
              <a:off x="10497862" y="3460288"/>
              <a:ext cx="163891" cy="694301"/>
            </a:xfrm>
            <a:custGeom>
              <a:avLst/>
              <a:gdLst>
                <a:gd name="T0" fmla="*/ 12 w 32"/>
                <a:gd name="T1" fmla="*/ 0 h 136"/>
                <a:gd name="T2" fmla="*/ 14 w 32"/>
                <a:gd name="T3" fmla="*/ 2 h 136"/>
                <a:gd name="T4" fmla="*/ 30 w 32"/>
                <a:gd name="T5" fmla="*/ 64 h 136"/>
                <a:gd name="T6" fmla="*/ 22 w 32"/>
                <a:gd name="T7" fmla="*/ 121 h 136"/>
                <a:gd name="T8" fmla="*/ 12 w 32"/>
                <a:gd name="T9" fmla="*/ 134 h 136"/>
                <a:gd name="T10" fmla="*/ 10 w 32"/>
                <a:gd name="T11" fmla="*/ 135 h 136"/>
                <a:gd name="T12" fmla="*/ 4 w 32"/>
                <a:gd name="T13" fmla="*/ 134 h 136"/>
                <a:gd name="T14" fmla="*/ 2 w 32"/>
                <a:gd name="T15" fmla="*/ 130 h 136"/>
                <a:gd name="T16" fmla="*/ 1 w 32"/>
                <a:gd name="T17" fmla="*/ 122 h 136"/>
                <a:gd name="T18" fmla="*/ 15 w 32"/>
                <a:gd name="T19" fmla="*/ 62 h 136"/>
                <a:gd name="T20" fmla="*/ 6 w 32"/>
                <a:gd name="T21" fmla="*/ 3 h 136"/>
                <a:gd name="T22" fmla="*/ 8 w 32"/>
                <a:gd name="T23" fmla="*/ 0 h 136"/>
                <a:gd name="T24" fmla="*/ 12 w 32"/>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136">
                  <a:moveTo>
                    <a:pt x="12" y="0"/>
                  </a:moveTo>
                  <a:cubicBezTo>
                    <a:pt x="13" y="0"/>
                    <a:pt x="14" y="1"/>
                    <a:pt x="14" y="2"/>
                  </a:cubicBezTo>
                  <a:cubicBezTo>
                    <a:pt x="17" y="10"/>
                    <a:pt x="28" y="45"/>
                    <a:pt x="30" y="64"/>
                  </a:cubicBezTo>
                  <a:cubicBezTo>
                    <a:pt x="32" y="79"/>
                    <a:pt x="26" y="107"/>
                    <a:pt x="22" y="121"/>
                  </a:cubicBezTo>
                  <a:cubicBezTo>
                    <a:pt x="21" y="126"/>
                    <a:pt x="17" y="131"/>
                    <a:pt x="12" y="134"/>
                  </a:cubicBezTo>
                  <a:cubicBezTo>
                    <a:pt x="10" y="135"/>
                    <a:pt x="10" y="135"/>
                    <a:pt x="10" y="135"/>
                  </a:cubicBezTo>
                  <a:cubicBezTo>
                    <a:pt x="8" y="136"/>
                    <a:pt x="5" y="136"/>
                    <a:pt x="4" y="134"/>
                  </a:cubicBezTo>
                  <a:cubicBezTo>
                    <a:pt x="2" y="130"/>
                    <a:pt x="2" y="130"/>
                    <a:pt x="2" y="130"/>
                  </a:cubicBezTo>
                  <a:cubicBezTo>
                    <a:pt x="0" y="128"/>
                    <a:pt x="0" y="124"/>
                    <a:pt x="1" y="122"/>
                  </a:cubicBezTo>
                  <a:cubicBezTo>
                    <a:pt x="5" y="111"/>
                    <a:pt x="16" y="81"/>
                    <a:pt x="15" y="62"/>
                  </a:cubicBezTo>
                  <a:cubicBezTo>
                    <a:pt x="15" y="55"/>
                    <a:pt x="8" y="13"/>
                    <a:pt x="6" y="3"/>
                  </a:cubicBezTo>
                  <a:cubicBezTo>
                    <a:pt x="6" y="2"/>
                    <a:pt x="7" y="0"/>
                    <a:pt x="8" y="0"/>
                  </a:cubicBezTo>
                  <a:lnTo>
                    <a:pt x="12" y="0"/>
                  </a:lnTo>
                  <a:close/>
                </a:path>
              </a:pathLst>
            </a:custGeom>
            <a:solidFill>
              <a:srgbClr val="AFE6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9" name="Freeform 226"/>
            <p:cNvSpPr/>
            <p:nvPr/>
          </p:nvSpPr>
          <p:spPr bwMode="auto">
            <a:xfrm>
              <a:off x="10474024" y="3433470"/>
              <a:ext cx="166871" cy="697281"/>
            </a:xfrm>
            <a:custGeom>
              <a:avLst/>
              <a:gdLst>
                <a:gd name="T0" fmla="*/ 15 w 33"/>
                <a:gd name="T1" fmla="*/ 0 h 136"/>
                <a:gd name="T2" fmla="*/ 17 w 33"/>
                <a:gd name="T3" fmla="*/ 2 h 136"/>
                <a:gd name="T4" fmla="*/ 31 w 33"/>
                <a:gd name="T5" fmla="*/ 64 h 136"/>
                <a:gd name="T6" fmla="*/ 22 w 33"/>
                <a:gd name="T7" fmla="*/ 121 h 136"/>
                <a:gd name="T8" fmla="*/ 12 w 33"/>
                <a:gd name="T9" fmla="*/ 134 h 136"/>
                <a:gd name="T10" fmla="*/ 9 w 33"/>
                <a:gd name="T11" fmla="*/ 135 h 136"/>
                <a:gd name="T12" fmla="*/ 4 w 33"/>
                <a:gd name="T13" fmla="*/ 133 h 136"/>
                <a:gd name="T14" fmla="*/ 2 w 33"/>
                <a:gd name="T15" fmla="*/ 130 h 136"/>
                <a:gd name="T16" fmla="*/ 1 w 33"/>
                <a:gd name="T17" fmla="*/ 121 h 136"/>
                <a:gd name="T18" fmla="*/ 16 w 33"/>
                <a:gd name="T19" fmla="*/ 62 h 136"/>
                <a:gd name="T20" fmla="*/ 9 w 33"/>
                <a:gd name="T21" fmla="*/ 3 h 136"/>
                <a:gd name="T22" fmla="*/ 11 w 33"/>
                <a:gd name="T23" fmla="*/ 0 h 136"/>
                <a:gd name="T24" fmla="*/ 15 w 33"/>
                <a:gd name="T25" fmla="*/ 0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136">
                  <a:moveTo>
                    <a:pt x="15" y="0"/>
                  </a:moveTo>
                  <a:cubicBezTo>
                    <a:pt x="16" y="0"/>
                    <a:pt x="17" y="1"/>
                    <a:pt x="17" y="2"/>
                  </a:cubicBezTo>
                  <a:cubicBezTo>
                    <a:pt x="19" y="10"/>
                    <a:pt x="29" y="45"/>
                    <a:pt x="31" y="64"/>
                  </a:cubicBezTo>
                  <a:cubicBezTo>
                    <a:pt x="33" y="80"/>
                    <a:pt x="26" y="107"/>
                    <a:pt x="22" y="121"/>
                  </a:cubicBezTo>
                  <a:cubicBezTo>
                    <a:pt x="21" y="126"/>
                    <a:pt x="17" y="131"/>
                    <a:pt x="12" y="134"/>
                  </a:cubicBezTo>
                  <a:cubicBezTo>
                    <a:pt x="9" y="135"/>
                    <a:pt x="9" y="135"/>
                    <a:pt x="9" y="135"/>
                  </a:cubicBezTo>
                  <a:cubicBezTo>
                    <a:pt x="7" y="136"/>
                    <a:pt x="5" y="135"/>
                    <a:pt x="4" y="133"/>
                  </a:cubicBezTo>
                  <a:cubicBezTo>
                    <a:pt x="2" y="130"/>
                    <a:pt x="2" y="130"/>
                    <a:pt x="2" y="130"/>
                  </a:cubicBezTo>
                  <a:cubicBezTo>
                    <a:pt x="0" y="127"/>
                    <a:pt x="0" y="124"/>
                    <a:pt x="1" y="121"/>
                  </a:cubicBezTo>
                  <a:cubicBezTo>
                    <a:pt x="6" y="110"/>
                    <a:pt x="17" y="81"/>
                    <a:pt x="16" y="62"/>
                  </a:cubicBezTo>
                  <a:cubicBezTo>
                    <a:pt x="16" y="55"/>
                    <a:pt x="10" y="13"/>
                    <a:pt x="9" y="3"/>
                  </a:cubicBezTo>
                  <a:cubicBezTo>
                    <a:pt x="9" y="1"/>
                    <a:pt x="10" y="0"/>
                    <a:pt x="11" y="0"/>
                  </a:cubicBezTo>
                  <a:lnTo>
                    <a:pt x="15" y="0"/>
                  </a:lnTo>
                  <a:close/>
                </a:path>
              </a:pathLst>
            </a:custGeom>
            <a:solidFill>
              <a:srgbClr val="5159B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0" name="Freeform 227"/>
            <p:cNvSpPr/>
            <p:nvPr/>
          </p:nvSpPr>
          <p:spPr bwMode="auto">
            <a:xfrm>
              <a:off x="10509782" y="3382813"/>
              <a:ext cx="56617" cy="56617"/>
            </a:xfrm>
            <a:custGeom>
              <a:avLst/>
              <a:gdLst>
                <a:gd name="T0" fmla="*/ 2 w 11"/>
                <a:gd name="T1" fmla="*/ 11 h 11"/>
                <a:gd name="T2" fmla="*/ 9 w 11"/>
                <a:gd name="T3" fmla="*/ 11 h 11"/>
                <a:gd name="T4" fmla="*/ 11 w 11"/>
                <a:gd name="T5" fmla="*/ 9 h 11"/>
                <a:gd name="T6" fmla="*/ 11 w 11"/>
                <a:gd name="T7" fmla="*/ 3 h 11"/>
                <a:gd name="T8" fmla="*/ 9 w 11"/>
                <a:gd name="T9" fmla="*/ 1 h 11"/>
                <a:gd name="T10" fmla="*/ 3 w 11"/>
                <a:gd name="T11" fmla="*/ 0 h 11"/>
                <a:gd name="T12" fmla="*/ 0 w 11"/>
                <a:gd name="T13" fmla="*/ 3 h 11"/>
                <a:gd name="T14" fmla="*/ 0 w 11"/>
                <a:gd name="T15" fmla="*/ 9 h 11"/>
                <a:gd name="T16" fmla="*/ 2 w 11"/>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11">
                  <a:moveTo>
                    <a:pt x="2" y="11"/>
                  </a:moveTo>
                  <a:cubicBezTo>
                    <a:pt x="9" y="11"/>
                    <a:pt x="9" y="11"/>
                    <a:pt x="9" y="11"/>
                  </a:cubicBezTo>
                  <a:cubicBezTo>
                    <a:pt x="10" y="11"/>
                    <a:pt x="11" y="10"/>
                    <a:pt x="11" y="9"/>
                  </a:cubicBezTo>
                  <a:cubicBezTo>
                    <a:pt x="11" y="3"/>
                    <a:pt x="11" y="3"/>
                    <a:pt x="11" y="3"/>
                  </a:cubicBezTo>
                  <a:cubicBezTo>
                    <a:pt x="11" y="1"/>
                    <a:pt x="10" y="1"/>
                    <a:pt x="9" y="1"/>
                  </a:cubicBezTo>
                  <a:cubicBezTo>
                    <a:pt x="3" y="0"/>
                    <a:pt x="3" y="0"/>
                    <a:pt x="3" y="0"/>
                  </a:cubicBezTo>
                  <a:cubicBezTo>
                    <a:pt x="2" y="0"/>
                    <a:pt x="0" y="1"/>
                    <a:pt x="0" y="3"/>
                  </a:cubicBezTo>
                  <a:cubicBezTo>
                    <a:pt x="0" y="9"/>
                    <a:pt x="0" y="9"/>
                    <a:pt x="0" y="9"/>
                  </a:cubicBezTo>
                  <a:cubicBezTo>
                    <a:pt x="0" y="10"/>
                    <a:pt x="1" y="11"/>
                    <a:pt x="2" y="11"/>
                  </a:cubicBezTo>
                  <a:close/>
                </a:path>
              </a:pathLst>
            </a:custGeom>
            <a:solidFill>
              <a:srgbClr val="5159B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1" name="Freeform 228"/>
            <p:cNvSpPr/>
            <p:nvPr/>
          </p:nvSpPr>
          <p:spPr bwMode="auto">
            <a:xfrm>
              <a:off x="10554479" y="3281498"/>
              <a:ext cx="119193" cy="178790"/>
            </a:xfrm>
            <a:custGeom>
              <a:avLst/>
              <a:gdLst>
                <a:gd name="T0" fmla="*/ 12 w 23"/>
                <a:gd name="T1" fmla="*/ 0 h 35"/>
                <a:gd name="T2" fmla="*/ 23 w 23"/>
                <a:gd name="T3" fmla="*/ 2 h 35"/>
                <a:gd name="T4" fmla="*/ 12 w 23"/>
                <a:gd name="T5" fmla="*/ 34 h 35"/>
                <a:gd name="T6" fmla="*/ 9 w 23"/>
                <a:gd name="T7" fmla="*/ 34 h 35"/>
                <a:gd name="T8" fmla="*/ 1 w 23"/>
                <a:gd name="T9" fmla="*/ 23 h 35"/>
                <a:gd name="T10" fmla="*/ 1 w 23"/>
                <a:gd name="T11" fmla="*/ 18 h 35"/>
                <a:gd name="T12" fmla="*/ 12 w 23"/>
                <a:gd name="T13" fmla="*/ 0 h 35"/>
              </a:gdLst>
              <a:ahLst/>
              <a:cxnLst>
                <a:cxn ang="0">
                  <a:pos x="T0" y="T1"/>
                </a:cxn>
                <a:cxn ang="0">
                  <a:pos x="T2" y="T3"/>
                </a:cxn>
                <a:cxn ang="0">
                  <a:pos x="T4" y="T5"/>
                </a:cxn>
                <a:cxn ang="0">
                  <a:pos x="T6" y="T7"/>
                </a:cxn>
                <a:cxn ang="0">
                  <a:pos x="T8" y="T9"/>
                </a:cxn>
                <a:cxn ang="0">
                  <a:pos x="T10" y="T11"/>
                </a:cxn>
                <a:cxn ang="0">
                  <a:pos x="T12" y="T13"/>
                </a:cxn>
              </a:cxnLst>
              <a:rect l="0" t="0" r="r" b="b"/>
              <a:pathLst>
                <a:path w="23" h="35">
                  <a:moveTo>
                    <a:pt x="12" y="0"/>
                  </a:moveTo>
                  <a:cubicBezTo>
                    <a:pt x="23" y="2"/>
                    <a:pt x="23" y="2"/>
                    <a:pt x="23" y="2"/>
                  </a:cubicBezTo>
                  <a:cubicBezTo>
                    <a:pt x="23" y="2"/>
                    <a:pt x="21" y="20"/>
                    <a:pt x="12" y="34"/>
                  </a:cubicBezTo>
                  <a:cubicBezTo>
                    <a:pt x="11" y="35"/>
                    <a:pt x="9" y="35"/>
                    <a:pt x="9" y="34"/>
                  </a:cubicBezTo>
                  <a:cubicBezTo>
                    <a:pt x="1" y="23"/>
                    <a:pt x="1" y="23"/>
                    <a:pt x="1" y="23"/>
                  </a:cubicBezTo>
                  <a:cubicBezTo>
                    <a:pt x="0" y="21"/>
                    <a:pt x="0" y="20"/>
                    <a:pt x="1" y="18"/>
                  </a:cubicBezTo>
                  <a:lnTo>
                    <a:pt x="1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2" name="Freeform 229"/>
            <p:cNvSpPr/>
            <p:nvPr/>
          </p:nvSpPr>
          <p:spPr bwMode="auto">
            <a:xfrm>
              <a:off x="10429326" y="3305337"/>
              <a:ext cx="95355" cy="148992"/>
            </a:xfrm>
            <a:custGeom>
              <a:avLst/>
              <a:gdLst>
                <a:gd name="T0" fmla="*/ 12 w 19"/>
                <a:gd name="T1" fmla="*/ 0 h 29"/>
                <a:gd name="T2" fmla="*/ 1 w 19"/>
                <a:gd name="T3" fmla="*/ 3 h 29"/>
                <a:gd name="T4" fmla="*/ 9 w 19"/>
                <a:gd name="T5" fmla="*/ 28 h 29"/>
                <a:gd name="T6" fmla="*/ 12 w 19"/>
                <a:gd name="T7" fmla="*/ 28 h 29"/>
                <a:gd name="T8" fmla="*/ 18 w 19"/>
                <a:gd name="T9" fmla="*/ 17 h 29"/>
                <a:gd name="T10" fmla="*/ 19 w 19"/>
                <a:gd name="T11" fmla="*/ 14 h 29"/>
                <a:gd name="T12" fmla="*/ 12 w 19"/>
                <a:gd name="T13" fmla="*/ 0 h 29"/>
              </a:gdLst>
              <a:ahLst/>
              <a:cxnLst>
                <a:cxn ang="0">
                  <a:pos x="T0" y="T1"/>
                </a:cxn>
                <a:cxn ang="0">
                  <a:pos x="T2" y="T3"/>
                </a:cxn>
                <a:cxn ang="0">
                  <a:pos x="T4" y="T5"/>
                </a:cxn>
                <a:cxn ang="0">
                  <a:pos x="T6" y="T7"/>
                </a:cxn>
                <a:cxn ang="0">
                  <a:pos x="T8" y="T9"/>
                </a:cxn>
                <a:cxn ang="0">
                  <a:pos x="T10" y="T11"/>
                </a:cxn>
                <a:cxn ang="0">
                  <a:pos x="T12" y="T13"/>
                </a:cxn>
              </a:cxnLst>
              <a:rect l="0" t="0" r="r" b="b"/>
              <a:pathLst>
                <a:path w="19" h="29">
                  <a:moveTo>
                    <a:pt x="12" y="0"/>
                  </a:moveTo>
                  <a:cubicBezTo>
                    <a:pt x="1" y="3"/>
                    <a:pt x="1" y="3"/>
                    <a:pt x="1" y="3"/>
                  </a:cubicBezTo>
                  <a:cubicBezTo>
                    <a:pt x="1" y="3"/>
                    <a:pt x="0" y="15"/>
                    <a:pt x="9" y="28"/>
                  </a:cubicBezTo>
                  <a:cubicBezTo>
                    <a:pt x="10" y="29"/>
                    <a:pt x="11" y="29"/>
                    <a:pt x="12" y="28"/>
                  </a:cubicBezTo>
                  <a:cubicBezTo>
                    <a:pt x="18" y="17"/>
                    <a:pt x="18" y="17"/>
                    <a:pt x="18" y="17"/>
                  </a:cubicBezTo>
                  <a:cubicBezTo>
                    <a:pt x="19" y="16"/>
                    <a:pt x="19" y="15"/>
                    <a:pt x="19" y="14"/>
                  </a:cubicBezTo>
                  <a:lnTo>
                    <a:pt x="12" y="0"/>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3" name="Freeform 230"/>
            <p:cNvSpPr>
              <a:spLocks noEditPoints="1"/>
            </p:cNvSpPr>
            <p:nvPr/>
          </p:nvSpPr>
          <p:spPr bwMode="auto">
            <a:xfrm>
              <a:off x="9457901" y="3391752"/>
              <a:ext cx="1144256" cy="1147236"/>
            </a:xfrm>
            <a:custGeom>
              <a:avLst/>
              <a:gdLst>
                <a:gd name="T0" fmla="*/ 224 w 224"/>
                <a:gd name="T1" fmla="*/ 100 h 224"/>
                <a:gd name="T2" fmla="*/ 206 w 224"/>
                <a:gd name="T3" fmla="*/ 90 h 224"/>
                <a:gd name="T4" fmla="*/ 192 w 224"/>
                <a:gd name="T5" fmla="*/ 73 h 224"/>
                <a:gd name="T6" fmla="*/ 199 w 224"/>
                <a:gd name="T7" fmla="*/ 55 h 224"/>
                <a:gd name="T8" fmla="*/ 183 w 224"/>
                <a:gd name="T9" fmla="*/ 24 h 224"/>
                <a:gd name="T10" fmla="*/ 163 w 224"/>
                <a:gd name="T11" fmla="*/ 30 h 224"/>
                <a:gd name="T12" fmla="*/ 141 w 224"/>
                <a:gd name="T13" fmla="*/ 28 h 224"/>
                <a:gd name="T14" fmla="*/ 134 w 224"/>
                <a:gd name="T15" fmla="*/ 10 h 224"/>
                <a:gd name="T16" fmla="*/ 100 w 224"/>
                <a:gd name="T17" fmla="*/ 0 h 224"/>
                <a:gd name="T18" fmla="*/ 90 w 224"/>
                <a:gd name="T19" fmla="*/ 17 h 224"/>
                <a:gd name="T20" fmla="*/ 73 w 224"/>
                <a:gd name="T21" fmla="*/ 32 h 224"/>
                <a:gd name="T22" fmla="*/ 55 w 224"/>
                <a:gd name="T23" fmla="*/ 24 h 224"/>
                <a:gd name="T24" fmla="*/ 24 w 224"/>
                <a:gd name="T25" fmla="*/ 41 h 224"/>
                <a:gd name="T26" fmla="*/ 30 w 224"/>
                <a:gd name="T27" fmla="*/ 60 h 224"/>
                <a:gd name="T28" fmla="*/ 28 w 224"/>
                <a:gd name="T29" fmla="*/ 83 h 224"/>
                <a:gd name="T30" fmla="*/ 10 w 224"/>
                <a:gd name="T31" fmla="*/ 90 h 224"/>
                <a:gd name="T32" fmla="*/ 0 w 224"/>
                <a:gd name="T33" fmla="*/ 124 h 224"/>
                <a:gd name="T34" fmla="*/ 17 w 224"/>
                <a:gd name="T35" fmla="*/ 134 h 224"/>
                <a:gd name="T36" fmla="*/ 32 w 224"/>
                <a:gd name="T37" fmla="*/ 151 h 224"/>
                <a:gd name="T38" fmla="*/ 24 w 224"/>
                <a:gd name="T39" fmla="*/ 168 h 224"/>
                <a:gd name="T40" fmla="*/ 41 w 224"/>
                <a:gd name="T41" fmla="*/ 199 h 224"/>
                <a:gd name="T42" fmla="*/ 60 w 224"/>
                <a:gd name="T43" fmla="*/ 194 h 224"/>
                <a:gd name="T44" fmla="*/ 83 w 224"/>
                <a:gd name="T45" fmla="*/ 196 h 224"/>
                <a:gd name="T46" fmla="*/ 90 w 224"/>
                <a:gd name="T47" fmla="*/ 214 h 224"/>
                <a:gd name="T48" fmla="*/ 124 w 224"/>
                <a:gd name="T49" fmla="*/ 224 h 224"/>
                <a:gd name="T50" fmla="*/ 134 w 224"/>
                <a:gd name="T51" fmla="*/ 206 h 224"/>
                <a:gd name="T52" fmla="*/ 151 w 224"/>
                <a:gd name="T53" fmla="*/ 192 h 224"/>
                <a:gd name="T54" fmla="*/ 168 w 224"/>
                <a:gd name="T55" fmla="*/ 199 h 224"/>
                <a:gd name="T56" fmla="*/ 199 w 224"/>
                <a:gd name="T57" fmla="*/ 182 h 224"/>
                <a:gd name="T58" fmla="*/ 194 w 224"/>
                <a:gd name="T59" fmla="*/ 163 h 224"/>
                <a:gd name="T60" fmla="*/ 196 w 224"/>
                <a:gd name="T61" fmla="*/ 141 h 224"/>
                <a:gd name="T62" fmla="*/ 214 w 224"/>
                <a:gd name="T63" fmla="*/ 134 h 224"/>
                <a:gd name="T64" fmla="*/ 116 w 224"/>
                <a:gd name="T65" fmla="*/ 165 h 224"/>
                <a:gd name="T66" fmla="*/ 107 w 224"/>
                <a:gd name="T67" fmla="*/ 58 h 224"/>
                <a:gd name="T68" fmla="*/ 116 w 224"/>
                <a:gd name="T69" fmla="*/ 165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4" h="224">
                  <a:moveTo>
                    <a:pt x="224" y="124"/>
                  </a:moveTo>
                  <a:cubicBezTo>
                    <a:pt x="224" y="100"/>
                    <a:pt x="224" y="100"/>
                    <a:pt x="224" y="100"/>
                  </a:cubicBezTo>
                  <a:cubicBezTo>
                    <a:pt x="224" y="94"/>
                    <a:pt x="219" y="90"/>
                    <a:pt x="214" y="90"/>
                  </a:cubicBezTo>
                  <a:cubicBezTo>
                    <a:pt x="206" y="90"/>
                    <a:pt x="206" y="90"/>
                    <a:pt x="206" y="90"/>
                  </a:cubicBezTo>
                  <a:cubicBezTo>
                    <a:pt x="202" y="90"/>
                    <a:pt x="197" y="87"/>
                    <a:pt x="196" y="83"/>
                  </a:cubicBezTo>
                  <a:cubicBezTo>
                    <a:pt x="195" y="79"/>
                    <a:pt x="193" y="76"/>
                    <a:pt x="192" y="73"/>
                  </a:cubicBezTo>
                  <a:cubicBezTo>
                    <a:pt x="190" y="69"/>
                    <a:pt x="191" y="64"/>
                    <a:pt x="194" y="60"/>
                  </a:cubicBezTo>
                  <a:cubicBezTo>
                    <a:pt x="199" y="55"/>
                    <a:pt x="199" y="55"/>
                    <a:pt x="199" y="55"/>
                  </a:cubicBezTo>
                  <a:cubicBezTo>
                    <a:pt x="203" y="51"/>
                    <a:pt x="203" y="45"/>
                    <a:pt x="199" y="41"/>
                  </a:cubicBezTo>
                  <a:cubicBezTo>
                    <a:pt x="183" y="24"/>
                    <a:pt x="183" y="24"/>
                    <a:pt x="183" y="24"/>
                  </a:cubicBezTo>
                  <a:cubicBezTo>
                    <a:pt x="179" y="20"/>
                    <a:pt x="172" y="20"/>
                    <a:pt x="168" y="24"/>
                  </a:cubicBezTo>
                  <a:cubicBezTo>
                    <a:pt x="163" y="30"/>
                    <a:pt x="163" y="30"/>
                    <a:pt x="163" y="30"/>
                  </a:cubicBezTo>
                  <a:cubicBezTo>
                    <a:pt x="160" y="33"/>
                    <a:pt x="155" y="34"/>
                    <a:pt x="151" y="32"/>
                  </a:cubicBezTo>
                  <a:cubicBezTo>
                    <a:pt x="148" y="30"/>
                    <a:pt x="144" y="29"/>
                    <a:pt x="141" y="28"/>
                  </a:cubicBezTo>
                  <a:cubicBezTo>
                    <a:pt x="136" y="26"/>
                    <a:pt x="134" y="22"/>
                    <a:pt x="134" y="17"/>
                  </a:cubicBezTo>
                  <a:cubicBezTo>
                    <a:pt x="134" y="10"/>
                    <a:pt x="134" y="10"/>
                    <a:pt x="134" y="10"/>
                  </a:cubicBezTo>
                  <a:cubicBezTo>
                    <a:pt x="134" y="4"/>
                    <a:pt x="129" y="0"/>
                    <a:pt x="124" y="0"/>
                  </a:cubicBezTo>
                  <a:cubicBezTo>
                    <a:pt x="100" y="0"/>
                    <a:pt x="100" y="0"/>
                    <a:pt x="100" y="0"/>
                  </a:cubicBezTo>
                  <a:cubicBezTo>
                    <a:pt x="94" y="0"/>
                    <a:pt x="90" y="4"/>
                    <a:pt x="90" y="10"/>
                  </a:cubicBezTo>
                  <a:cubicBezTo>
                    <a:pt x="90" y="17"/>
                    <a:pt x="90" y="17"/>
                    <a:pt x="90" y="17"/>
                  </a:cubicBezTo>
                  <a:cubicBezTo>
                    <a:pt x="90" y="22"/>
                    <a:pt x="87" y="26"/>
                    <a:pt x="83" y="28"/>
                  </a:cubicBezTo>
                  <a:cubicBezTo>
                    <a:pt x="79" y="29"/>
                    <a:pt x="76" y="30"/>
                    <a:pt x="73" y="32"/>
                  </a:cubicBezTo>
                  <a:cubicBezTo>
                    <a:pt x="69" y="34"/>
                    <a:pt x="64" y="33"/>
                    <a:pt x="60" y="30"/>
                  </a:cubicBezTo>
                  <a:cubicBezTo>
                    <a:pt x="55" y="24"/>
                    <a:pt x="55" y="24"/>
                    <a:pt x="55" y="24"/>
                  </a:cubicBezTo>
                  <a:cubicBezTo>
                    <a:pt x="51" y="20"/>
                    <a:pt x="45" y="20"/>
                    <a:pt x="41" y="24"/>
                  </a:cubicBezTo>
                  <a:cubicBezTo>
                    <a:pt x="24" y="41"/>
                    <a:pt x="24" y="41"/>
                    <a:pt x="24" y="41"/>
                  </a:cubicBezTo>
                  <a:cubicBezTo>
                    <a:pt x="20" y="45"/>
                    <a:pt x="20" y="51"/>
                    <a:pt x="24" y="55"/>
                  </a:cubicBezTo>
                  <a:cubicBezTo>
                    <a:pt x="30" y="60"/>
                    <a:pt x="30" y="60"/>
                    <a:pt x="30" y="60"/>
                  </a:cubicBezTo>
                  <a:cubicBezTo>
                    <a:pt x="33" y="64"/>
                    <a:pt x="34" y="69"/>
                    <a:pt x="32" y="73"/>
                  </a:cubicBezTo>
                  <a:cubicBezTo>
                    <a:pt x="30" y="76"/>
                    <a:pt x="29" y="79"/>
                    <a:pt x="28" y="83"/>
                  </a:cubicBezTo>
                  <a:cubicBezTo>
                    <a:pt x="26" y="87"/>
                    <a:pt x="22" y="90"/>
                    <a:pt x="17" y="90"/>
                  </a:cubicBezTo>
                  <a:cubicBezTo>
                    <a:pt x="10" y="90"/>
                    <a:pt x="10" y="90"/>
                    <a:pt x="10" y="90"/>
                  </a:cubicBezTo>
                  <a:cubicBezTo>
                    <a:pt x="4" y="90"/>
                    <a:pt x="0" y="94"/>
                    <a:pt x="0" y="100"/>
                  </a:cubicBezTo>
                  <a:cubicBezTo>
                    <a:pt x="0" y="124"/>
                    <a:pt x="0" y="124"/>
                    <a:pt x="0" y="124"/>
                  </a:cubicBezTo>
                  <a:cubicBezTo>
                    <a:pt x="0" y="129"/>
                    <a:pt x="4" y="134"/>
                    <a:pt x="10" y="134"/>
                  </a:cubicBezTo>
                  <a:cubicBezTo>
                    <a:pt x="17" y="134"/>
                    <a:pt x="17" y="134"/>
                    <a:pt x="17" y="134"/>
                  </a:cubicBezTo>
                  <a:cubicBezTo>
                    <a:pt x="22" y="134"/>
                    <a:pt x="26" y="136"/>
                    <a:pt x="28" y="141"/>
                  </a:cubicBezTo>
                  <a:cubicBezTo>
                    <a:pt x="29" y="144"/>
                    <a:pt x="30" y="148"/>
                    <a:pt x="32" y="151"/>
                  </a:cubicBezTo>
                  <a:cubicBezTo>
                    <a:pt x="34" y="155"/>
                    <a:pt x="33" y="160"/>
                    <a:pt x="30" y="163"/>
                  </a:cubicBezTo>
                  <a:cubicBezTo>
                    <a:pt x="24" y="168"/>
                    <a:pt x="24" y="168"/>
                    <a:pt x="24" y="168"/>
                  </a:cubicBezTo>
                  <a:cubicBezTo>
                    <a:pt x="20" y="172"/>
                    <a:pt x="20" y="179"/>
                    <a:pt x="24" y="182"/>
                  </a:cubicBezTo>
                  <a:cubicBezTo>
                    <a:pt x="41" y="199"/>
                    <a:pt x="41" y="199"/>
                    <a:pt x="41" y="199"/>
                  </a:cubicBezTo>
                  <a:cubicBezTo>
                    <a:pt x="45" y="203"/>
                    <a:pt x="51" y="203"/>
                    <a:pt x="55" y="199"/>
                  </a:cubicBezTo>
                  <a:cubicBezTo>
                    <a:pt x="60" y="194"/>
                    <a:pt x="60" y="194"/>
                    <a:pt x="60" y="194"/>
                  </a:cubicBezTo>
                  <a:cubicBezTo>
                    <a:pt x="64" y="191"/>
                    <a:pt x="69" y="190"/>
                    <a:pt x="73" y="192"/>
                  </a:cubicBezTo>
                  <a:cubicBezTo>
                    <a:pt x="76" y="193"/>
                    <a:pt x="79" y="195"/>
                    <a:pt x="83" y="196"/>
                  </a:cubicBezTo>
                  <a:cubicBezTo>
                    <a:pt x="87" y="197"/>
                    <a:pt x="90" y="202"/>
                    <a:pt x="90" y="206"/>
                  </a:cubicBezTo>
                  <a:cubicBezTo>
                    <a:pt x="90" y="214"/>
                    <a:pt x="90" y="214"/>
                    <a:pt x="90" y="214"/>
                  </a:cubicBezTo>
                  <a:cubicBezTo>
                    <a:pt x="90" y="219"/>
                    <a:pt x="94" y="224"/>
                    <a:pt x="100" y="224"/>
                  </a:cubicBezTo>
                  <a:cubicBezTo>
                    <a:pt x="124" y="224"/>
                    <a:pt x="124" y="224"/>
                    <a:pt x="124" y="224"/>
                  </a:cubicBezTo>
                  <a:cubicBezTo>
                    <a:pt x="129" y="224"/>
                    <a:pt x="134" y="219"/>
                    <a:pt x="134" y="214"/>
                  </a:cubicBezTo>
                  <a:cubicBezTo>
                    <a:pt x="134" y="206"/>
                    <a:pt x="134" y="206"/>
                    <a:pt x="134" y="206"/>
                  </a:cubicBezTo>
                  <a:cubicBezTo>
                    <a:pt x="134" y="202"/>
                    <a:pt x="136" y="197"/>
                    <a:pt x="141" y="196"/>
                  </a:cubicBezTo>
                  <a:cubicBezTo>
                    <a:pt x="144" y="195"/>
                    <a:pt x="148" y="193"/>
                    <a:pt x="151" y="192"/>
                  </a:cubicBezTo>
                  <a:cubicBezTo>
                    <a:pt x="155" y="190"/>
                    <a:pt x="160" y="191"/>
                    <a:pt x="163" y="194"/>
                  </a:cubicBezTo>
                  <a:cubicBezTo>
                    <a:pt x="168" y="199"/>
                    <a:pt x="168" y="199"/>
                    <a:pt x="168" y="199"/>
                  </a:cubicBezTo>
                  <a:cubicBezTo>
                    <a:pt x="172" y="203"/>
                    <a:pt x="179" y="203"/>
                    <a:pt x="183" y="199"/>
                  </a:cubicBezTo>
                  <a:cubicBezTo>
                    <a:pt x="199" y="182"/>
                    <a:pt x="199" y="182"/>
                    <a:pt x="199" y="182"/>
                  </a:cubicBezTo>
                  <a:cubicBezTo>
                    <a:pt x="203" y="179"/>
                    <a:pt x="203" y="172"/>
                    <a:pt x="199" y="168"/>
                  </a:cubicBezTo>
                  <a:cubicBezTo>
                    <a:pt x="194" y="163"/>
                    <a:pt x="194" y="163"/>
                    <a:pt x="194" y="163"/>
                  </a:cubicBezTo>
                  <a:cubicBezTo>
                    <a:pt x="191" y="160"/>
                    <a:pt x="190" y="155"/>
                    <a:pt x="192" y="151"/>
                  </a:cubicBezTo>
                  <a:cubicBezTo>
                    <a:pt x="193" y="148"/>
                    <a:pt x="195" y="144"/>
                    <a:pt x="196" y="141"/>
                  </a:cubicBezTo>
                  <a:cubicBezTo>
                    <a:pt x="197" y="136"/>
                    <a:pt x="202" y="134"/>
                    <a:pt x="206" y="134"/>
                  </a:cubicBezTo>
                  <a:cubicBezTo>
                    <a:pt x="214" y="134"/>
                    <a:pt x="214" y="134"/>
                    <a:pt x="214" y="134"/>
                  </a:cubicBezTo>
                  <a:cubicBezTo>
                    <a:pt x="219" y="134"/>
                    <a:pt x="224" y="129"/>
                    <a:pt x="224" y="124"/>
                  </a:cubicBezTo>
                  <a:close/>
                  <a:moveTo>
                    <a:pt x="116" y="165"/>
                  </a:moveTo>
                  <a:cubicBezTo>
                    <a:pt x="83" y="168"/>
                    <a:pt x="56" y="141"/>
                    <a:pt x="58" y="107"/>
                  </a:cubicBezTo>
                  <a:cubicBezTo>
                    <a:pt x="60" y="81"/>
                    <a:pt x="81" y="60"/>
                    <a:pt x="107" y="58"/>
                  </a:cubicBezTo>
                  <a:cubicBezTo>
                    <a:pt x="141" y="55"/>
                    <a:pt x="168" y="83"/>
                    <a:pt x="165" y="116"/>
                  </a:cubicBezTo>
                  <a:cubicBezTo>
                    <a:pt x="163" y="142"/>
                    <a:pt x="142" y="163"/>
                    <a:pt x="116" y="165"/>
                  </a:cubicBezTo>
                  <a:close/>
                </a:path>
              </a:pathLst>
            </a:custGeom>
            <a:solidFill>
              <a:srgbClr val="6E64C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4" name="Freeform 231"/>
            <p:cNvSpPr>
              <a:spLocks noEditPoints="1"/>
            </p:cNvSpPr>
            <p:nvPr/>
          </p:nvSpPr>
          <p:spPr bwMode="auto">
            <a:xfrm>
              <a:off x="9288050" y="3224881"/>
              <a:ext cx="1480977" cy="1483957"/>
            </a:xfrm>
            <a:custGeom>
              <a:avLst/>
              <a:gdLst>
                <a:gd name="T0" fmla="*/ 290 w 290"/>
                <a:gd name="T1" fmla="*/ 129 h 290"/>
                <a:gd name="T2" fmla="*/ 267 w 290"/>
                <a:gd name="T3" fmla="*/ 117 h 290"/>
                <a:gd name="T4" fmla="*/ 249 w 290"/>
                <a:gd name="T5" fmla="*/ 94 h 290"/>
                <a:gd name="T6" fmla="*/ 258 w 290"/>
                <a:gd name="T7" fmla="*/ 71 h 290"/>
                <a:gd name="T8" fmla="*/ 236 w 290"/>
                <a:gd name="T9" fmla="*/ 31 h 290"/>
                <a:gd name="T10" fmla="*/ 212 w 290"/>
                <a:gd name="T11" fmla="*/ 38 h 290"/>
                <a:gd name="T12" fmla="*/ 183 w 290"/>
                <a:gd name="T13" fmla="*/ 36 h 290"/>
                <a:gd name="T14" fmla="*/ 173 w 290"/>
                <a:gd name="T15" fmla="*/ 13 h 290"/>
                <a:gd name="T16" fmla="*/ 129 w 290"/>
                <a:gd name="T17" fmla="*/ 0 h 290"/>
                <a:gd name="T18" fmla="*/ 117 w 290"/>
                <a:gd name="T19" fmla="*/ 22 h 290"/>
                <a:gd name="T20" fmla="*/ 94 w 290"/>
                <a:gd name="T21" fmla="*/ 41 h 290"/>
                <a:gd name="T22" fmla="*/ 71 w 290"/>
                <a:gd name="T23" fmla="*/ 31 h 290"/>
                <a:gd name="T24" fmla="*/ 31 w 290"/>
                <a:gd name="T25" fmla="*/ 53 h 290"/>
                <a:gd name="T26" fmla="*/ 38 w 290"/>
                <a:gd name="T27" fmla="*/ 78 h 290"/>
                <a:gd name="T28" fmla="*/ 36 w 290"/>
                <a:gd name="T29" fmla="*/ 107 h 290"/>
                <a:gd name="T30" fmla="*/ 13 w 290"/>
                <a:gd name="T31" fmla="*/ 117 h 290"/>
                <a:gd name="T32" fmla="*/ 0 w 290"/>
                <a:gd name="T33" fmla="*/ 160 h 290"/>
                <a:gd name="T34" fmla="*/ 22 w 290"/>
                <a:gd name="T35" fmla="*/ 173 h 290"/>
                <a:gd name="T36" fmla="*/ 41 w 290"/>
                <a:gd name="T37" fmla="*/ 195 h 290"/>
                <a:gd name="T38" fmla="*/ 31 w 290"/>
                <a:gd name="T39" fmla="*/ 218 h 290"/>
                <a:gd name="T40" fmla="*/ 53 w 290"/>
                <a:gd name="T41" fmla="*/ 258 h 290"/>
                <a:gd name="T42" fmla="*/ 78 w 290"/>
                <a:gd name="T43" fmla="*/ 251 h 290"/>
                <a:gd name="T44" fmla="*/ 107 w 290"/>
                <a:gd name="T45" fmla="*/ 254 h 290"/>
                <a:gd name="T46" fmla="*/ 117 w 290"/>
                <a:gd name="T47" fmla="*/ 277 h 290"/>
                <a:gd name="T48" fmla="*/ 160 w 290"/>
                <a:gd name="T49" fmla="*/ 290 h 290"/>
                <a:gd name="T50" fmla="*/ 173 w 290"/>
                <a:gd name="T51" fmla="*/ 267 h 290"/>
                <a:gd name="T52" fmla="*/ 195 w 290"/>
                <a:gd name="T53" fmla="*/ 249 h 290"/>
                <a:gd name="T54" fmla="*/ 218 w 290"/>
                <a:gd name="T55" fmla="*/ 258 h 290"/>
                <a:gd name="T56" fmla="*/ 258 w 290"/>
                <a:gd name="T57" fmla="*/ 236 h 290"/>
                <a:gd name="T58" fmla="*/ 251 w 290"/>
                <a:gd name="T59" fmla="*/ 211 h 290"/>
                <a:gd name="T60" fmla="*/ 254 w 290"/>
                <a:gd name="T61" fmla="*/ 182 h 290"/>
                <a:gd name="T62" fmla="*/ 277 w 290"/>
                <a:gd name="T63" fmla="*/ 173 h 290"/>
                <a:gd name="T64" fmla="*/ 150 w 290"/>
                <a:gd name="T65" fmla="*/ 214 h 290"/>
                <a:gd name="T66" fmla="*/ 139 w 290"/>
                <a:gd name="T67" fmla="*/ 75 h 290"/>
                <a:gd name="T68" fmla="*/ 150 w 290"/>
                <a:gd name="T69" fmla="*/ 214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0" h="290">
                  <a:moveTo>
                    <a:pt x="290" y="160"/>
                  </a:moveTo>
                  <a:cubicBezTo>
                    <a:pt x="290" y="129"/>
                    <a:pt x="290" y="129"/>
                    <a:pt x="290" y="129"/>
                  </a:cubicBezTo>
                  <a:cubicBezTo>
                    <a:pt x="290" y="122"/>
                    <a:pt x="284" y="117"/>
                    <a:pt x="277" y="117"/>
                  </a:cubicBezTo>
                  <a:cubicBezTo>
                    <a:pt x="267" y="117"/>
                    <a:pt x="267" y="117"/>
                    <a:pt x="267" y="117"/>
                  </a:cubicBezTo>
                  <a:cubicBezTo>
                    <a:pt x="261" y="117"/>
                    <a:pt x="256" y="113"/>
                    <a:pt x="254" y="107"/>
                  </a:cubicBezTo>
                  <a:cubicBezTo>
                    <a:pt x="252" y="103"/>
                    <a:pt x="251" y="98"/>
                    <a:pt x="249" y="94"/>
                  </a:cubicBezTo>
                  <a:cubicBezTo>
                    <a:pt x="246" y="89"/>
                    <a:pt x="247" y="82"/>
                    <a:pt x="251" y="78"/>
                  </a:cubicBezTo>
                  <a:cubicBezTo>
                    <a:pt x="258" y="71"/>
                    <a:pt x="258" y="71"/>
                    <a:pt x="258" y="71"/>
                  </a:cubicBezTo>
                  <a:cubicBezTo>
                    <a:pt x="263" y="66"/>
                    <a:pt x="263" y="58"/>
                    <a:pt x="258" y="53"/>
                  </a:cubicBezTo>
                  <a:cubicBezTo>
                    <a:pt x="236" y="31"/>
                    <a:pt x="236" y="31"/>
                    <a:pt x="236" y="31"/>
                  </a:cubicBezTo>
                  <a:cubicBezTo>
                    <a:pt x="231" y="26"/>
                    <a:pt x="223" y="26"/>
                    <a:pt x="218" y="31"/>
                  </a:cubicBezTo>
                  <a:cubicBezTo>
                    <a:pt x="212" y="38"/>
                    <a:pt x="212" y="38"/>
                    <a:pt x="212" y="38"/>
                  </a:cubicBezTo>
                  <a:cubicBezTo>
                    <a:pt x="207" y="42"/>
                    <a:pt x="201" y="44"/>
                    <a:pt x="195" y="41"/>
                  </a:cubicBezTo>
                  <a:cubicBezTo>
                    <a:pt x="191" y="39"/>
                    <a:pt x="187" y="37"/>
                    <a:pt x="183" y="36"/>
                  </a:cubicBezTo>
                  <a:cubicBezTo>
                    <a:pt x="177" y="34"/>
                    <a:pt x="173" y="28"/>
                    <a:pt x="173" y="22"/>
                  </a:cubicBezTo>
                  <a:cubicBezTo>
                    <a:pt x="173" y="13"/>
                    <a:pt x="173" y="13"/>
                    <a:pt x="173" y="13"/>
                  </a:cubicBezTo>
                  <a:cubicBezTo>
                    <a:pt x="173" y="6"/>
                    <a:pt x="167" y="0"/>
                    <a:pt x="160" y="0"/>
                  </a:cubicBezTo>
                  <a:cubicBezTo>
                    <a:pt x="129" y="0"/>
                    <a:pt x="129" y="0"/>
                    <a:pt x="129" y="0"/>
                  </a:cubicBezTo>
                  <a:cubicBezTo>
                    <a:pt x="122" y="0"/>
                    <a:pt x="117" y="6"/>
                    <a:pt x="117" y="13"/>
                  </a:cubicBezTo>
                  <a:cubicBezTo>
                    <a:pt x="117" y="22"/>
                    <a:pt x="117" y="22"/>
                    <a:pt x="117" y="22"/>
                  </a:cubicBezTo>
                  <a:cubicBezTo>
                    <a:pt x="117" y="28"/>
                    <a:pt x="113" y="34"/>
                    <a:pt x="107" y="36"/>
                  </a:cubicBezTo>
                  <a:cubicBezTo>
                    <a:pt x="103" y="37"/>
                    <a:pt x="98" y="39"/>
                    <a:pt x="94" y="41"/>
                  </a:cubicBezTo>
                  <a:cubicBezTo>
                    <a:pt x="89" y="44"/>
                    <a:pt x="82" y="42"/>
                    <a:pt x="78" y="38"/>
                  </a:cubicBezTo>
                  <a:cubicBezTo>
                    <a:pt x="71" y="31"/>
                    <a:pt x="71" y="31"/>
                    <a:pt x="71" y="31"/>
                  </a:cubicBezTo>
                  <a:cubicBezTo>
                    <a:pt x="66" y="26"/>
                    <a:pt x="58" y="26"/>
                    <a:pt x="53" y="31"/>
                  </a:cubicBezTo>
                  <a:cubicBezTo>
                    <a:pt x="31" y="53"/>
                    <a:pt x="31" y="53"/>
                    <a:pt x="31" y="53"/>
                  </a:cubicBezTo>
                  <a:cubicBezTo>
                    <a:pt x="26" y="58"/>
                    <a:pt x="26" y="66"/>
                    <a:pt x="31" y="71"/>
                  </a:cubicBezTo>
                  <a:cubicBezTo>
                    <a:pt x="38" y="78"/>
                    <a:pt x="38" y="78"/>
                    <a:pt x="38" y="78"/>
                  </a:cubicBezTo>
                  <a:cubicBezTo>
                    <a:pt x="43" y="82"/>
                    <a:pt x="44" y="89"/>
                    <a:pt x="41" y="94"/>
                  </a:cubicBezTo>
                  <a:cubicBezTo>
                    <a:pt x="39" y="98"/>
                    <a:pt x="37" y="103"/>
                    <a:pt x="36" y="107"/>
                  </a:cubicBezTo>
                  <a:cubicBezTo>
                    <a:pt x="34" y="113"/>
                    <a:pt x="28" y="117"/>
                    <a:pt x="22" y="117"/>
                  </a:cubicBezTo>
                  <a:cubicBezTo>
                    <a:pt x="13" y="117"/>
                    <a:pt x="13" y="117"/>
                    <a:pt x="13" y="117"/>
                  </a:cubicBezTo>
                  <a:cubicBezTo>
                    <a:pt x="6" y="117"/>
                    <a:pt x="0" y="122"/>
                    <a:pt x="0" y="129"/>
                  </a:cubicBezTo>
                  <a:cubicBezTo>
                    <a:pt x="0" y="160"/>
                    <a:pt x="0" y="160"/>
                    <a:pt x="0" y="160"/>
                  </a:cubicBezTo>
                  <a:cubicBezTo>
                    <a:pt x="0" y="167"/>
                    <a:pt x="6" y="173"/>
                    <a:pt x="13" y="173"/>
                  </a:cubicBezTo>
                  <a:cubicBezTo>
                    <a:pt x="22" y="173"/>
                    <a:pt x="22" y="173"/>
                    <a:pt x="22" y="173"/>
                  </a:cubicBezTo>
                  <a:cubicBezTo>
                    <a:pt x="28" y="173"/>
                    <a:pt x="34" y="177"/>
                    <a:pt x="36" y="182"/>
                  </a:cubicBezTo>
                  <a:cubicBezTo>
                    <a:pt x="37" y="187"/>
                    <a:pt x="39" y="191"/>
                    <a:pt x="41" y="195"/>
                  </a:cubicBezTo>
                  <a:cubicBezTo>
                    <a:pt x="44" y="201"/>
                    <a:pt x="43" y="207"/>
                    <a:pt x="38" y="211"/>
                  </a:cubicBezTo>
                  <a:cubicBezTo>
                    <a:pt x="31" y="218"/>
                    <a:pt x="31" y="218"/>
                    <a:pt x="31" y="218"/>
                  </a:cubicBezTo>
                  <a:cubicBezTo>
                    <a:pt x="26" y="223"/>
                    <a:pt x="26" y="231"/>
                    <a:pt x="31" y="236"/>
                  </a:cubicBezTo>
                  <a:cubicBezTo>
                    <a:pt x="53" y="258"/>
                    <a:pt x="53" y="258"/>
                    <a:pt x="53" y="258"/>
                  </a:cubicBezTo>
                  <a:cubicBezTo>
                    <a:pt x="58" y="263"/>
                    <a:pt x="66" y="263"/>
                    <a:pt x="71" y="258"/>
                  </a:cubicBezTo>
                  <a:cubicBezTo>
                    <a:pt x="78" y="251"/>
                    <a:pt x="78" y="251"/>
                    <a:pt x="78" y="251"/>
                  </a:cubicBezTo>
                  <a:cubicBezTo>
                    <a:pt x="82" y="247"/>
                    <a:pt x="89" y="246"/>
                    <a:pt x="94" y="249"/>
                  </a:cubicBezTo>
                  <a:cubicBezTo>
                    <a:pt x="98" y="251"/>
                    <a:pt x="103" y="252"/>
                    <a:pt x="107" y="254"/>
                  </a:cubicBezTo>
                  <a:cubicBezTo>
                    <a:pt x="113" y="256"/>
                    <a:pt x="117" y="261"/>
                    <a:pt x="117" y="267"/>
                  </a:cubicBezTo>
                  <a:cubicBezTo>
                    <a:pt x="117" y="277"/>
                    <a:pt x="117" y="277"/>
                    <a:pt x="117" y="277"/>
                  </a:cubicBezTo>
                  <a:cubicBezTo>
                    <a:pt x="117" y="284"/>
                    <a:pt x="122" y="290"/>
                    <a:pt x="129" y="290"/>
                  </a:cubicBezTo>
                  <a:cubicBezTo>
                    <a:pt x="160" y="290"/>
                    <a:pt x="160" y="290"/>
                    <a:pt x="160" y="290"/>
                  </a:cubicBezTo>
                  <a:cubicBezTo>
                    <a:pt x="167" y="290"/>
                    <a:pt x="173" y="284"/>
                    <a:pt x="173" y="277"/>
                  </a:cubicBezTo>
                  <a:cubicBezTo>
                    <a:pt x="173" y="267"/>
                    <a:pt x="173" y="267"/>
                    <a:pt x="173" y="267"/>
                  </a:cubicBezTo>
                  <a:cubicBezTo>
                    <a:pt x="173" y="261"/>
                    <a:pt x="177" y="256"/>
                    <a:pt x="183" y="254"/>
                  </a:cubicBezTo>
                  <a:cubicBezTo>
                    <a:pt x="187" y="252"/>
                    <a:pt x="191" y="251"/>
                    <a:pt x="195" y="249"/>
                  </a:cubicBezTo>
                  <a:cubicBezTo>
                    <a:pt x="201" y="246"/>
                    <a:pt x="207" y="247"/>
                    <a:pt x="212" y="251"/>
                  </a:cubicBezTo>
                  <a:cubicBezTo>
                    <a:pt x="218" y="258"/>
                    <a:pt x="218" y="258"/>
                    <a:pt x="218" y="258"/>
                  </a:cubicBezTo>
                  <a:cubicBezTo>
                    <a:pt x="223" y="263"/>
                    <a:pt x="231" y="263"/>
                    <a:pt x="236" y="258"/>
                  </a:cubicBezTo>
                  <a:cubicBezTo>
                    <a:pt x="258" y="236"/>
                    <a:pt x="258" y="236"/>
                    <a:pt x="258" y="236"/>
                  </a:cubicBezTo>
                  <a:cubicBezTo>
                    <a:pt x="263" y="231"/>
                    <a:pt x="263" y="223"/>
                    <a:pt x="258" y="218"/>
                  </a:cubicBezTo>
                  <a:cubicBezTo>
                    <a:pt x="251" y="211"/>
                    <a:pt x="251" y="211"/>
                    <a:pt x="251" y="211"/>
                  </a:cubicBezTo>
                  <a:cubicBezTo>
                    <a:pt x="247" y="207"/>
                    <a:pt x="246" y="201"/>
                    <a:pt x="249" y="195"/>
                  </a:cubicBezTo>
                  <a:cubicBezTo>
                    <a:pt x="251" y="191"/>
                    <a:pt x="252" y="187"/>
                    <a:pt x="254" y="182"/>
                  </a:cubicBezTo>
                  <a:cubicBezTo>
                    <a:pt x="256" y="177"/>
                    <a:pt x="261" y="173"/>
                    <a:pt x="267" y="173"/>
                  </a:cubicBezTo>
                  <a:cubicBezTo>
                    <a:pt x="277" y="173"/>
                    <a:pt x="277" y="173"/>
                    <a:pt x="277" y="173"/>
                  </a:cubicBezTo>
                  <a:cubicBezTo>
                    <a:pt x="284" y="173"/>
                    <a:pt x="290" y="167"/>
                    <a:pt x="290" y="160"/>
                  </a:cubicBezTo>
                  <a:close/>
                  <a:moveTo>
                    <a:pt x="150" y="214"/>
                  </a:moveTo>
                  <a:cubicBezTo>
                    <a:pt x="107" y="218"/>
                    <a:pt x="72" y="182"/>
                    <a:pt x="75" y="139"/>
                  </a:cubicBezTo>
                  <a:cubicBezTo>
                    <a:pt x="78" y="105"/>
                    <a:pt x="105" y="78"/>
                    <a:pt x="139" y="75"/>
                  </a:cubicBezTo>
                  <a:cubicBezTo>
                    <a:pt x="182" y="72"/>
                    <a:pt x="218" y="107"/>
                    <a:pt x="214" y="150"/>
                  </a:cubicBezTo>
                  <a:cubicBezTo>
                    <a:pt x="212" y="184"/>
                    <a:pt x="184" y="212"/>
                    <a:pt x="150" y="214"/>
                  </a:cubicBezTo>
                  <a:close/>
                </a:path>
              </a:pathLst>
            </a:custGeom>
            <a:solidFill>
              <a:srgbClr val="827DD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5" name="Freeform 232"/>
            <p:cNvSpPr/>
            <p:nvPr/>
          </p:nvSpPr>
          <p:spPr bwMode="auto">
            <a:xfrm>
              <a:off x="9523457" y="3460288"/>
              <a:ext cx="1010163" cy="1013143"/>
            </a:xfrm>
            <a:custGeom>
              <a:avLst/>
              <a:gdLst>
                <a:gd name="T0" fmla="*/ 192 w 198"/>
                <a:gd name="T1" fmla="*/ 99 h 198"/>
                <a:gd name="T2" fmla="*/ 186 w 198"/>
                <a:gd name="T3" fmla="*/ 99 h 198"/>
                <a:gd name="T4" fmla="*/ 160 w 198"/>
                <a:gd name="T5" fmla="*/ 160 h 198"/>
                <a:gd name="T6" fmla="*/ 99 w 198"/>
                <a:gd name="T7" fmla="*/ 186 h 198"/>
                <a:gd name="T8" fmla="*/ 37 w 198"/>
                <a:gd name="T9" fmla="*/ 160 h 198"/>
                <a:gd name="T10" fmla="*/ 12 w 198"/>
                <a:gd name="T11" fmla="*/ 99 h 198"/>
                <a:gd name="T12" fmla="*/ 37 w 198"/>
                <a:gd name="T13" fmla="*/ 37 h 198"/>
                <a:gd name="T14" fmla="*/ 99 w 198"/>
                <a:gd name="T15" fmla="*/ 12 h 198"/>
                <a:gd name="T16" fmla="*/ 160 w 198"/>
                <a:gd name="T17" fmla="*/ 37 h 198"/>
                <a:gd name="T18" fmla="*/ 186 w 198"/>
                <a:gd name="T19" fmla="*/ 99 h 198"/>
                <a:gd name="T20" fmla="*/ 192 w 198"/>
                <a:gd name="T21" fmla="*/ 99 h 198"/>
                <a:gd name="T22" fmla="*/ 198 w 198"/>
                <a:gd name="T23" fmla="*/ 99 h 198"/>
                <a:gd name="T24" fmla="*/ 99 w 198"/>
                <a:gd name="T25" fmla="*/ 0 h 198"/>
                <a:gd name="T26" fmla="*/ 0 w 198"/>
                <a:gd name="T27" fmla="*/ 99 h 198"/>
                <a:gd name="T28" fmla="*/ 99 w 198"/>
                <a:gd name="T29" fmla="*/ 198 h 198"/>
                <a:gd name="T30" fmla="*/ 198 w 198"/>
                <a:gd name="T31" fmla="*/ 99 h 198"/>
                <a:gd name="T32" fmla="*/ 192 w 198"/>
                <a:gd name="T33" fmla="*/ 99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8" h="198">
                  <a:moveTo>
                    <a:pt x="192" y="99"/>
                  </a:moveTo>
                  <a:cubicBezTo>
                    <a:pt x="186" y="99"/>
                    <a:pt x="186" y="99"/>
                    <a:pt x="186" y="99"/>
                  </a:cubicBezTo>
                  <a:cubicBezTo>
                    <a:pt x="186" y="123"/>
                    <a:pt x="176" y="145"/>
                    <a:pt x="160" y="160"/>
                  </a:cubicBezTo>
                  <a:cubicBezTo>
                    <a:pt x="145" y="176"/>
                    <a:pt x="123" y="186"/>
                    <a:pt x="99" y="186"/>
                  </a:cubicBezTo>
                  <a:cubicBezTo>
                    <a:pt x="75" y="186"/>
                    <a:pt x="53" y="176"/>
                    <a:pt x="37" y="160"/>
                  </a:cubicBezTo>
                  <a:cubicBezTo>
                    <a:pt x="21" y="145"/>
                    <a:pt x="12" y="123"/>
                    <a:pt x="12" y="99"/>
                  </a:cubicBezTo>
                  <a:cubicBezTo>
                    <a:pt x="12" y="75"/>
                    <a:pt x="21" y="53"/>
                    <a:pt x="37" y="37"/>
                  </a:cubicBezTo>
                  <a:cubicBezTo>
                    <a:pt x="53" y="21"/>
                    <a:pt x="75" y="12"/>
                    <a:pt x="99" y="12"/>
                  </a:cubicBezTo>
                  <a:cubicBezTo>
                    <a:pt x="123" y="12"/>
                    <a:pt x="145" y="21"/>
                    <a:pt x="160" y="37"/>
                  </a:cubicBezTo>
                  <a:cubicBezTo>
                    <a:pt x="176" y="53"/>
                    <a:pt x="186" y="75"/>
                    <a:pt x="186" y="99"/>
                  </a:cubicBezTo>
                  <a:cubicBezTo>
                    <a:pt x="192" y="99"/>
                    <a:pt x="192" y="99"/>
                    <a:pt x="192" y="99"/>
                  </a:cubicBezTo>
                  <a:cubicBezTo>
                    <a:pt x="198" y="99"/>
                    <a:pt x="198" y="99"/>
                    <a:pt x="198" y="99"/>
                  </a:cubicBezTo>
                  <a:cubicBezTo>
                    <a:pt x="198" y="44"/>
                    <a:pt x="153" y="0"/>
                    <a:pt x="99" y="0"/>
                  </a:cubicBezTo>
                  <a:cubicBezTo>
                    <a:pt x="44" y="0"/>
                    <a:pt x="0" y="44"/>
                    <a:pt x="0" y="99"/>
                  </a:cubicBezTo>
                  <a:cubicBezTo>
                    <a:pt x="0" y="153"/>
                    <a:pt x="44" y="198"/>
                    <a:pt x="99" y="198"/>
                  </a:cubicBezTo>
                  <a:cubicBezTo>
                    <a:pt x="153" y="198"/>
                    <a:pt x="198" y="153"/>
                    <a:pt x="198" y="99"/>
                  </a:cubicBezTo>
                  <a:lnTo>
                    <a:pt x="192" y="99"/>
                  </a:lnTo>
                  <a:close/>
                </a:path>
              </a:pathLst>
            </a:custGeom>
            <a:solidFill>
              <a:srgbClr val="4137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6" name="Freeform 233"/>
            <p:cNvSpPr/>
            <p:nvPr/>
          </p:nvSpPr>
          <p:spPr bwMode="auto">
            <a:xfrm>
              <a:off x="9523457" y="3460288"/>
              <a:ext cx="536370" cy="536370"/>
            </a:xfrm>
            <a:custGeom>
              <a:avLst/>
              <a:gdLst>
                <a:gd name="T0" fmla="*/ 12 w 105"/>
                <a:gd name="T1" fmla="*/ 99 h 105"/>
                <a:gd name="T2" fmla="*/ 37 w 105"/>
                <a:gd name="T3" fmla="*/ 37 h 105"/>
                <a:gd name="T4" fmla="*/ 99 w 105"/>
                <a:gd name="T5" fmla="*/ 12 h 105"/>
                <a:gd name="T6" fmla="*/ 105 w 105"/>
                <a:gd name="T7" fmla="*/ 6 h 105"/>
                <a:gd name="T8" fmla="*/ 99 w 105"/>
                <a:gd name="T9" fmla="*/ 0 h 105"/>
                <a:gd name="T10" fmla="*/ 0 w 105"/>
                <a:gd name="T11" fmla="*/ 99 h 105"/>
                <a:gd name="T12" fmla="*/ 6 w 105"/>
                <a:gd name="T13" fmla="*/ 105 h 105"/>
                <a:gd name="T14" fmla="*/ 12 w 105"/>
                <a:gd name="T15" fmla="*/ 99 h 1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5">
                  <a:moveTo>
                    <a:pt x="12" y="99"/>
                  </a:moveTo>
                  <a:cubicBezTo>
                    <a:pt x="12" y="75"/>
                    <a:pt x="21" y="53"/>
                    <a:pt x="37" y="37"/>
                  </a:cubicBezTo>
                  <a:cubicBezTo>
                    <a:pt x="53" y="21"/>
                    <a:pt x="75" y="12"/>
                    <a:pt x="99" y="12"/>
                  </a:cubicBezTo>
                  <a:cubicBezTo>
                    <a:pt x="102" y="12"/>
                    <a:pt x="105" y="9"/>
                    <a:pt x="105" y="6"/>
                  </a:cubicBezTo>
                  <a:cubicBezTo>
                    <a:pt x="105" y="2"/>
                    <a:pt x="102" y="0"/>
                    <a:pt x="99" y="0"/>
                  </a:cubicBezTo>
                  <a:cubicBezTo>
                    <a:pt x="44" y="0"/>
                    <a:pt x="0" y="44"/>
                    <a:pt x="0" y="99"/>
                  </a:cubicBezTo>
                  <a:cubicBezTo>
                    <a:pt x="0" y="102"/>
                    <a:pt x="2" y="105"/>
                    <a:pt x="6" y="105"/>
                  </a:cubicBezTo>
                  <a:cubicBezTo>
                    <a:pt x="9" y="105"/>
                    <a:pt x="12" y="102"/>
                    <a:pt x="12" y="99"/>
                  </a:cubicBezTo>
                  <a:close/>
                </a:path>
              </a:pathLst>
            </a:custGeom>
            <a:solidFill>
              <a:srgbClr val="5046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7" name="Freeform 234"/>
            <p:cNvSpPr/>
            <p:nvPr/>
          </p:nvSpPr>
          <p:spPr bwMode="auto">
            <a:xfrm>
              <a:off x="9857198" y="3275539"/>
              <a:ext cx="196669" cy="223487"/>
            </a:xfrm>
            <a:custGeom>
              <a:avLst/>
              <a:gdLst>
                <a:gd name="T0" fmla="*/ 36 w 39"/>
                <a:gd name="T1" fmla="*/ 42 h 44"/>
                <a:gd name="T2" fmla="*/ 37 w 39"/>
                <a:gd name="T3" fmla="*/ 33 h 44"/>
                <a:gd name="T4" fmla="*/ 34 w 39"/>
                <a:gd name="T5" fmla="*/ 30 h 44"/>
                <a:gd name="T6" fmla="*/ 29 w 39"/>
                <a:gd name="T7" fmla="*/ 17 h 44"/>
                <a:gd name="T8" fmla="*/ 24 w 39"/>
                <a:gd name="T9" fmla="*/ 6 h 44"/>
                <a:gd name="T10" fmla="*/ 21 w 39"/>
                <a:gd name="T11" fmla="*/ 17 h 44"/>
                <a:gd name="T12" fmla="*/ 12 w 39"/>
                <a:gd name="T13" fmla="*/ 4 h 44"/>
                <a:gd name="T14" fmla="*/ 6 w 39"/>
                <a:gd name="T15" fmla="*/ 3 h 44"/>
                <a:gd name="T16" fmla="*/ 2 w 39"/>
                <a:gd name="T17" fmla="*/ 6 h 44"/>
                <a:gd name="T18" fmla="*/ 1 w 39"/>
                <a:gd name="T19" fmla="*/ 17 h 44"/>
                <a:gd name="T20" fmla="*/ 4 w 39"/>
                <a:gd name="T21" fmla="*/ 25 h 44"/>
                <a:gd name="T22" fmla="*/ 21 w 39"/>
                <a:gd name="T23" fmla="*/ 38 h 44"/>
                <a:gd name="T24" fmla="*/ 27 w 39"/>
                <a:gd name="T25" fmla="*/ 42 h 44"/>
                <a:gd name="T26" fmla="*/ 36 w 39"/>
                <a:gd name="T27" fmla="*/ 42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44">
                  <a:moveTo>
                    <a:pt x="36" y="42"/>
                  </a:moveTo>
                  <a:cubicBezTo>
                    <a:pt x="38" y="40"/>
                    <a:pt x="39" y="36"/>
                    <a:pt x="37" y="33"/>
                  </a:cubicBezTo>
                  <a:cubicBezTo>
                    <a:pt x="34" y="30"/>
                    <a:pt x="34" y="30"/>
                    <a:pt x="34" y="30"/>
                  </a:cubicBezTo>
                  <a:cubicBezTo>
                    <a:pt x="31" y="26"/>
                    <a:pt x="29" y="22"/>
                    <a:pt x="29" y="17"/>
                  </a:cubicBezTo>
                  <a:cubicBezTo>
                    <a:pt x="30" y="14"/>
                    <a:pt x="27" y="5"/>
                    <a:pt x="24" y="6"/>
                  </a:cubicBezTo>
                  <a:cubicBezTo>
                    <a:pt x="21" y="6"/>
                    <a:pt x="24" y="17"/>
                    <a:pt x="21" y="17"/>
                  </a:cubicBezTo>
                  <a:cubicBezTo>
                    <a:pt x="20" y="17"/>
                    <a:pt x="15" y="9"/>
                    <a:pt x="12" y="4"/>
                  </a:cubicBezTo>
                  <a:cubicBezTo>
                    <a:pt x="10" y="2"/>
                    <a:pt x="6" y="0"/>
                    <a:pt x="6" y="3"/>
                  </a:cubicBezTo>
                  <a:cubicBezTo>
                    <a:pt x="5" y="4"/>
                    <a:pt x="4" y="4"/>
                    <a:pt x="2" y="6"/>
                  </a:cubicBezTo>
                  <a:cubicBezTo>
                    <a:pt x="0" y="7"/>
                    <a:pt x="1" y="15"/>
                    <a:pt x="1" y="17"/>
                  </a:cubicBezTo>
                  <a:cubicBezTo>
                    <a:pt x="1" y="20"/>
                    <a:pt x="0" y="21"/>
                    <a:pt x="4" y="25"/>
                  </a:cubicBezTo>
                  <a:cubicBezTo>
                    <a:pt x="8" y="29"/>
                    <a:pt x="21" y="38"/>
                    <a:pt x="21" y="38"/>
                  </a:cubicBezTo>
                  <a:cubicBezTo>
                    <a:pt x="27" y="42"/>
                    <a:pt x="27" y="42"/>
                    <a:pt x="27" y="42"/>
                  </a:cubicBezTo>
                  <a:cubicBezTo>
                    <a:pt x="30" y="44"/>
                    <a:pt x="33" y="44"/>
                    <a:pt x="36" y="42"/>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8" name="Freeform 235"/>
            <p:cNvSpPr/>
            <p:nvPr/>
          </p:nvSpPr>
          <p:spPr bwMode="auto">
            <a:xfrm>
              <a:off x="9979371" y="3239781"/>
              <a:ext cx="882030" cy="676422"/>
            </a:xfrm>
            <a:custGeom>
              <a:avLst/>
              <a:gdLst>
                <a:gd name="T0" fmla="*/ 10 w 173"/>
                <a:gd name="T1" fmla="*/ 36 h 132"/>
                <a:gd name="T2" fmla="*/ 80 w 173"/>
                <a:gd name="T3" fmla="*/ 95 h 132"/>
                <a:gd name="T4" fmla="*/ 138 w 173"/>
                <a:gd name="T5" fmla="*/ 13 h 132"/>
                <a:gd name="T6" fmla="*/ 169 w 173"/>
                <a:gd name="T7" fmla="*/ 38 h 132"/>
                <a:gd name="T8" fmla="*/ 80 w 173"/>
                <a:gd name="T9" fmla="*/ 131 h 132"/>
                <a:gd name="T10" fmla="*/ 0 w 173"/>
                <a:gd name="T11" fmla="*/ 48 h 132"/>
                <a:gd name="T12" fmla="*/ 10 w 173"/>
                <a:gd name="T13" fmla="*/ 36 h 132"/>
              </a:gdLst>
              <a:ahLst/>
              <a:cxnLst>
                <a:cxn ang="0">
                  <a:pos x="T0" y="T1"/>
                </a:cxn>
                <a:cxn ang="0">
                  <a:pos x="T2" y="T3"/>
                </a:cxn>
                <a:cxn ang="0">
                  <a:pos x="T4" y="T5"/>
                </a:cxn>
                <a:cxn ang="0">
                  <a:pos x="T6" y="T7"/>
                </a:cxn>
                <a:cxn ang="0">
                  <a:pos x="T8" y="T9"/>
                </a:cxn>
                <a:cxn ang="0">
                  <a:pos x="T10" y="T11"/>
                </a:cxn>
                <a:cxn ang="0">
                  <a:pos x="T12" y="T13"/>
                </a:cxn>
              </a:cxnLst>
              <a:rect l="0" t="0" r="r" b="b"/>
              <a:pathLst>
                <a:path w="173" h="132">
                  <a:moveTo>
                    <a:pt x="10" y="36"/>
                  </a:moveTo>
                  <a:cubicBezTo>
                    <a:pt x="10" y="36"/>
                    <a:pt x="66" y="91"/>
                    <a:pt x="80" y="95"/>
                  </a:cubicBezTo>
                  <a:cubicBezTo>
                    <a:pt x="93" y="100"/>
                    <a:pt x="131" y="21"/>
                    <a:pt x="138" y="13"/>
                  </a:cubicBezTo>
                  <a:cubicBezTo>
                    <a:pt x="149" y="0"/>
                    <a:pt x="173" y="13"/>
                    <a:pt x="169" y="38"/>
                  </a:cubicBezTo>
                  <a:cubicBezTo>
                    <a:pt x="164" y="70"/>
                    <a:pt x="89" y="130"/>
                    <a:pt x="80" y="131"/>
                  </a:cubicBezTo>
                  <a:cubicBezTo>
                    <a:pt x="70" y="132"/>
                    <a:pt x="0" y="48"/>
                    <a:pt x="0" y="48"/>
                  </a:cubicBezTo>
                  <a:cubicBezTo>
                    <a:pt x="1" y="44"/>
                    <a:pt x="4" y="40"/>
                    <a:pt x="10" y="36"/>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9" name="Freeform 236"/>
            <p:cNvSpPr/>
            <p:nvPr/>
          </p:nvSpPr>
          <p:spPr bwMode="auto">
            <a:xfrm>
              <a:off x="8176573" y="1663449"/>
              <a:ext cx="214548" cy="214548"/>
            </a:xfrm>
            <a:custGeom>
              <a:avLst/>
              <a:gdLst>
                <a:gd name="T0" fmla="*/ 26 w 42"/>
                <a:gd name="T1" fmla="*/ 2 h 42"/>
                <a:gd name="T2" fmla="*/ 28 w 42"/>
                <a:gd name="T3" fmla="*/ 11 h 42"/>
                <a:gd name="T4" fmla="*/ 30 w 42"/>
                <a:gd name="T5" fmla="*/ 13 h 42"/>
                <a:gd name="T6" fmla="*/ 39 w 42"/>
                <a:gd name="T7" fmla="*/ 16 h 42"/>
                <a:gd name="T8" fmla="*/ 40 w 42"/>
                <a:gd name="T9" fmla="*/ 21 h 42"/>
                <a:gd name="T10" fmla="*/ 32 w 42"/>
                <a:gd name="T11" fmla="*/ 26 h 42"/>
                <a:gd name="T12" fmla="*/ 31 w 42"/>
                <a:gd name="T13" fmla="*/ 29 h 42"/>
                <a:gd name="T14" fmla="*/ 31 w 42"/>
                <a:gd name="T15" fmla="*/ 38 h 42"/>
                <a:gd name="T16" fmla="*/ 27 w 42"/>
                <a:gd name="T17" fmla="*/ 40 h 42"/>
                <a:gd name="T18" fmla="*/ 19 w 42"/>
                <a:gd name="T19" fmla="*/ 35 h 42"/>
                <a:gd name="T20" fmla="*/ 17 w 42"/>
                <a:gd name="T21" fmla="*/ 34 h 42"/>
                <a:gd name="T22" fmla="*/ 8 w 42"/>
                <a:gd name="T23" fmla="*/ 37 h 42"/>
                <a:gd name="T24" fmla="*/ 4 w 42"/>
                <a:gd name="T25" fmla="*/ 34 h 42"/>
                <a:gd name="T26" fmla="*/ 7 w 42"/>
                <a:gd name="T27" fmla="*/ 25 h 42"/>
                <a:gd name="T28" fmla="*/ 7 w 42"/>
                <a:gd name="T29" fmla="*/ 22 h 42"/>
                <a:gd name="T30" fmla="*/ 1 w 42"/>
                <a:gd name="T31" fmla="*/ 15 h 42"/>
                <a:gd name="T32" fmla="*/ 3 w 42"/>
                <a:gd name="T33" fmla="*/ 10 h 42"/>
                <a:gd name="T34" fmla="*/ 13 w 42"/>
                <a:gd name="T35" fmla="*/ 10 h 42"/>
                <a:gd name="T36" fmla="*/ 15 w 42"/>
                <a:gd name="T37" fmla="*/ 9 h 42"/>
                <a:gd name="T38" fmla="*/ 20 w 42"/>
                <a:gd name="T39" fmla="*/ 2 h 42"/>
                <a:gd name="T40" fmla="*/ 26 w 42"/>
                <a:gd name="T41" fmla="*/ 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42">
                  <a:moveTo>
                    <a:pt x="26" y="2"/>
                  </a:moveTo>
                  <a:cubicBezTo>
                    <a:pt x="28" y="11"/>
                    <a:pt x="28" y="11"/>
                    <a:pt x="28" y="11"/>
                  </a:cubicBezTo>
                  <a:cubicBezTo>
                    <a:pt x="29" y="12"/>
                    <a:pt x="29" y="13"/>
                    <a:pt x="30" y="13"/>
                  </a:cubicBezTo>
                  <a:cubicBezTo>
                    <a:pt x="39" y="16"/>
                    <a:pt x="39" y="16"/>
                    <a:pt x="39" y="16"/>
                  </a:cubicBezTo>
                  <a:cubicBezTo>
                    <a:pt x="41" y="16"/>
                    <a:pt x="42" y="19"/>
                    <a:pt x="40" y="21"/>
                  </a:cubicBezTo>
                  <a:cubicBezTo>
                    <a:pt x="32" y="26"/>
                    <a:pt x="32" y="26"/>
                    <a:pt x="32" y="26"/>
                  </a:cubicBezTo>
                  <a:cubicBezTo>
                    <a:pt x="32" y="27"/>
                    <a:pt x="31" y="28"/>
                    <a:pt x="31" y="29"/>
                  </a:cubicBezTo>
                  <a:cubicBezTo>
                    <a:pt x="31" y="38"/>
                    <a:pt x="31" y="38"/>
                    <a:pt x="31" y="38"/>
                  </a:cubicBezTo>
                  <a:cubicBezTo>
                    <a:pt x="31" y="40"/>
                    <a:pt x="29" y="42"/>
                    <a:pt x="27" y="40"/>
                  </a:cubicBezTo>
                  <a:cubicBezTo>
                    <a:pt x="19" y="35"/>
                    <a:pt x="19" y="35"/>
                    <a:pt x="19" y="35"/>
                  </a:cubicBezTo>
                  <a:cubicBezTo>
                    <a:pt x="19" y="34"/>
                    <a:pt x="18" y="34"/>
                    <a:pt x="17" y="34"/>
                  </a:cubicBezTo>
                  <a:cubicBezTo>
                    <a:pt x="8" y="37"/>
                    <a:pt x="8" y="37"/>
                    <a:pt x="8" y="37"/>
                  </a:cubicBezTo>
                  <a:cubicBezTo>
                    <a:pt x="6" y="38"/>
                    <a:pt x="4" y="36"/>
                    <a:pt x="4" y="34"/>
                  </a:cubicBezTo>
                  <a:cubicBezTo>
                    <a:pt x="7" y="25"/>
                    <a:pt x="7" y="25"/>
                    <a:pt x="7" y="25"/>
                  </a:cubicBezTo>
                  <a:cubicBezTo>
                    <a:pt x="8" y="24"/>
                    <a:pt x="7" y="23"/>
                    <a:pt x="7" y="22"/>
                  </a:cubicBezTo>
                  <a:cubicBezTo>
                    <a:pt x="1" y="15"/>
                    <a:pt x="1" y="15"/>
                    <a:pt x="1" y="15"/>
                  </a:cubicBezTo>
                  <a:cubicBezTo>
                    <a:pt x="0" y="13"/>
                    <a:pt x="1" y="10"/>
                    <a:pt x="3" y="10"/>
                  </a:cubicBezTo>
                  <a:cubicBezTo>
                    <a:pt x="13" y="10"/>
                    <a:pt x="13" y="10"/>
                    <a:pt x="13" y="10"/>
                  </a:cubicBezTo>
                  <a:cubicBezTo>
                    <a:pt x="14" y="10"/>
                    <a:pt x="15" y="10"/>
                    <a:pt x="15" y="9"/>
                  </a:cubicBezTo>
                  <a:cubicBezTo>
                    <a:pt x="20" y="2"/>
                    <a:pt x="20" y="2"/>
                    <a:pt x="20" y="2"/>
                  </a:cubicBezTo>
                  <a:cubicBezTo>
                    <a:pt x="22" y="0"/>
                    <a:pt x="25" y="0"/>
                    <a:pt x="26" y="2"/>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80" name="Freeform 237"/>
            <p:cNvSpPr>
              <a:spLocks noEditPoints="1"/>
            </p:cNvSpPr>
            <p:nvPr/>
          </p:nvSpPr>
          <p:spPr bwMode="auto">
            <a:xfrm>
              <a:off x="8093137" y="1594913"/>
              <a:ext cx="369499" cy="345661"/>
            </a:xfrm>
            <a:custGeom>
              <a:avLst/>
              <a:gdLst>
                <a:gd name="T0" fmla="*/ 36 w 72"/>
                <a:gd name="T1" fmla="*/ 3 h 67"/>
                <a:gd name="T2" fmla="*/ 36 w 72"/>
                <a:gd name="T3" fmla="*/ 3 h 67"/>
                <a:gd name="T4" fmla="*/ 41 w 72"/>
                <a:gd name="T5" fmla="*/ 4 h 67"/>
                <a:gd name="T6" fmla="*/ 61 w 72"/>
                <a:gd name="T7" fmla="*/ 16 h 67"/>
                <a:gd name="T8" fmla="*/ 66 w 72"/>
                <a:gd name="T9" fmla="*/ 38 h 67"/>
                <a:gd name="T10" fmla="*/ 36 w 72"/>
                <a:gd name="T11" fmla="*/ 64 h 67"/>
                <a:gd name="T12" fmla="*/ 32 w 72"/>
                <a:gd name="T13" fmla="*/ 64 h 67"/>
                <a:gd name="T14" fmla="*/ 12 w 72"/>
                <a:gd name="T15" fmla="*/ 52 h 67"/>
                <a:gd name="T16" fmla="*/ 6 w 72"/>
                <a:gd name="T17" fmla="*/ 29 h 67"/>
                <a:gd name="T18" fmla="*/ 36 w 72"/>
                <a:gd name="T19" fmla="*/ 3 h 67"/>
                <a:gd name="T20" fmla="*/ 36 w 72"/>
                <a:gd name="T21" fmla="*/ 0 h 67"/>
                <a:gd name="T22" fmla="*/ 3 w 72"/>
                <a:gd name="T23" fmla="*/ 29 h 67"/>
                <a:gd name="T24" fmla="*/ 31 w 72"/>
                <a:gd name="T25" fmla="*/ 67 h 67"/>
                <a:gd name="T26" fmla="*/ 36 w 72"/>
                <a:gd name="T27" fmla="*/ 67 h 67"/>
                <a:gd name="T28" fmla="*/ 69 w 72"/>
                <a:gd name="T29" fmla="*/ 39 h 67"/>
                <a:gd name="T30" fmla="*/ 41 w 72"/>
                <a:gd name="T31" fmla="*/ 1 h 67"/>
                <a:gd name="T32" fmla="*/ 36 w 72"/>
                <a:gd name="T33"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2" h="67">
                  <a:moveTo>
                    <a:pt x="36" y="3"/>
                  </a:moveTo>
                  <a:cubicBezTo>
                    <a:pt x="36" y="3"/>
                    <a:pt x="36" y="3"/>
                    <a:pt x="36" y="3"/>
                  </a:cubicBezTo>
                  <a:cubicBezTo>
                    <a:pt x="38" y="3"/>
                    <a:pt x="39" y="3"/>
                    <a:pt x="41" y="4"/>
                  </a:cubicBezTo>
                  <a:cubicBezTo>
                    <a:pt x="49" y="5"/>
                    <a:pt x="56" y="9"/>
                    <a:pt x="61" y="16"/>
                  </a:cubicBezTo>
                  <a:cubicBezTo>
                    <a:pt x="66" y="22"/>
                    <a:pt x="68" y="30"/>
                    <a:pt x="66" y="38"/>
                  </a:cubicBezTo>
                  <a:cubicBezTo>
                    <a:pt x="64" y="53"/>
                    <a:pt x="51" y="64"/>
                    <a:pt x="36" y="64"/>
                  </a:cubicBezTo>
                  <a:cubicBezTo>
                    <a:pt x="35" y="64"/>
                    <a:pt x="33" y="64"/>
                    <a:pt x="32" y="64"/>
                  </a:cubicBezTo>
                  <a:cubicBezTo>
                    <a:pt x="23" y="63"/>
                    <a:pt x="16" y="59"/>
                    <a:pt x="12" y="52"/>
                  </a:cubicBezTo>
                  <a:cubicBezTo>
                    <a:pt x="7" y="45"/>
                    <a:pt x="5" y="37"/>
                    <a:pt x="6" y="29"/>
                  </a:cubicBezTo>
                  <a:cubicBezTo>
                    <a:pt x="8" y="14"/>
                    <a:pt x="21" y="3"/>
                    <a:pt x="36" y="3"/>
                  </a:cubicBezTo>
                  <a:moveTo>
                    <a:pt x="36" y="0"/>
                  </a:moveTo>
                  <a:cubicBezTo>
                    <a:pt x="20" y="0"/>
                    <a:pt x="5" y="12"/>
                    <a:pt x="3" y="29"/>
                  </a:cubicBezTo>
                  <a:cubicBezTo>
                    <a:pt x="0" y="47"/>
                    <a:pt x="13" y="64"/>
                    <a:pt x="31" y="67"/>
                  </a:cubicBezTo>
                  <a:cubicBezTo>
                    <a:pt x="33" y="67"/>
                    <a:pt x="35" y="67"/>
                    <a:pt x="36" y="67"/>
                  </a:cubicBezTo>
                  <a:cubicBezTo>
                    <a:pt x="52" y="67"/>
                    <a:pt x="67" y="55"/>
                    <a:pt x="69" y="39"/>
                  </a:cubicBezTo>
                  <a:cubicBezTo>
                    <a:pt x="72" y="21"/>
                    <a:pt x="59" y="3"/>
                    <a:pt x="41" y="1"/>
                  </a:cubicBezTo>
                  <a:cubicBezTo>
                    <a:pt x="39" y="0"/>
                    <a:pt x="38" y="0"/>
                    <a:pt x="36" y="0"/>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81" name="Freeform 238"/>
            <p:cNvSpPr/>
            <p:nvPr/>
          </p:nvSpPr>
          <p:spPr bwMode="auto">
            <a:xfrm>
              <a:off x="5891041" y="5963348"/>
              <a:ext cx="5441174" cy="65556"/>
            </a:xfrm>
            <a:custGeom>
              <a:avLst/>
              <a:gdLst>
                <a:gd name="T0" fmla="*/ 1059 w 1065"/>
                <a:gd name="T1" fmla="*/ 13 h 13"/>
                <a:gd name="T2" fmla="*/ 7 w 1065"/>
                <a:gd name="T3" fmla="*/ 13 h 13"/>
                <a:gd name="T4" fmla="*/ 0 w 1065"/>
                <a:gd name="T5" fmla="*/ 7 h 13"/>
                <a:gd name="T6" fmla="*/ 7 w 1065"/>
                <a:gd name="T7" fmla="*/ 0 h 13"/>
                <a:gd name="T8" fmla="*/ 1059 w 1065"/>
                <a:gd name="T9" fmla="*/ 0 h 13"/>
                <a:gd name="T10" fmla="*/ 1065 w 1065"/>
                <a:gd name="T11" fmla="*/ 7 h 13"/>
                <a:gd name="T12" fmla="*/ 1059 w 1065"/>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065" h="13">
                  <a:moveTo>
                    <a:pt x="1059" y="13"/>
                  </a:moveTo>
                  <a:cubicBezTo>
                    <a:pt x="7" y="13"/>
                    <a:pt x="7" y="13"/>
                    <a:pt x="7" y="13"/>
                  </a:cubicBezTo>
                  <a:cubicBezTo>
                    <a:pt x="3" y="13"/>
                    <a:pt x="0" y="10"/>
                    <a:pt x="0" y="7"/>
                  </a:cubicBezTo>
                  <a:cubicBezTo>
                    <a:pt x="0" y="3"/>
                    <a:pt x="3" y="0"/>
                    <a:pt x="7" y="0"/>
                  </a:cubicBezTo>
                  <a:cubicBezTo>
                    <a:pt x="1059" y="0"/>
                    <a:pt x="1059" y="0"/>
                    <a:pt x="1059" y="0"/>
                  </a:cubicBezTo>
                  <a:cubicBezTo>
                    <a:pt x="1063" y="0"/>
                    <a:pt x="1065" y="3"/>
                    <a:pt x="1065" y="7"/>
                  </a:cubicBezTo>
                  <a:cubicBezTo>
                    <a:pt x="1065" y="10"/>
                    <a:pt x="1063" y="13"/>
                    <a:pt x="1059" y="13"/>
                  </a:cubicBezTo>
                  <a:close/>
                </a:path>
              </a:pathLst>
            </a:custGeom>
            <a:solidFill>
              <a:srgbClr val="D2F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grpSp>
      <p:sp>
        <p:nvSpPr>
          <p:cNvPr id="84" name="TextBox 8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97746" y="1356399"/>
            <a:ext cx="4819650" cy="1323439"/>
          </a:xfrm>
          <a:prstGeom prst="rect">
            <a:avLst/>
          </a:prstGeom>
          <a:noFill/>
        </p:spPr>
        <p:txBody>
          <a:bodyPr wrap="square" rtlCol="0">
            <a:spAutoFit/>
          </a:bodyPr>
          <a:lstStyle/>
          <a:p>
            <a:r>
              <a:rPr lang="en-US" sz="4000" b="1" dirty="0">
                <a:solidFill>
                  <a:schemeClr val="tx1">
                    <a:lumMod val="85000"/>
                    <a:lumOff val="15000"/>
                  </a:schemeClr>
                </a:solidFill>
                <a:latin typeface="Calibri"/>
                <a:ea typeface="微软雅黑"/>
                <a:cs typeface="+mn-ea"/>
                <a:sym typeface="Calibri"/>
              </a:rPr>
              <a:t>Startup</a:t>
            </a:r>
            <a:br>
              <a:rPr lang="en-US" sz="4000" b="1" dirty="0">
                <a:solidFill>
                  <a:schemeClr val="tx1">
                    <a:lumMod val="85000"/>
                    <a:lumOff val="15000"/>
                  </a:schemeClr>
                </a:solidFill>
                <a:latin typeface="Calibri"/>
                <a:ea typeface="微软雅黑"/>
                <a:cs typeface="+mn-ea"/>
                <a:sym typeface="Calibri"/>
              </a:rPr>
            </a:br>
            <a:r>
              <a:rPr lang="en-US" sz="4000" b="1" i="1" dirty="0">
                <a:gradFill>
                  <a:gsLst>
                    <a:gs pos="0">
                      <a:schemeClr val="accent1"/>
                    </a:gs>
                    <a:gs pos="100000">
                      <a:schemeClr val="accent2"/>
                    </a:gs>
                  </a:gsLst>
                  <a:lin ang="2700000" scaled="0"/>
                </a:gradFill>
                <a:latin typeface="Calibri"/>
                <a:ea typeface="微软雅黑"/>
                <a:cs typeface="+mn-ea"/>
                <a:sym typeface="Calibri"/>
              </a:rPr>
              <a:t>Your</a:t>
            </a:r>
            <a:r>
              <a:rPr lang="en-US" sz="4000" b="1" dirty="0">
                <a:solidFill>
                  <a:schemeClr val="tx1">
                    <a:lumMod val="85000"/>
                    <a:lumOff val="15000"/>
                  </a:schemeClr>
                </a:solidFill>
                <a:latin typeface="Calibri"/>
                <a:ea typeface="微软雅黑"/>
                <a:cs typeface="+mn-ea"/>
                <a:sym typeface="Calibri"/>
              </a:rPr>
              <a:t> </a:t>
            </a:r>
            <a:r>
              <a:rPr lang="en-US" sz="4000" b="1" i="1" dirty="0">
                <a:gradFill>
                  <a:gsLst>
                    <a:gs pos="0">
                      <a:schemeClr val="accent1"/>
                    </a:gs>
                    <a:gs pos="100000">
                      <a:schemeClr val="accent2"/>
                    </a:gs>
                  </a:gsLst>
                  <a:lin ang="2700000" scaled="0"/>
                </a:gradFill>
                <a:latin typeface="Calibri"/>
                <a:ea typeface="微软雅黑"/>
                <a:cs typeface="+mn-ea"/>
                <a:sym typeface="Calibri"/>
              </a:rPr>
              <a:t>Project</a:t>
            </a:r>
          </a:p>
        </p:txBody>
      </p:sp>
      <p:sp>
        <p:nvSpPr>
          <p:cNvPr id="85" name="Rectangle 8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1011364" y="3362645"/>
            <a:ext cx="4024684" cy="1171731"/>
          </a:xfrm>
          <a:prstGeom prst="rect">
            <a:avLst/>
          </a:prstGeom>
        </p:spPr>
        <p:txBody>
          <a:bodyPr wrap="square">
            <a:spAutoFit/>
          </a:bodyPr>
          <a:lstStyle/>
          <a:p>
            <a:pPr>
              <a:lnSpc>
                <a:spcPct val="150000"/>
              </a:lnSpc>
            </a:pPr>
            <a:r>
              <a:rPr lang="zh-CN" altLang="en-US" sz="1200" dirty="0">
                <a:latin typeface="Calibri"/>
                <a:ea typeface="微软雅黑"/>
                <a:cs typeface="+mn-ea"/>
                <a:sym typeface="Calibri"/>
              </a:rPr>
              <a:t>Hey, hey, hey! It's Fat </a:t>
            </a:r>
            <a:r>
              <a:rPr lang="en-US" altLang="zh-CN" sz="1200" dirty="0">
                <a:latin typeface="Calibri"/>
                <a:ea typeface="微软雅黑"/>
                <a:cs typeface="+mn-ea"/>
                <a:sym typeface="Calibri"/>
              </a:rPr>
              <a:t>Company</a:t>
            </a:r>
            <a:r>
              <a:rPr lang="zh-CN" altLang="en-US" sz="1200" dirty="0">
                <a:latin typeface="Calibri"/>
                <a:ea typeface="微软雅黑"/>
                <a:cs typeface="+mn-ea"/>
                <a:sym typeface="Calibri"/>
              </a:rPr>
              <a:t>! Now I'm gonna sing a song for you, and this is gonna show you a thing or two. You'll have some fun now With me and the gang, learning from each other While we do our thing</a:t>
            </a:r>
            <a:endParaRPr lang="en-US" sz="1200" dirty="0">
              <a:solidFill>
                <a:schemeClr val="tx1">
                  <a:lumMod val="65000"/>
                  <a:lumOff val="35000"/>
                </a:schemeClr>
              </a:solidFill>
              <a:latin typeface="Calibri"/>
              <a:ea typeface="微软雅黑"/>
              <a:cs typeface="+mn-ea"/>
              <a:sym typeface="Calibri"/>
            </a:endParaRPr>
          </a:p>
        </p:txBody>
      </p:sp>
      <p:sp>
        <p:nvSpPr>
          <p:cNvPr id="89" name="TextBox 88"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984030" y="2677091"/>
            <a:ext cx="3276222" cy="369332"/>
          </a:xfrm>
          <a:prstGeom prst="rect">
            <a:avLst/>
          </a:prstGeom>
          <a:noFill/>
        </p:spPr>
        <p:txBody>
          <a:bodyPr wrap="square" rtlCol="0">
            <a:spAutoFit/>
          </a:bodyPr>
          <a:lstStyle/>
          <a:p>
            <a:r>
              <a:rPr lang="en-US" dirty="0">
                <a:solidFill>
                  <a:schemeClr val="accent1"/>
                </a:solidFill>
                <a:latin typeface="Calibri"/>
                <a:ea typeface="微软雅黑"/>
                <a:cs typeface="+mn-ea"/>
                <a:sym typeface="Calibri"/>
              </a:rPr>
              <a:t>Technology is power</a:t>
            </a:r>
          </a:p>
        </p:txBody>
      </p:sp>
      <p:grpSp>
        <p:nvGrpSpPr>
          <p:cNvPr id="2" name="组合 1"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062451" y="5002352"/>
            <a:ext cx="3756295" cy="1123677"/>
            <a:chOff x="983094" y="5023692"/>
            <a:chExt cx="4087326" cy="1222703"/>
          </a:xfrm>
        </p:grpSpPr>
        <p:sp>
          <p:nvSpPr>
            <p:cNvPr id="115" name="Rectangle: Rounded Corners 64"/>
            <p:cNvSpPr/>
            <p:nvPr/>
          </p:nvSpPr>
          <p:spPr>
            <a:xfrm rot="900000">
              <a:off x="983094" y="5023692"/>
              <a:ext cx="1144181" cy="1144181"/>
            </a:xfrm>
            <a:prstGeom prst="roundRect">
              <a:avLst/>
            </a:prstGeom>
            <a:solidFill>
              <a:schemeClr val="accent2"/>
            </a:solidFill>
            <a:ln w="57150">
              <a:noFill/>
            </a:ln>
            <a:effectLst>
              <a:outerShdw blurRad="203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cs typeface="+mn-ea"/>
                <a:sym typeface="Calibri"/>
              </a:endParaRPr>
            </a:p>
          </p:txBody>
        </p:sp>
        <p:sp>
          <p:nvSpPr>
            <p:cNvPr id="116" name="Rectangle: Rounded Corners 65"/>
            <p:cNvSpPr/>
            <p:nvPr/>
          </p:nvSpPr>
          <p:spPr>
            <a:xfrm rot="20700000">
              <a:off x="1951175" y="5032089"/>
              <a:ext cx="1144181" cy="1144181"/>
            </a:xfrm>
            <a:prstGeom prst="roundRect">
              <a:avLst/>
            </a:prstGeom>
            <a:solidFill>
              <a:schemeClr val="accent3"/>
            </a:solidFill>
            <a:ln w="57150">
              <a:noFill/>
            </a:ln>
            <a:effectLst>
              <a:outerShdw blurRad="203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cs typeface="+mn-ea"/>
                <a:sym typeface="Calibri"/>
              </a:endParaRPr>
            </a:p>
          </p:txBody>
        </p:sp>
        <p:sp>
          <p:nvSpPr>
            <p:cNvPr id="117" name="Rectangle: Rounded Corners 66"/>
            <p:cNvSpPr/>
            <p:nvPr/>
          </p:nvSpPr>
          <p:spPr>
            <a:xfrm>
              <a:off x="2917852" y="5052665"/>
              <a:ext cx="1144181" cy="1144181"/>
            </a:xfrm>
            <a:prstGeom prst="roundRect">
              <a:avLst/>
            </a:prstGeom>
            <a:solidFill>
              <a:schemeClr val="accent4"/>
            </a:solidFill>
            <a:ln w="57150">
              <a:noFill/>
            </a:ln>
            <a:effectLst>
              <a:outerShdw blurRad="203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cs typeface="+mn-ea"/>
                <a:sym typeface="Calibri"/>
              </a:endParaRPr>
            </a:p>
          </p:txBody>
        </p:sp>
        <p:sp>
          <p:nvSpPr>
            <p:cNvPr id="118" name="Rectangle: Rounded Corners 67"/>
            <p:cNvSpPr/>
            <p:nvPr/>
          </p:nvSpPr>
          <p:spPr>
            <a:xfrm rot="900000">
              <a:off x="3926239" y="5102214"/>
              <a:ext cx="1144181" cy="1144181"/>
            </a:xfrm>
            <a:prstGeom prst="roundRect">
              <a:avLst/>
            </a:prstGeom>
            <a:solidFill>
              <a:schemeClr val="accent5"/>
            </a:solidFill>
            <a:ln w="57150">
              <a:noFill/>
            </a:ln>
            <a:effectLst>
              <a:outerShdw blurRad="2032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libri"/>
                <a:ea typeface="微软雅黑"/>
                <a:cs typeface="+mn-ea"/>
                <a:sym typeface="Calibri"/>
              </a:endParaRPr>
            </a:p>
          </p:txBody>
        </p:sp>
        <p:grpSp>
          <p:nvGrpSpPr>
            <p:cNvPr id="119" name="Group 1047"/>
            <p:cNvGrpSpPr>
              <a:grpSpLocks noChangeAspect="1"/>
            </p:cNvGrpSpPr>
            <p:nvPr/>
          </p:nvGrpSpPr>
          <p:grpSpPr bwMode="auto">
            <a:xfrm>
              <a:off x="1301436" y="5429571"/>
              <a:ext cx="505627" cy="392606"/>
              <a:chOff x="281" y="748"/>
              <a:chExt cx="4098" cy="3182"/>
            </a:xfrm>
            <a:solidFill>
              <a:schemeClr val="bg1"/>
            </a:solidFill>
          </p:grpSpPr>
          <p:sp>
            <p:nvSpPr>
              <p:cNvPr id="120" name="Freeform 1049"/>
              <p:cNvSpPr>
                <a:spLocks noEditPoints="1"/>
              </p:cNvSpPr>
              <p:nvPr/>
            </p:nvSpPr>
            <p:spPr bwMode="auto">
              <a:xfrm>
                <a:off x="281" y="748"/>
                <a:ext cx="4098" cy="3182"/>
              </a:xfrm>
              <a:custGeom>
                <a:avLst/>
                <a:gdLst>
                  <a:gd name="T0" fmla="*/ 1653 w 4098"/>
                  <a:gd name="T1" fmla="*/ 2299 h 3182"/>
                  <a:gd name="T2" fmla="*/ 1840 w 4098"/>
                  <a:gd name="T3" fmla="*/ 2488 h 3182"/>
                  <a:gd name="T4" fmla="*/ 3386 w 4098"/>
                  <a:gd name="T5" fmla="*/ 565 h 3182"/>
                  <a:gd name="T6" fmla="*/ 3757 w 4098"/>
                  <a:gd name="T7" fmla="*/ 207 h 3182"/>
                  <a:gd name="T8" fmla="*/ 3727 w 4098"/>
                  <a:gd name="T9" fmla="*/ 225 h 3182"/>
                  <a:gd name="T10" fmla="*/ 3595 w 4098"/>
                  <a:gd name="T11" fmla="*/ 544 h 3182"/>
                  <a:gd name="T12" fmla="*/ 3914 w 4098"/>
                  <a:gd name="T13" fmla="*/ 413 h 3182"/>
                  <a:gd name="T14" fmla="*/ 3933 w 4098"/>
                  <a:gd name="T15" fmla="*/ 382 h 3182"/>
                  <a:gd name="T16" fmla="*/ 3933 w 4098"/>
                  <a:gd name="T17" fmla="*/ 346 h 3182"/>
                  <a:gd name="T18" fmla="*/ 3914 w 4098"/>
                  <a:gd name="T19" fmla="*/ 316 h 3182"/>
                  <a:gd name="T20" fmla="*/ 3824 w 4098"/>
                  <a:gd name="T21" fmla="*/ 225 h 3182"/>
                  <a:gd name="T22" fmla="*/ 3793 w 4098"/>
                  <a:gd name="T23" fmla="*/ 207 h 3182"/>
                  <a:gd name="T24" fmla="*/ 163 w 4098"/>
                  <a:gd name="T25" fmla="*/ 162 h 3182"/>
                  <a:gd name="T26" fmla="*/ 3018 w 4098"/>
                  <a:gd name="T27" fmla="*/ 3018 h 3182"/>
                  <a:gd name="T28" fmla="*/ 1942 w 4098"/>
                  <a:gd name="T29" fmla="*/ 2617 h 3182"/>
                  <a:gd name="T30" fmla="*/ 1911 w 4098"/>
                  <a:gd name="T31" fmla="*/ 2637 h 3182"/>
                  <a:gd name="T32" fmla="*/ 1442 w 4098"/>
                  <a:gd name="T33" fmla="*/ 2791 h 3182"/>
                  <a:gd name="T34" fmla="*/ 1408 w 4098"/>
                  <a:gd name="T35" fmla="*/ 2789 h 3182"/>
                  <a:gd name="T36" fmla="*/ 1372 w 4098"/>
                  <a:gd name="T37" fmla="*/ 2768 h 3182"/>
                  <a:gd name="T38" fmla="*/ 1350 w 4098"/>
                  <a:gd name="T39" fmla="*/ 2730 h 3182"/>
                  <a:gd name="T40" fmla="*/ 1352 w 4098"/>
                  <a:gd name="T41" fmla="*/ 2685 h 3182"/>
                  <a:gd name="T42" fmla="*/ 1511 w 4098"/>
                  <a:gd name="T43" fmla="*/ 2212 h 3182"/>
                  <a:gd name="T44" fmla="*/ 3018 w 4098"/>
                  <a:gd name="T45" fmla="*/ 703 h 3182"/>
                  <a:gd name="T46" fmla="*/ 163 w 4098"/>
                  <a:gd name="T47" fmla="*/ 162 h 3182"/>
                  <a:gd name="T48" fmla="*/ 3100 w 4098"/>
                  <a:gd name="T49" fmla="*/ 0 h 3182"/>
                  <a:gd name="T50" fmla="*/ 3141 w 4098"/>
                  <a:gd name="T51" fmla="*/ 11 h 3182"/>
                  <a:gd name="T52" fmla="*/ 3170 w 4098"/>
                  <a:gd name="T53" fmla="*/ 39 h 3182"/>
                  <a:gd name="T54" fmla="*/ 3182 w 4098"/>
                  <a:gd name="T55" fmla="*/ 82 h 3182"/>
                  <a:gd name="T56" fmla="*/ 3611 w 4098"/>
                  <a:gd name="T57" fmla="*/ 109 h 3182"/>
                  <a:gd name="T58" fmla="*/ 3670 w 4098"/>
                  <a:gd name="T59" fmla="*/ 67 h 3182"/>
                  <a:gd name="T60" fmla="*/ 3738 w 4098"/>
                  <a:gd name="T61" fmla="*/ 44 h 3182"/>
                  <a:gd name="T62" fmla="*/ 3811 w 4098"/>
                  <a:gd name="T63" fmla="*/ 44 h 3182"/>
                  <a:gd name="T64" fmla="*/ 3881 w 4098"/>
                  <a:gd name="T65" fmla="*/ 67 h 3182"/>
                  <a:gd name="T66" fmla="*/ 3939 w 4098"/>
                  <a:gd name="T67" fmla="*/ 109 h 3182"/>
                  <a:gd name="T68" fmla="*/ 4055 w 4098"/>
                  <a:gd name="T69" fmla="*/ 228 h 3182"/>
                  <a:gd name="T70" fmla="*/ 4087 w 4098"/>
                  <a:gd name="T71" fmla="*/ 293 h 3182"/>
                  <a:gd name="T72" fmla="*/ 4098 w 4098"/>
                  <a:gd name="T73" fmla="*/ 365 h 3182"/>
                  <a:gd name="T74" fmla="*/ 4087 w 4098"/>
                  <a:gd name="T75" fmla="*/ 437 h 3182"/>
                  <a:gd name="T76" fmla="*/ 4055 w 4098"/>
                  <a:gd name="T77" fmla="*/ 500 h 3182"/>
                  <a:gd name="T78" fmla="*/ 3182 w 4098"/>
                  <a:gd name="T79" fmla="*/ 1377 h 3182"/>
                  <a:gd name="T80" fmla="*/ 3178 w 4098"/>
                  <a:gd name="T81" fmla="*/ 3121 h 3182"/>
                  <a:gd name="T82" fmla="*/ 3158 w 4098"/>
                  <a:gd name="T83" fmla="*/ 3157 h 3182"/>
                  <a:gd name="T84" fmla="*/ 3122 w 4098"/>
                  <a:gd name="T85" fmla="*/ 3178 h 3182"/>
                  <a:gd name="T86" fmla="*/ 82 w 4098"/>
                  <a:gd name="T87" fmla="*/ 3182 h 3182"/>
                  <a:gd name="T88" fmla="*/ 41 w 4098"/>
                  <a:gd name="T89" fmla="*/ 3171 h 3182"/>
                  <a:gd name="T90" fmla="*/ 11 w 4098"/>
                  <a:gd name="T91" fmla="*/ 3141 h 3182"/>
                  <a:gd name="T92" fmla="*/ 0 w 4098"/>
                  <a:gd name="T93" fmla="*/ 3100 h 3182"/>
                  <a:gd name="T94" fmla="*/ 2 w 4098"/>
                  <a:gd name="T95" fmla="*/ 59 h 3182"/>
                  <a:gd name="T96" fmla="*/ 24 w 4098"/>
                  <a:gd name="T97" fmla="*/ 23 h 3182"/>
                  <a:gd name="T98" fmla="*/ 60 w 4098"/>
                  <a:gd name="T99" fmla="*/ 2 h 3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98" h="3182">
                    <a:moveTo>
                      <a:pt x="3386" y="565"/>
                    </a:moveTo>
                    <a:lnTo>
                      <a:pt x="1653" y="2299"/>
                    </a:lnTo>
                    <a:lnTo>
                      <a:pt x="1558" y="2582"/>
                    </a:lnTo>
                    <a:lnTo>
                      <a:pt x="1840" y="2488"/>
                    </a:lnTo>
                    <a:lnTo>
                      <a:pt x="3574" y="754"/>
                    </a:lnTo>
                    <a:lnTo>
                      <a:pt x="3386" y="565"/>
                    </a:lnTo>
                    <a:close/>
                    <a:moveTo>
                      <a:pt x="3775" y="205"/>
                    </a:moveTo>
                    <a:lnTo>
                      <a:pt x="3757" y="207"/>
                    </a:lnTo>
                    <a:lnTo>
                      <a:pt x="3740" y="213"/>
                    </a:lnTo>
                    <a:lnTo>
                      <a:pt x="3727" y="225"/>
                    </a:lnTo>
                    <a:lnTo>
                      <a:pt x="3502" y="449"/>
                    </a:lnTo>
                    <a:lnTo>
                      <a:pt x="3595" y="544"/>
                    </a:lnTo>
                    <a:lnTo>
                      <a:pt x="3689" y="638"/>
                    </a:lnTo>
                    <a:lnTo>
                      <a:pt x="3914" y="413"/>
                    </a:lnTo>
                    <a:lnTo>
                      <a:pt x="3925" y="398"/>
                    </a:lnTo>
                    <a:lnTo>
                      <a:pt x="3933" y="382"/>
                    </a:lnTo>
                    <a:lnTo>
                      <a:pt x="3935" y="365"/>
                    </a:lnTo>
                    <a:lnTo>
                      <a:pt x="3933" y="346"/>
                    </a:lnTo>
                    <a:lnTo>
                      <a:pt x="3925" y="330"/>
                    </a:lnTo>
                    <a:lnTo>
                      <a:pt x="3914" y="316"/>
                    </a:lnTo>
                    <a:lnTo>
                      <a:pt x="3914" y="316"/>
                    </a:lnTo>
                    <a:lnTo>
                      <a:pt x="3824" y="225"/>
                    </a:lnTo>
                    <a:lnTo>
                      <a:pt x="3809" y="213"/>
                    </a:lnTo>
                    <a:lnTo>
                      <a:pt x="3793" y="207"/>
                    </a:lnTo>
                    <a:lnTo>
                      <a:pt x="3775" y="205"/>
                    </a:lnTo>
                    <a:close/>
                    <a:moveTo>
                      <a:pt x="163" y="162"/>
                    </a:moveTo>
                    <a:lnTo>
                      <a:pt x="163" y="3018"/>
                    </a:lnTo>
                    <a:lnTo>
                      <a:pt x="3018" y="3018"/>
                    </a:lnTo>
                    <a:lnTo>
                      <a:pt x="3018" y="1541"/>
                    </a:lnTo>
                    <a:lnTo>
                      <a:pt x="1942" y="2617"/>
                    </a:lnTo>
                    <a:lnTo>
                      <a:pt x="1929" y="2628"/>
                    </a:lnTo>
                    <a:lnTo>
                      <a:pt x="1911" y="2637"/>
                    </a:lnTo>
                    <a:lnTo>
                      <a:pt x="1455" y="2788"/>
                    </a:lnTo>
                    <a:lnTo>
                      <a:pt x="1442" y="2791"/>
                    </a:lnTo>
                    <a:lnTo>
                      <a:pt x="1429" y="2792"/>
                    </a:lnTo>
                    <a:lnTo>
                      <a:pt x="1408" y="2789"/>
                    </a:lnTo>
                    <a:lnTo>
                      <a:pt x="1388" y="2782"/>
                    </a:lnTo>
                    <a:lnTo>
                      <a:pt x="1372" y="2768"/>
                    </a:lnTo>
                    <a:lnTo>
                      <a:pt x="1357" y="2750"/>
                    </a:lnTo>
                    <a:lnTo>
                      <a:pt x="1350" y="2730"/>
                    </a:lnTo>
                    <a:lnTo>
                      <a:pt x="1347" y="2708"/>
                    </a:lnTo>
                    <a:lnTo>
                      <a:pt x="1352" y="2685"/>
                    </a:lnTo>
                    <a:lnTo>
                      <a:pt x="1504" y="2229"/>
                    </a:lnTo>
                    <a:lnTo>
                      <a:pt x="1511" y="2212"/>
                    </a:lnTo>
                    <a:lnTo>
                      <a:pt x="1524" y="2197"/>
                    </a:lnTo>
                    <a:lnTo>
                      <a:pt x="3018" y="703"/>
                    </a:lnTo>
                    <a:lnTo>
                      <a:pt x="3018" y="162"/>
                    </a:lnTo>
                    <a:lnTo>
                      <a:pt x="163" y="162"/>
                    </a:lnTo>
                    <a:close/>
                    <a:moveTo>
                      <a:pt x="82" y="0"/>
                    </a:moveTo>
                    <a:lnTo>
                      <a:pt x="3100" y="0"/>
                    </a:lnTo>
                    <a:lnTo>
                      <a:pt x="3122" y="2"/>
                    </a:lnTo>
                    <a:lnTo>
                      <a:pt x="3141" y="11"/>
                    </a:lnTo>
                    <a:lnTo>
                      <a:pt x="3158" y="23"/>
                    </a:lnTo>
                    <a:lnTo>
                      <a:pt x="3170" y="39"/>
                    </a:lnTo>
                    <a:lnTo>
                      <a:pt x="3178" y="59"/>
                    </a:lnTo>
                    <a:lnTo>
                      <a:pt x="3182" y="82"/>
                    </a:lnTo>
                    <a:lnTo>
                      <a:pt x="3182" y="539"/>
                    </a:lnTo>
                    <a:lnTo>
                      <a:pt x="3611" y="109"/>
                    </a:lnTo>
                    <a:lnTo>
                      <a:pt x="3639" y="85"/>
                    </a:lnTo>
                    <a:lnTo>
                      <a:pt x="3670" y="67"/>
                    </a:lnTo>
                    <a:lnTo>
                      <a:pt x="3703" y="53"/>
                    </a:lnTo>
                    <a:lnTo>
                      <a:pt x="3738" y="44"/>
                    </a:lnTo>
                    <a:lnTo>
                      <a:pt x="3775" y="42"/>
                    </a:lnTo>
                    <a:lnTo>
                      <a:pt x="3811" y="44"/>
                    </a:lnTo>
                    <a:lnTo>
                      <a:pt x="3847" y="53"/>
                    </a:lnTo>
                    <a:lnTo>
                      <a:pt x="3881" y="67"/>
                    </a:lnTo>
                    <a:lnTo>
                      <a:pt x="3910" y="85"/>
                    </a:lnTo>
                    <a:lnTo>
                      <a:pt x="3939" y="109"/>
                    </a:lnTo>
                    <a:lnTo>
                      <a:pt x="4030" y="201"/>
                    </a:lnTo>
                    <a:lnTo>
                      <a:pt x="4055" y="228"/>
                    </a:lnTo>
                    <a:lnTo>
                      <a:pt x="4073" y="259"/>
                    </a:lnTo>
                    <a:lnTo>
                      <a:pt x="4087" y="293"/>
                    </a:lnTo>
                    <a:lnTo>
                      <a:pt x="4096" y="328"/>
                    </a:lnTo>
                    <a:lnTo>
                      <a:pt x="4098" y="365"/>
                    </a:lnTo>
                    <a:lnTo>
                      <a:pt x="4096" y="401"/>
                    </a:lnTo>
                    <a:lnTo>
                      <a:pt x="4087" y="437"/>
                    </a:lnTo>
                    <a:lnTo>
                      <a:pt x="4073" y="469"/>
                    </a:lnTo>
                    <a:lnTo>
                      <a:pt x="4055" y="500"/>
                    </a:lnTo>
                    <a:lnTo>
                      <a:pt x="4030" y="529"/>
                    </a:lnTo>
                    <a:lnTo>
                      <a:pt x="3182" y="1377"/>
                    </a:lnTo>
                    <a:lnTo>
                      <a:pt x="3182" y="3100"/>
                    </a:lnTo>
                    <a:lnTo>
                      <a:pt x="3178" y="3121"/>
                    </a:lnTo>
                    <a:lnTo>
                      <a:pt x="3170" y="3141"/>
                    </a:lnTo>
                    <a:lnTo>
                      <a:pt x="3158" y="3157"/>
                    </a:lnTo>
                    <a:lnTo>
                      <a:pt x="3141" y="3171"/>
                    </a:lnTo>
                    <a:lnTo>
                      <a:pt x="3122" y="3178"/>
                    </a:lnTo>
                    <a:lnTo>
                      <a:pt x="3100" y="3182"/>
                    </a:lnTo>
                    <a:lnTo>
                      <a:pt x="82" y="3182"/>
                    </a:lnTo>
                    <a:lnTo>
                      <a:pt x="60" y="3178"/>
                    </a:lnTo>
                    <a:lnTo>
                      <a:pt x="41" y="3171"/>
                    </a:lnTo>
                    <a:lnTo>
                      <a:pt x="24" y="3157"/>
                    </a:lnTo>
                    <a:lnTo>
                      <a:pt x="11" y="3141"/>
                    </a:lnTo>
                    <a:lnTo>
                      <a:pt x="2" y="3121"/>
                    </a:lnTo>
                    <a:lnTo>
                      <a:pt x="0" y="3100"/>
                    </a:lnTo>
                    <a:lnTo>
                      <a:pt x="0" y="82"/>
                    </a:lnTo>
                    <a:lnTo>
                      <a:pt x="2" y="59"/>
                    </a:lnTo>
                    <a:lnTo>
                      <a:pt x="11" y="39"/>
                    </a:lnTo>
                    <a:lnTo>
                      <a:pt x="24" y="23"/>
                    </a:lnTo>
                    <a:lnTo>
                      <a:pt x="41" y="11"/>
                    </a:lnTo>
                    <a:lnTo>
                      <a:pt x="60" y="2"/>
                    </a:lnTo>
                    <a:lnTo>
                      <a:pt x="82"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21" name="Freeform 1050"/>
              <p:cNvSpPr/>
              <p:nvPr/>
            </p:nvSpPr>
            <p:spPr bwMode="auto">
              <a:xfrm>
                <a:off x="2668" y="1258"/>
                <a:ext cx="241" cy="163"/>
              </a:xfrm>
              <a:custGeom>
                <a:avLst/>
                <a:gdLst>
                  <a:gd name="T0" fmla="*/ 82 w 241"/>
                  <a:gd name="T1" fmla="*/ 0 h 163"/>
                  <a:gd name="T2" fmla="*/ 159 w 241"/>
                  <a:gd name="T3" fmla="*/ 0 h 163"/>
                  <a:gd name="T4" fmla="*/ 181 w 241"/>
                  <a:gd name="T5" fmla="*/ 3 h 163"/>
                  <a:gd name="T6" fmla="*/ 201 w 241"/>
                  <a:gd name="T7" fmla="*/ 11 h 163"/>
                  <a:gd name="T8" fmla="*/ 217 w 241"/>
                  <a:gd name="T9" fmla="*/ 24 h 163"/>
                  <a:gd name="T10" fmla="*/ 230 w 241"/>
                  <a:gd name="T11" fmla="*/ 40 h 163"/>
                  <a:gd name="T12" fmla="*/ 238 w 241"/>
                  <a:gd name="T13" fmla="*/ 60 h 163"/>
                  <a:gd name="T14" fmla="*/ 241 w 241"/>
                  <a:gd name="T15" fmla="*/ 81 h 163"/>
                  <a:gd name="T16" fmla="*/ 238 w 241"/>
                  <a:gd name="T17" fmla="*/ 103 h 163"/>
                  <a:gd name="T18" fmla="*/ 230 w 241"/>
                  <a:gd name="T19" fmla="*/ 123 h 163"/>
                  <a:gd name="T20" fmla="*/ 217 w 241"/>
                  <a:gd name="T21" fmla="*/ 139 h 163"/>
                  <a:gd name="T22" fmla="*/ 201 w 241"/>
                  <a:gd name="T23" fmla="*/ 152 h 163"/>
                  <a:gd name="T24" fmla="*/ 181 w 241"/>
                  <a:gd name="T25" fmla="*/ 160 h 163"/>
                  <a:gd name="T26" fmla="*/ 159 w 241"/>
                  <a:gd name="T27" fmla="*/ 163 h 163"/>
                  <a:gd name="T28" fmla="*/ 82 w 241"/>
                  <a:gd name="T29" fmla="*/ 163 h 163"/>
                  <a:gd name="T30" fmla="*/ 59 w 241"/>
                  <a:gd name="T31" fmla="*/ 160 h 163"/>
                  <a:gd name="T32" fmla="*/ 41 w 241"/>
                  <a:gd name="T33" fmla="*/ 152 h 163"/>
                  <a:gd name="T34" fmla="*/ 23 w 241"/>
                  <a:gd name="T35" fmla="*/ 139 h 163"/>
                  <a:gd name="T36" fmla="*/ 11 w 241"/>
                  <a:gd name="T37" fmla="*/ 123 h 163"/>
                  <a:gd name="T38" fmla="*/ 2 w 241"/>
                  <a:gd name="T39" fmla="*/ 103 h 163"/>
                  <a:gd name="T40" fmla="*/ 0 w 241"/>
                  <a:gd name="T41" fmla="*/ 81 h 163"/>
                  <a:gd name="T42" fmla="*/ 2 w 241"/>
                  <a:gd name="T43" fmla="*/ 60 h 163"/>
                  <a:gd name="T44" fmla="*/ 11 w 241"/>
                  <a:gd name="T45" fmla="*/ 40 h 163"/>
                  <a:gd name="T46" fmla="*/ 23 w 241"/>
                  <a:gd name="T47" fmla="*/ 24 h 163"/>
                  <a:gd name="T48" fmla="*/ 41 w 241"/>
                  <a:gd name="T49" fmla="*/ 11 h 163"/>
                  <a:gd name="T50" fmla="*/ 59 w 241"/>
                  <a:gd name="T51" fmla="*/ 3 h 163"/>
                  <a:gd name="T52" fmla="*/ 82 w 241"/>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1" h="163">
                    <a:moveTo>
                      <a:pt x="82" y="0"/>
                    </a:moveTo>
                    <a:lnTo>
                      <a:pt x="159" y="0"/>
                    </a:lnTo>
                    <a:lnTo>
                      <a:pt x="181" y="3"/>
                    </a:lnTo>
                    <a:lnTo>
                      <a:pt x="201" y="11"/>
                    </a:lnTo>
                    <a:lnTo>
                      <a:pt x="217" y="24"/>
                    </a:lnTo>
                    <a:lnTo>
                      <a:pt x="230" y="40"/>
                    </a:lnTo>
                    <a:lnTo>
                      <a:pt x="238" y="60"/>
                    </a:lnTo>
                    <a:lnTo>
                      <a:pt x="241" y="81"/>
                    </a:lnTo>
                    <a:lnTo>
                      <a:pt x="238" y="103"/>
                    </a:lnTo>
                    <a:lnTo>
                      <a:pt x="230" y="123"/>
                    </a:lnTo>
                    <a:lnTo>
                      <a:pt x="217" y="139"/>
                    </a:lnTo>
                    <a:lnTo>
                      <a:pt x="201" y="152"/>
                    </a:lnTo>
                    <a:lnTo>
                      <a:pt x="181" y="160"/>
                    </a:lnTo>
                    <a:lnTo>
                      <a:pt x="159" y="163"/>
                    </a:lnTo>
                    <a:lnTo>
                      <a:pt x="82" y="163"/>
                    </a:lnTo>
                    <a:lnTo>
                      <a:pt x="59" y="160"/>
                    </a:lnTo>
                    <a:lnTo>
                      <a:pt x="41" y="152"/>
                    </a:lnTo>
                    <a:lnTo>
                      <a:pt x="23" y="139"/>
                    </a:lnTo>
                    <a:lnTo>
                      <a:pt x="11" y="123"/>
                    </a:lnTo>
                    <a:lnTo>
                      <a:pt x="2" y="103"/>
                    </a:lnTo>
                    <a:lnTo>
                      <a:pt x="0" y="81"/>
                    </a:lnTo>
                    <a:lnTo>
                      <a:pt x="2" y="60"/>
                    </a:lnTo>
                    <a:lnTo>
                      <a:pt x="11" y="40"/>
                    </a:lnTo>
                    <a:lnTo>
                      <a:pt x="23" y="24"/>
                    </a:lnTo>
                    <a:lnTo>
                      <a:pt x="41" y="11"/>
                    </a:lnTo>
                    <a:lnTo>
                      <a:pt x="59" y="3"/>
                    </a:lnTo>
                    <a:lnTo>
                      <a:pt x="82"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22" name="Freeform 1051"/>
              <p:cNvSpPr/>
              <p:nvPr/>
            </p:nvSpPr>
            <p:spPr bwMode="auto">
              <a:xfrm>
                <a:off x="826" y="1258"/>
                <a:ext cx="1651" cy="163"/>
              </a:xfrm>
              <a:custGeom>
                <a:avLst/>
                <a:gdLst>
                  <a:gd name="T0" fmla="*/ 81 w 1651"/>
                  <a:gd name="T1" fmla="*/ 0 h 163"/>
                  <a:gd name="T2" fmla="*/ 1569 w 1651"/>
                  <a:gd name="T3" fmla="*/ 0 h 163"/>
                  <a:gd name="T4" fmla="*/ 1591 w 1651"/>
                  <a:gd name="T5" fmla="*/ 3 h 163"/>
                  <a:gd name="T6" fmla="*/ 1610 w 1651"/>
                  <a:gd name="T7" fmla="*/ 11 h 163"/>
                  <a:gd name="T8" fmla="*/ 1627 w 1651"/>
                  <a:gd name="T9" fmla="*/ 24 h 163"/>
                  <a:gd name="T10" fmla="*/ 1639 w 1651"/>
                  <a:gd name="T11" fmla="*/ 40 h 163"/>
                  <a:gd name="T12" fmla="*/ 1648 w 1651"/>
                  <a:gd name="T13" fmla="*/ 60 h 163"/>
                  <a:gd name="T14" fmla="*/ 1651 w 1651"/>
                  <a:gd name="T15" fmla="*/ 81 h 163"/>
                  <a:gd name="T16" fmla="*/ 1648 w 1651"/>
                  <a:gd name="T17" fmla="*/ 103 h 163"/>
                  <a:gd name="T18" fmla="*/ 1639 w 1651"/>
                  <a:gd name="T19" fmla="*/ 123 h 163"/>
                  <a:gd name="T20" fmla="*/ 1627 w 1651"/>
                  <a:gd name="T21" fmla="*/ 139 h 163"/>
                  <a:gd name="T22" fmla="*/ 1610 w 1651"/>
                  <a:gd name="T23" fmla="*/ 152 h 163"/>
                  <a:gd name="T24" fmla="*/ 1591 w 1651"/>
                  <a:gd name="T25" fmla="*/ 160 h 163"/>
                  <a:gd name="T26" fmla="*/ 1569 w 1651"/>
                  <a:gd name="T27" fmla="*/ 163 h 163"/>
                  <a:gd name="T28" fmla="*/ 81 w 1651"/>
                  <a:gd name="T29" fmla="*/ 163 h 163"/>
                  <a:gd name="T30" fmla="*/ 60 w 1651"/>
                  <a:gd name="T31" fmla="*/ 160 h 163"/>
                  <a:gd name="T32" fmla="*/ 40 w 1651"/>
                  <a:gd name="T33" fmla="*/ 152 h 163"/>
                  <a:gd name="T34" fmla="*/ 24 w 1651"/>
                  <a:gd name="T35" fmla="*/ 139 h 163"/>
                  <a:gd name="T36" fmla="*/ 11 w 1651"/>
                  <a:gd name="T37" fmla="*/ 123 h 163"/>
                  <a:gd name="T38" fmla="*/ 3 w 1651"/>
                  <a:gd name="T39" fmla="*/ 103 h 163"/>
                  <a:gd name="T40" fmla="*/ 0 w 1651"/>
                  <a:gd name="T41" fmla="*/ 81 h 163"/>
                  <a:gd name="T42" fmla="*/ 3 w 1651"/>
                  <a:gd name="T43" fmla="*/ 60 h 163"/>
                  <a:gd name="T44" fmla="*/ 11 w 1651"/>
                  <a:gd name="T45" fmla="*/ 40 h 163"/>
                  <a:gd name="T46" fmla="*/ 24 w 1651"/>
                  <a:gd name="T47" fmla="*/ 24 h 163"/>
                  <a:gd name="T48" fmla="*/ 40 w 1651"/>
                  <a:gd name="T49" fmla="*/ 11 h 163"/>
                  <a:gd name="T50" fmla="*/ 60 w 1651"/>
                  <a:gd name="T51" fmla="*/ 3 h 163"/>
                  <a:gd name="T52" fmla="*/ 81 w 1651"/>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51" h="163">
                    <a:moveTo>
                      <a:pt x="81" y="0"/>
                    </a:moveTo>
                    <a:lnTo>
                      <a:pt x="1569" y="0"/>
                    </a:lnTo>
                    <a:lnTo>
                      <a:pt x="1591" y="3"/>
                    </a:lnTo>
                    <a:lnTo>
                      <a:pt x="1610" y="11"/>
                    </a:lnTo>
                    <a:lnTo>
                      <a:pt x="1627" y="24"/>
                    </a:lnTo>
                    <a:lnTo>
                      <a:pt x="1639" y="40"/>
                    </a:lnTo>
                    <a:lnTo>
                      <a:pt x="1648" y="60"/>
                    </a:lnTo>
                    <a:lnTo>
                      <a:pt x="1651" y="81"/>
                    </a:lnTo>
                    <a:lnTo>
                      <a:pt x="1648" y="103"/>
                    </a:lnTo>
                    <a:lnTo>
                      <a:pt x="1639" y="123"/>
                    </a:lnTo>
                    <a:lnTo>
                      <a:pt x="1627" y="139"/>
                    </a:lnTo>
                    <a:lnTo>
                      <a:pt x="1610" y="152"/>
                    </a:lnTo>
                    <a:lnTo>
                      <a:pt x="1591" y="160"/>
                    </a:lnTo>
                    <a:lnTo>
                      <a:pt x="1569" y="163"/>
                    </a:lnTo>
                    <a:lnTo>
                      <a:pt x="81" y="163"/>
                    </a:lnTo>
                    <a:lnTo>
                      <a:pt x="60" y="160"/>
                    </a:lnTo>
                    <a:lnTo>
                      <a:pt x="40" y="152"/>
                    </a:lnTo>
                    <a:lnTo>
                      <a:pt x="24" y="139"/>
                    </a:lnTo>
                    <a:lnTo>
                      <a:pt x="11" y="123"/>
                    </a:lnTo>
                    <a:lnTo>
                      <a:pt x="3" y="103"/>
                    </a:lnTo>
                    <a:lnTo>
                      <a:pt x="0" y="81"/>
                    </a:lnTo>
                    <a:lnTo>
                      <a:pt x="3" y="60"/>
                    </a:lnTo>
                    <a:lnTo>
                      <a:pt x="11" y="40"/>
                    </a:lnTo>
                    <a:lnTo>
                      <a:pt x="24" y="24"/>
                    </a:lnTo>
                    <a:lnTo>
                      <a:pt x="40" y="11"/>
                    </a:lnTo>
                    <a:lnTo>
                      <a:pt x="60" y="3"/>
                    </a:lnTo>
                    <a:lnTo>
                      <a:pt x="81"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23" name="Freeform 1052"/>
              <p:cNvSpPr/>
              <p:nvPr/>
            </p:nvSpPr>
            <p:spPr bwMode="auto">
              <a:xfrm>
                <a:off x="826" y="1734"/>
                <a:ext cx="1572" cy="163"/>
              </a:xfrm>
              <a:custGeom>
                <a:avLst/>
                <a:gdLst>
                  <a:gd name="T0" fmla="*/ 81 w 1572"/>
                  <a:gd name="T1" fmla="*/ 0 h 163"/>
                  <a:gd name="T2" fmla="*/ 1492 w 1572"/>
                  <a:gd name="T3" fmla="*/ 0 h 163"/>
                  <a:gd name="T4" fmla="*/ 1513 w 1572"/>
                  <a:gd name="T5" fmla="*/ 2 h 163"/>
                  <a:gd name="T6" fmla="*/ 1533 w 1572"/>
                  <a:gd name="T7" fmla="*/ 11 h 163"/>
                  <a:gd name="T8" fmla="*/ 1549 w 1572"/>
                  <a:gd name="T9" fmla="*/ 24 h 163"/>
                  <a:gd name="T10" fmla="*/ 1561 w 1572"/>
                  <a:gd name="T11" fmla="*/ 40 h 163"/>
                  <a:gd name="T12" fmla="*/ 1570 w 1572"/>
                  <a:gd name="T13" fmla="*/ 60 h 163"/>
                  <a:gd name="T14" fmla="*/ 1572 w 1572"/>
                  <a:gd name="T15" fmla="*/ 81 h 163"/>
                  <a:gd name="T16" fmla="*/ 1570 w 1572"/>
                  <a:gd name="T17" fmla="*/ 103 h 163"/>
                  <a:gd name="T18" fmla="*/ 1561 w 1572"/>
                  <a:gd name="T19" fmla="*/ 123 h 163"/>
                  <a:gd name="T20" fmla="*/ 1549 w 1572"/>
                  <a:gd name="T21" fmla="*/ 139 h 163"/>
                  <a:gd name="T22" fmla="*/ 1533 w 1572"/>
                  <a:gd name="T23" fmla="*/ 151 h 163"/>
                  <a:gd name="T24" fmla="*/ 1513 w 1572"/>
                  <a:gd name="T25" fmla="*/ 160 h 163"/>
                  <a:gd name="T26" fmla="*/ 1492 w 1572"/>
                  <a:gd name="T27" fmla="*/ 163 h 163"/>
                  <a:gd name="T28" fmla="*/ 81 w 1572"/>
                  <a:gd name="T29" fmla="*/ 163 h 163"/>
                  <a:gd name="T30" fmla="*/ 60 w 1572"/>
                  <a:gd name="T31" fmla="*/ 160 h 163"/>
                  <a:gd name="T32" fmla="*/ 40 w 1572"/>
                  <a:gd name="T33" fmla="*/ 151 h 163"/>
                  <a:gd name="T34" fmla="*/ 24 w 1572"/>
                  <a:gd name="T35" fmla="*/ 139 h 163"/>
                  <a:gd name="T36" fmla="*/ 11 w 1572"/>
                  <a:gd name="T37" fmla="*/ 123 h 163"/>
                  <a:gd name="T38" fmla="*/ 3 w 1572"/>
                  <a:gd name="T39" fmla="*/ 103 h 163"/>
                  <a:gd name="T40" fmla="*/ 0 w 1572"/>
                  <a:gd name="T41" fmla="*/ 81 h 163"/>
                  <a:gd name="T42" fmla="*/ 3 w 1572"/>
                  <a:gd name="T43" fmla="*/ 60 h 163"/>
                  <a:gd name="T44" fmla="*/ 11 w 1572"/>
                  <a:gd name="T45" fmla="*/ 40 h 163"/>
                  <a:gd name="T46" fmla="*/ 24 w 1572"/>
                  <a:gd name="T47" fmla="*/ 24 h 163"/>
                  <a:gd name="T48" fmla="*/ 40 w 1572"/>
                  <a:gd name="T49" fmla="*/ 11 h 163"/>
                  <a:gd name="T50" fmla="*/ 60 w 1572"/>
                  <a:gd name="T51" fmla="*/ 2 h 163"/>
                  <a:gd name="T52" fmla="*/ 81 w 1572"/>
                  <a:gd name="T53"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72" h="163">
                    <a:moveTo>
                      <a:pt x="81" y="0"/>
                    </a:moveTo>
                    <a:lnTo>
                      <a:pt x="1492" y="0"/>
                    </a:lnTo>
                    <a:lnTo>
                      <a:pt x="1513" y="2"/>
                    </a:lnTo>
                    <a:lnTo>
                      <a:pt x="1533" y="11"/>
                    </a:lnTo>
                    <a:lnTo>
                      <a:pt x="1549" y="24"/>
                    </a:lnTo>
                    <a:lnTo>
                      <a:pt x="1561" y="40"/>
                    </a:lnTo>
                    <a:lnTo>
                      <a:pt x="1570" y="60"/>
                    </a:lnTo>
                    <a:lnTo>
                      <a:pt x="1572" y="81"/>
                    </a:lnTo>
                    <a:lnTo>
                      <a:pt x="1570" y="103"/>
                    </a:lnTo>
                    <a:lnTo>
                      <a:pt x="1561" y="123"/>
                    </a:lnTo>
                    <a:lnTo>
                      <a:pt x="1549" y="139"/>
                    </a:lnTo>
                    <a:lnTo>
                      <a:pt x="1533" y="151"/>
                    </a:lnTo>
                    <a:lnTo>
                      <a:pt x="1513" y="160"/>
                    </a:lnTo>
                    <a:lnTo>
                      <a:pt x="1492" y="163"/>
                    </a:lnTo>
                    <a:lnTo>
                      <a:pt x="81" y="163"/>
                    </a:lnTo>
                    <a:lnTo>
                      <a:pt x="60" y="160"/>
                    </a:lnTo>
                    <a:lnTo>
                      <a:pt x="40" y="151"/>
                    </a:lnTo>
                    <a:lnTo>
                      <a:pt x="24" y="139"/>
                    </a:lnTo>
                    <a:lnTo>
                      <a:pt x="11" y="123"/>
                    </a:lnTo>
                    <a:lnTo>
                      <a:pt x="3" y="103"/>
                    </a:lnTo>
                    <a:lnTo>
                      <a:pt x="0" y="81"/>
                    </a:lnTo>
                    <a:lnTo>
                      <a:pt x="3" y="60"/>
                    </a:lnTo>
                    <a:lnTo>
                      <a:pt x="11" y="40"/>
                    </a:lnTo>
                    <a:lnTo>
                      <a:pt x="24" y="24"/>
                    </a:lnTo>
                    <a:lnTo>
                      <a:pt x="40" y="11"/>
                    </a:lnTo>
                    <a:lnTo>
                      <a:pt x="60" y="2"/>
                    </a:lnTo>
                    <a:lnTo>
                      <a:pt x="81"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24" name="Freeform 1053"/>
              <p:cNvSpPr/>
              <p:nvPr/>
            </p:nvSpPr>
            <p:spPr bwMode="auto">
              <a:xfrm>
                <a:off x="826" y="2210"/>
                <a:ext cx="1062" cy="162"/>
              </a:xfrm>
              <a:custGeom>
                <a:avLst/>
                <a:gdLst>
                  <a:gd name="T0" fmla="*/ 81 w 1062"/>
                  <a:gd name="T1" fmla="*/ 0 h 162"/>
                  <a:gd name="T2" fmla="*/ 981 w 1062"/>
                  <a:gd name="T3" fmla="*/ 0 h 162"/>
                  <a:gd name="T4" fmla="*/ 1002 w 1062"/>
                  <a:gd name="T5" fmla="*/ 2 h 162"/>
                  <a:gd name="T6" fmla="*/ 1022 w 1062"/>
                  <a:gd name="T7" fmla="*/ 11 h 162"/>
                  <a:gd name="T8" fmla="*/ 1038 w 1062"/>
                  <a:gd name="T9" fmla="*/ 23 h 162"/>
                  <a:gd name="T10" fmla="*/ 1051 w 1062"/>
                  <a:gd name="T11" fmla="*/ 39 h 162"/>
                  <a:gd name="T12" fmla="*/ 1059 w 1062"/>
                  <a:gd name="T13" fmla="*/ 59 h 162"/>
                  <a:gd name="T14" fmla="*/ 1062 w 1062"/>
                  <a:gd name="T15" fmla="*/ 80 h 162"/>
                  <a:gd name="T16" fmla="*/ 1059 w 1062"/>
                  <a:gd name="T17" fmla="*/ 103 h 162"/>
                  <a:gd name="T18" fmla="*/ 1051 w 1062"/>
                  <a:gd name="T19" fmla="*/ 123 h 162"/>
                  <a:gd name="T20" fmla="*/ 1038 w 1062"/>
                  <a:gd name="T21" fmla="*/ 139 h 162"/>
                  <a:gd name="T22" fmla="*/ 1022 w 1062"/>
                  <a:gd name="T23" fmla="*/ 151 h 162"/>
                  <a:gd name="T24" fmla="*/ 1002 w 1062"/>
                  <a:gd name="T25" fmla="*/ 160 h 162"/>
                  <a:gd name="T26" fmla="*/ 981 w 1062"/>
                  <a:gd name="T27" fmla="*/ 162 h 162"/>
                  <a:gd name="T28" fmla="*/ 81 w 1062"/>
                  <a:gd name="T29" fmla="*/ 162 h 162"/>
                  <a:gd name="T30" fmla="*/ 60 w 1062"/>
                  <a:gd name="T31" fmla="*/ 160 h 162"/>
                  <a:gd name="T32" fmla="*/ 40 w 1062"/>
                  <a:gd name="T33" fmla="*/ 151 h 162"/>
                  <a:gd name="T34" fmla="*/ 24 w 1062"/>
                  <a:gd name="T35" fmla="*/ 139 h 162"/>
                  <a:gd name="T36" fmla="*/ 11 w 1062"/>
                  <a:gd name="T37" fmla="*/ 123 h 162"/>
                  <a:gd name="T38" fmla="*/ 3 w 1062"/>
                  <a:gd name="T39" fmla="*/ 103 h 162"/>
                  <a:gd name="T40" fmla="*/ 0 w 1062"/>
                  <a:gd name="T41" fmla="*/ 80 h 162"/>
                  <a:gd name="T42" fmla="*/ 3 w 1062"/>
                  <a:gd name="T43" fmla="*/ 59 h 162"/>
                  <a:gd name="T44" fmla="*/ 11 w 1062"/>
                  <a:gd name="T45" fmla="*/ 39 h 162"/>
                  <a:gd name="T46" fmla="*/ 24 w 1062"/>
                  <a:gd name="T47" fmla="*/ 23 h 162"/>
                  <a:gd name="T48" fmla="*/ 40 w 1062"/>
                  <a:gd name="T49" fmla="*/ 11 h 162"/>
                  <a:gd name="T50" fmla="*/ 60 w 1062"/>
                  <a:gd name="T51" fmla="*/ 2 h 162"/>
                  <a:gd name="T52" fmla="*/ 81 w 1062"/>
                  <a:gd name="T5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2" h="162">
                    <a:moveTo>
                      <a:pt x="81" y="0"/>
                    </a:moveTo>
                    <a:lnTo>
                      <a:pt x="981" y="0"/>
                    </a:lnTo>
                    <a:lnTo>
                      <a:pt x="1002" y="2"/>
                    </a:lnTo>
                    <a:lnTo>
                      <a:pt x="1022" y="11"/>
                    </a:lnTo>
                    <a:lnTo>
                      <a:pt x="1038" y="23"/>
                    </a:lnTo>
                    <a:lnTo>
                      <a:pt x="1051" y="39"/>
                    </a:lnTo>
                    <a:lnTo>
                      <a:pt x="1059" y="59"/>
                    </a:lnTo>
                    <a:lnTo>
                      <a:pt x="1062" y="80"/>
                    </a:lnTo>
                    <a:lnTo>
                      <a:pt x="1059" y="103"/>
                    </a:lnTo>
                    <a:lnTo>
                      <a:pt x="1051" y="123"/>
                    </a:lnTo>
                    <a:lnTo>
                      <a:pt x="1038" y="139"/>
                    </a:lnTo>
                    <a:lnTo>
                      <a:pt x="1022" y="151"/>
                    </a:lnTo>
                    <a:lnTo>
                      <a:pt x="1002" y="160"/>
                    </a:lnTo>
                    <a:lnTo>
                      <a:pt x="981" y="162"/>
                    </a:lnTo>
                    <a:lnTo>
                      <a:pt x="81" y="162"/>
                    </a:lnTo>
                    <a:lnTo>
                      <a:pt x="60" y="160"/>
                    </a:lnTo>
                    <a:lnTo>
                      <a:pt x="40" y="151"/>
                    </a:lnTo>
                    <a:lnTo>
                      <a:pt x="24" y="139"/>
                    </a:lnTo>
                    <a:lnTo>
                      <a:pt x="11" y="123"/>
                    </a:lnTo>
                    <a:lnTo>
                      <a:pt x="3" y="103"/>
                    </a:lnTo>
                    <a:lnTo>
                      <a:pt x="0" y="80"/>
                    </a:lnTo>
                    <a:lnTo>
                      <a:pt x="3" y="59"/>
                    </a:lnTo>
                    <a:lnTo>
                      <a:pt x="11" y="39"/>
                    </a:lnTo>
                    <a:lnTo>
                      <a:pt x="24" y="23"/>
                    </a:lnTo>
                    <a:lnTo>
                      <a:pt x="40" y="11"/>
                    </a:lnTo>
                    <a:lnTo>
                      <a:pt x="60" y="2"/>
                    </a:lnTo>
                    <a:lnTo>
                      <a:pt x="81"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25" name="Freeform 1054"/>
              <p:cNvSpPr/>
              <p:nvPr/>
            </p:nvSpPr>
            <p:spPr bwMode="auto">
              <a:xfrm>
                <a:off x="826" y="2677"/>
                <a:ext cx="673" cy="162"/>
              </a:xfrm>
              <a:custGeom>
                <a:avLst/>
                <a:gdLst>
                  <a:gd name="T0" fmla="*/ 81 w 673"/>
                  <a:gd name="T1" fmla="*/ 0 h 162"/>
                  <a:gd name="T2" fmla="*/ 591 w 673"/>
                  <a:gd name="T3" fmla="*/ 0 h 162"/>
                  <a:gd name="T4" fmla="*/ 614 w 673"/>
                  <a:gd name="T5" fmla="*/ 2 h 162"/>
                  <a:gd name="T6" fmla="*/ 633 w 673"/>
                  <a:gd name="T7" fmla="*/ 11 h 162"/>
                  <a:gd name="T8" fmla="*/ 650 w 673"/>
                  <a:gd name="T9" fmla="*/ 23 h 162"/>
                  <a:gd name="T10" fmla="*/ 662 w 673"/>
                  <a:gd name="T11" fmla="*/ 39 h 162"/>
                  <a:gd name="T12" fmla="*/ 671 w 673"/>
                  <a:gd name="T13" fmla="*/ 59 h 162"/>
                  <a:gd name="T14" fmla="*/ 673 w 673"/>
                  <a:gd name="T15" fmla="*/ 80 h 162"/>
                  <a:gd name="T16" fmla="*/ 671 w 673"/>
                  <a:gd name="T17" fmla="*/ 103 h 162"/>
                  <a:gd name="T18" fmla="*/ 662 w 673"/>
                  <a:gd name="T19" fmla="*/ 123 h 162"/>
                  <a:gd name="T20" fmla="*/ 650 w 673"/>
                  <a:gd name="T21" fmla="*/ 139 h 162"/>
                  <a:gd name="T22" fmla="*/ 632 w 673"/>
                  <a:gd name="T23" fmla="*/ 151 h 162"/>
                  <a:gd name="T24" fmla="*/ 614 w 673"/>
                  <a:gd name="T25" fmla="*/ 160 h 162"/>
                  <a:gd name="T26" fmla="*/ 591 w 673"/>
                  <a:gd name="T27" fmla="*/ 162 h 162"/>
                  <a:gd name="T28" fmla="*/ 81 w 673"/>
                  <a:gd name="T29" fmla="*/ 162 h 162"/>
                  <a:gd name="T30" fmla="*/ 60 w 673"/>
                  <a:gd name="T31" fmla="*/ 160 h 162"/>
                  <a:gd name="T32" fmla="*/ 40 w 673"/>
                  <a:gd name="T33" fmla="*/ 151 h 162"/>
                  <a:gd name="T34" fmla="*/ 24 w 673"/>
                  <a:gd name="T35" fmla="*/ 139 h 162"/>
                  <a:gd name="T36" fmla="*/ 11 w 673"/>
                  <a:gd name="T37" fmla="*/ 123 h 162"/>
                  <a:gd name="T38" fmla="*/ 3 w 673"/>
                  <a:gd name="T39" fmla="*/ 103 h 162"/>
                  <a:gd name="T40" fmla="*/ 0 w 673"/>
                  <a:gd name="T41" fmla="*/ 80 h 162"/>
                  <a:gd name="T42" fmla="*/ 3 w 673"/>
                  <a:gd name="T43" fmla="*/ 59 h 162"/>
                  <a:gd name="T44" fmla="*/ 11 w 673"/>
                  <a:gd name="T45" fmla="*/ 39 h 162"/>
                  <a:gd name="T46" fmla="*/ 24 w 673"/>
                  <a:gd name="T47" fmla="*/ 23 h 162"/>
                  <a:gd name="T48" fmla="*/ 40 w 673"/>
                  <a:gd name="T49" fmla="*/ 11 h 162"/>
                  <a:gd name="T50" fmla="*/ 60 w 673"/>
                  <a:gd name="T51" fmla="*/ 2 h 162"/>
                  <a:gd name="T52" fmla="*/ 81 w 673"/>
                  <a:gd name="T5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3" h="162">
                    <a:moveTo>
                      <a:pt x="81" y="0"/>
                    </a:moveTo>
                    <a:lnTo>
                      <a:pt x="591" y="0"/>
                    </a:lnTo>
                    <a:lnTo>
                      <a:pt x="614" y="2"/>
                    </a:lnTo>
                    <a:lnTo>
                      <a:pt x="633" y="11"/>
                    </a:lnTo>
                    <a:lnTo>
                      <a:pt x="650" y="23"/>
                    </a:lnTo>
                    <a:lnTo>
                      <a:pt x="662" y="39"/>
                    </a:lnTo>
                    <a:lnTo>
                      <a:pt x="671" y="59"/>
                    </a:lnTo>
                    <a:lnTo>
                      <a:pt x="673" y="80"/>
                    </a:lnTo>
                    <a:lnTo>
                      <a:pt x="671" y="103"/>
                    </a:lnTo>
                    <a:lnTo>
                      <a:pt x="662" y="123"/>
                    </a:lnTo>
                    <a:lnTo>
                      <a:pt x="650" y="139"/>
                    </a:lnTo>
                    <a:lnTo>
                      <a:pt x="632" y="151"/>
                    </a:lnTo>
                    <a:lnTo>
                      <a:pt x="614" y="160"/>
                    </a:lnTo>
                    <a:lnTo>
                      <a:pt x="591" y="162"/>
                    </a:lnTo>
                    <a:lnTo>
                      <a:pt x="81" y="162"/>
                    </a:lnTo>
                    <a:lnTo>
                      <a:pt x="60" y="160"/>
                    </a:lnTo>
                    <a:lnTo>
                      <a:pt x="40" y="151"/>
                    </a:lnTo>
                    <a:lnTo>
                      <a:pt x="24" y="139"/>
                    </a:lnTo>
                    <a:lnTo>
                      <a:pt x="11" y="123"/>
                    </a:lnTo>
                    <a:lnTo>
                      <a:pt x="3" y="103"/>
                    </a:lnTo>
                    <a:lnTo>
                      <a:pt x="0" y="80"/>
                    </a:lnTo>
                    <a:lnTo>
                      <a:pt x="3" y="59"/>
                    </a:lnTo>
                    <a:lnTo>
                      <a:pt x="11" y="39"/>
                    </a:lnTo>
                    <a:lnTo>
                      <a:pt x="24" y="23"/>
                    </a:lnTo>
                    <a:lnTo>
                      <a:pt x="40" y="11"/>
                    </a:lnTo>
                    <a:lnTo>
                      <a:pt x="60" y="2"/>
                    </a:lnTo>
                    <a:lnTo>
                      <a:pt x="81"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grpSp>
        <p:sp>
          <p:nvSpPr>
            <p:cNvPr id="126" name="Freeform 116"/>
            <p:cNvSpPr/>
            <p:nvPr/>
          </p:nvSpPr>
          <p:spPr bwMode="auto">
            <a:xfrm>
              <a:off x="3298644" y="5458115"/>
              <a:ext cx="447604" cy="394159"/>
            </a:xfrm>
            <a:custGeom>
              <a:avLst/>
              <a:gdLst>
                <a:gd name="T0" fmla="*/ 1272 w 4019"/>
                <a:gd name="T1" fmla="*/ 446 h 3537"/>
                <a:gd name="T2" fmla="*/ 1751 w 4019"/>
                <a:gd name="T3" fmla="*/ 406 h 3537"/>
                <a:gd name="T4" fmla="*/ 2093 w 4019"/>
                <a:gd name="T5" fmla="*/ 479 h 3537"/>
                <a:gd name="T6" fmla="*/ 3354 w 4019"/>
                <a:gd name="T7" fmla="*/ 581 h 3537"/>
                <a:gd name="T8" fmla="*/ 2479 w 4019"/>
                <a:gd name="T9" fmla="*/ 669 h 3537"/>
                <a:gd name="T10" fmla="*/ 2779 w 4019"/>
                <a:gd name="T11" fmla="*/ 926 h 3537"/>
                <a:gd name="T12" fmla="*/ 2804 w 4019"/>
                <a:gd name="T13" fmla="*/ 1139 h 3537"/>
                <a:gd name="T14" fmla="*/ 2880 w 4019"/>
                <a:gd name="T15" fmla="*/ 1500 h 3537"/>
                <a:gd name="T16" fmla="*/ 2790 w 4019"/>
                <a:gd name="T17" fmla="*/ 1682 h 3537"/>
                <a:gd name="T18" fmla="*/ 2596 w 4019"/>
                <a:gd name="T19" fmla="*/ 1670 h 3537"/>
                <a:gd name="T20" fmla="*/ 2377 w 4019"/>
                <a:gd name="T21" fmla="*/ 1368 h 3537"/>
                <a:gd name="T22" fmla="*/ 2268 w 4019"/>
                <a:gd name="T23" fmla="*/ 1148 h 3537"/>
                <a:gd name="T24" fmla="*/ 451 w 4019"/>
                <a:gd name="T25" fmla="*/ 2201 h 3537"/>
                <a:gd name="T26" fmla="*/ 398 w 4019"/>
                <a:gd name="T27" fmla="*/ 2402 h 3537"/>
                <a:gd name="T28" fmla="*/ 587 w 4019"/>
                <a:gd name="T29" fmla="*/ 2487 h 3537"/>
                <a:gd name="T30" fmla="*/ 1638 w 4019"/>
                <a:gd name="T31" fmla="*/ 1780 h 3537"/>
                <a:gd name="T32" fmla="*/ 1735 w 4019"/>
                <a:gd name="T33" fmla="*/ 1880 h 3537"/>
                <a:gd name="T34" fmla="*/ 771 w 4019"/>
                <a:gd name="T35" fmla="*/ 2603 h 3537"/>
                <a:gd name="T36" fmla="*/ 856 w 4019"/>
                <a:gd name="T37" fmla="*/ 2784 h 3537"/>
                <a:gd name="T38" fmla="*/ 1072 w 4019"/>
                <a:gd name="T39" fmla="*/ 2750 h 3537"/>
                <a:gd name="T40" fmla="*/ 1902 w 4019"/>
                <a:gd name="T41" fmla="*/ 2166 h 3537"/>
                <a:gd name="T42" fmla="*/ 1971 w 4019"/>
                <a:gd name="T43" fmla="*/ 2283 h 3537"/>
                <a:gd name="T44" fmla="*/ 1135 w 4019"/>
                <a:gd name="T45" fmla="*/ 2963 h 3537"/>
                <a:gd name="T46" fmla="*/ 1246 w 4019"/>
                <a:gd name="T47" fmla="*/ 3128 h 3537"/>
                <a:gd name="T48" fmla="*/ 2053 w 4019"/>
                <a:gd name="T49" fmla="*/ 2639 h 3537"/>
                <a:gd name="T50" fmla="*/ 2148 w 4019"/>
                <a:gd name="T51" fmla="*/ 2739 h 3537"/>
                <a:gd name="T52" fmla="*/ 1674 w 4019"/>
                <a:gd name="T53" fmla="*/ 3155 h 3537"/>
                <a:gd name="T54" fmla="*/ 1772 w 4019"/>
                <a:gd name="T55" fmla="*/ 3291 h 3537"/>
                <a:gd name="T56" fmla="*/ 1919 w 4019"/>
                <a:gd name="T57" fmla="*/ 3150 h 3537"/>
                <a:gd name="T58" fmla="*/ 2148 w 4019"/>
                <a:gd name="T59" fmla="*/ 3039 h 3537"/>
                <a:gd name="T60" fmla="*/ 2317 w 4019"/>
                <a:gd name="T61" fmla="*/ 2787 h 3537"/>
                <a:gd name="T62" fmla="*/ 2581 w 4019"/>
                <a:gd name="T63" fmla="*/ 2755 h 3537"/>
                <a:gd name="T64" fmla="*/ 2679 w 4019"/>
                <a:gd name="T65" fmla="*/ 2524 h 3537"/>
                <a:gd name="T66" fmla="*/ 2944 w 4019"/>
                <a:gd name="T67" fmla="*/ 2527 h 3537"/>
                <a:gd name="T68" fmla="*/ 2913 w 4019"/>
                <a:gd name="T69" fmla="*/ 2297 h 3537"/>
                <a:gd name="T70" fmla="*/ 3143 w 4019"/>
                <a:gd name="T71" fmla="*/ 2130 h 3537"/>
                <a:gd name="T72" fmla="*/ 3680 w 4019"/>
                <a:gd name="T73" fmla="*/ 1780 h 3537"/>
                <a:gd name="T74" fmla="*/ 3768 w 4019"/>
                <a:gd name="T75" fmla="*/ 1921 h 3537"/>
                <a:gd name="T76" fmla="*/ 3566 w 4019"/>
                <a:gd name="T77" fmla="*/ 2638 h 3537"/>
                <a:gd name="T78" fmla="*/ 3395 w 4019"/>
                <a:gd name="T79" fmla="*/ 2870 h 3537"/>
                <a:gd name="T80" fmla="*/ 3170 w 4019"/>
                <a:gd name="T81" fmla="*/ 2849 h 3537"/>
                <a:gd name="T82" fmla="*/ 3084 w 4019"/>
                <a:gd name="T83" fmla="*/ 3105 h 3537"/>
                <a:gd name="T84" fmla="*/ 2837 w 4019"/>
                <a:gd name="T85" fmla="*/ 3119 h 3537"/>
                <a:gd name="T86" fmla="*/ 2754 w 4019"/>
                <a:gd name="T87" fmla="*/ 3259 h 3537"/>
                <a:gd name="T88" fmla="*/ 2512 w 4019"/>
                <a:gd name="T89" fmla="*/ 3356 h 3537"/>
                <a:gd name="T90" fmla="*/ 2378 w 4019"/>
                <a:gd name="T91" fmla="*/ 3315 h 3537"/>
                <a:gd name="T92" fmla="*/ 2229 w 4019"/>
                <a:gd name="T93" fmla="*/ 3529 h 3537"/>
                <a:gd name="T94" fmla="*/ 1994 w 4019"/>
                <a:gd name="T95" fmla="*/ 3449 h 3537"/>
                <a:gd name="T96" fmla="*/ 1748 w 4019"/>
                <a:gd name="T97" fmla="*/ 3447 h 3537"/>
                <a:gd name="T98" fmla="*/ 1525 w 4019"/>
                <a:gd name="T99" fmla="*/ 3246 h 3537"/>
                <a:gd name="T100" fmla="*/ 1264 w 4019"/>
                <a:gd name="T101" fmla="*/ 3295 h 3537"/>
                <a:gd name="T102" fmla="*/ 1014 w 4019"/>
                <a:gd name="T103" fmla="*/ 3128 h 3537"/>
                <a:gd name="T104" fmla="*/ 869 w 4019"/>
                <a:gd name="T105" fmla="*/ 2944 h 3537"/>
                <a:gd name="T106" fmla="*/ 629 w 4019"/>
                <a:gd name="T107" fmla="*/ 2759 h 3537"/>
                <a:gd name="T108" fmla="*/ 446 w 4019"/>
                <a:gd name="T109" fmla="*/ 2635 h 3537"/>
                <a:gd name="T110" fmla="*/ 230 w 4019"/>
                <a:gd name="T111" fmla="*/ 2403 h 3537"/>
                <a:gd name="T112" fmla="*/ 323 w 4019"/>
                <a:gd name="T113" fmla="*/ 2101 h 3537"/>
                <a:gd name="T114" fmla="*/ 150 w 4019"/>
                <a:gd name="T115" fmla="*/ 1733 h 3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19" h="3537">
                  <a:moveTo>
                    <a:pt x="0" y="0"/>
                  </a:moveTo>
                  <a:lnTo>
                    <a:pt x="899" y="412"/>
                  </a:lnTo>
                  <a:lnTo>
                    <a:pt x="959" y="436"/>
                  </a:lnTo>
                  <a:lnTo>
                    <a:pt x="1020" y="452"/>
                  </a:lnTo>
                  <a:lnTo>
                    <a:pt x="1083" y="462"/>
                  </a:lnTo>
                  <a:lnTo>
                    <a:pt x="1146" y="463"/>
                  </a:lnTo>
                  <a:lnTo>
                    <a:pt x="1210" y="458"/>
                  </a:lnTo>
                  <a:lnTo>
                    <a:pt x="1272" y="446"/>
                  </a:lnTo>
                  <a:lnTo>
                    <a:pt x="1318" y="434"/>
                  </a:lnTo>
                  <a:lnTo>
                    <a:pt x="1369" y="423"/>
                  </a:lnTo>
                  <a:lnTo>
                    <a:pt x="1424" y="414"/>
                  </a:lnTo>
                  <a:lnTo>
                    <a:pt x="1481" y="407"/>
                  </a:lnTo>
                  <a:lnTo>
                    <a:pt x="1543" y="403"/>
                  </a:lnTo>
                  <a:lnTo>
                    <a:pt x="1609" y="401"/>
                  </a:lnTo>
                  <a:lnTo>
                    <a:pt x="1677" y="402"/>
                  </a:lnTo>
                  <a:lnTo>
                    <a:pt x="1751" y="406"/>
                  </a:lnTo>
                  <a:lnTo>
                    <a:pt x="1826" y="414"/>
                  </a:lnTo>
                  <a:lnTo>
                    <a:pt x="1906" y="427"/>
                  </a:lnTo>
                  <a:lnTo>
                    <a:pt x="1989" y="444"/>
                  </a:lnTo>
                  <a:lnTo>
                    <a:pt x="2000" y="447"/>
                  </a:lnTo>
                  <a:lnTo>
                    <a:pt x="2017" y="453"/>
                  </a:lnTo>
                  <a:lnTo>
                    <a:pt x="2039" y="459"/>
                  </a:lnTo>
                  <a:lnTo>
                    <a:pt x="2065" y="468"/>
                  </a:lnTo>
                  <a:lnTo>
                    <a:pt x="2093" y="479"/>
                  </a:lnTo>
                  <a:lnTo>
                    <a:pt x="3084" y="490"/>
                  </a:lnTo>
                  <a:lnTo>
                    <a:pt x="3133" y="487"/>
                  </a:lnTo>
                  <a:lnTo>
                    <a:pt x="3181" y="478"/>
                  </a:lnTo>
                  <a:lnTo>
                    <a:pt x="3227" y="462"/>
                  </a:lnTo>
                  <a:lnTo>
                    <a:pt x="3271" y="440"/>
                  </a:lnTo>
                  <a:lnTo>
                    <a:pt x="4019" y="4"/>
                  </a:lnTo>
                  <a:lnTo>
                    <a:pt x="4019" y="188"/>
                  </a:lnTo>
                  <a:lnTo>
                    <a:pt x="3354" y="581"/>
                  </a:lnTo>
                  <a:lnTo>
                    <a:pt x="3311" y="604"/>
                  </a:lnTo>
                  <a:lnTo>
                    <a:pt x="3266" y="623"/>
                  </a:lnTo>
                  <a:lnTo>
                    <a:pt x="3218" y="635"/>
                  </a:lnTo>
                  <a:lnTo>
                    <a:pt x="3171" y="642"/>
                  </a:lnTo>
                  <a:lnTo>
                    <a:pt x="3122" y="645"/>
                  </a:lnTo>
                  <a:lnTo>
                    <a:pt x="2954" y="648"/>
                  </a:lnTo>
                  <a:lnTo>
                    <a:pt x="2425" y="640"/>
                  </a:lnTo>
                  <a:lnTo>
                    <a:pt x="2479" y="669"/>
                  </a:lnTo>
                  <a:lnTo>
                    <a:pt x="2530" y="698"/>
                  </a:lnTo>
                  <a:lnTo>
                    <a:pt x="2579" y="730"/>
                  </a:lnTo>
                  <a:lnTo>
                    <a:pt x="2624" y="761"/>
                  </a:lnTo>
                  <a:lnTo>
                    <a:pt x="2665" y="793"/>
                  </a:lnTo>
                  <a:lnTo>
                    <a:pt x="2703" y="826"/>
                  </a:lnTo>
                  <a:lnTo>
                    <a:pt x="2734" y="859"/>
                  </a:lnTo>
                  <a:lnTo>
                    <a:pt x="2759" y="893"/>
                  </a:lnTo>
                  <a:lnTo>
                    <a:pt x="2779" y="926"/>
                  </a:lnTo>
                  <a:lnTo>
                    <a:pt x="2779" y="930"/>
                  </a:lnTo>
                  <a:lnTo>
                    <a:pt x="2780" y="942"/>
                  </a:lnTo>
                  <a:lnTo>
                    <a:pt x="2782" y="961"/>
                  </a:lnTo>
                  <a:lnTo>
                    <a:pt x="2785" y="988"/>
                  </a:lnTo>
                  <a:lnTo>
                    <a:pt x="2788" y="1020"/>
                  </a:lnTo>
                  <a:lnTo>
                    <a:pt x="2793" y="1055"/>
                  </a:lnTo>
                  <a:lnTo>
                    <a:pt x="2798" y="1095"/>
                  </a:lnTo>
                  <a:lnTo>
                    <a:pt x="2804" y="1139"/>
                  </a:lnTo>
                  <a:lnTo>
                    <a:pt x="2812" y="1184"/>
                  </a:lnTo>
                  <a:lnTo>
                    <a:pt x="2819" y="1232"/>
                  </a:lnTo>
                  <a:lnTo>
                    <a:pt x="2827" y="1279"/>
                  </a:lnTo>
                  <a:lnTo>
                    <a:pt x="2837" y="1327"/>
                  </a:lnTo>
                  <a:lnTo>
                    <a:pt x="2847" y="1374"/>
                  </a:lnTo>
                  <a:lnTo>
                    <a:pt x="2857" y="1418"/>
                  </a:lnTo>
                  <a:lnTo>
                    <a:pt x="2868" y="1461"/>
                  </a:lnTo>
                  <a:lnTo>
                    <a:pt x="2880" y="1500"/>
                  </a:lnTo>
                  <a:lnTo>
                    <a:pt x="2886" y="1529"/>
                  </a:lnTo>
                  <a:lnTo>
                    <a:pt x="2887" y="1558"/>
                  </a:lnTo>
                  <a:lnTo>
                    <a:pt x="2881" y="1586"/>
                  </a:lnTo>
                  <a:lnTo>
                    <a:pt x="2871" y="1613"/>
                  </a:lnTo>
                  <a:lnTo>
                    <a:pt x="2855" y="1637"/>
                  </a:lnTo>
                  <a:lnTo>
                    <a:pt x="2835" y="1657"/>
                  </a:lnTo>
                  <a:lnTo>
                    <a:pt x="2809" y="1674"/>
                  </a:lnTo>
                  <a:lnTo>
                    <a:pt x="2790" y="1682"/>
                  </a:lnTo>
                  <a:lnTo>
                    <a:pt x="2769" y="1690"/>
                  </a:lnTo>
                  <a:lnTo>
                    <a:pt x="2746" y="1696"/>
                  </a:lnTo>
                  <a:lnTo>
                    <a:pt x="2723" y="1699"/>
                  </a:lnTo>
                  <a:lnTo>
                    <a:pt x="2698" y="1699"/>
                  </a:lnTo>
                  <a:lnTo>
                    <a:pt x="2674" y="1698"/>
                  </a:lnTo>
                  <a:lnTo>
                    <a:pt x="2648" y="1692"/>
                  </a:lnTo>
                  <a:lnTo>
                    <a:pt x="2622" y="1683"/>
                  </a:lnTo>
                  <a:lnTo>
                    <a:pt x="2596" y="1670"/>
                  </a:lnTo>
                  <a:lnTo>
                    <a:pt x="2568" y="1652"/>
                  </a:lnTo>
                  <a:lnTo>
                    <a:pt x="2541" y="1629"/>
                  </a:lnTo>
                  <a:lnTo>
                    <a:pt x="2513" y="1601"/>
                  </a:lnTo>
                  <a:lnTo>
                    <a:pt x="2486" y="1567"/>
                  </a:lnTo>
                  <a:lnTo>
                    <a:pt x="2458" y="1528"/>
                  </a:lnTo>
                  <a:lnTo>
                    <a:pt x="2430" y="1481"/>
                  </a:lnTo>
                  <a:lnTo>
                    <a:pt x="2403" y="1428"/>
                  </a:lnTo>
                  <a:lnTo>
                    <a:pt x="2377" y="1368"/>
                  </a:lnTo>
                  <a:lnTo>
                    <a:pt x="2350" y="1300"/>
                  </a:lnTo>
                  <a:lnTo>
                    <a:pt x="2324" y="1224"/>
                  </a:lnTo>
                  <a:lnTo>
                    <a:pt x="2323" y="1221"/>
                  </a:lnTo>
                  <a:lnTo>
                    <a:pt x="2318" y="1213"/>
                  </a:lnTo>
                  <a:lnTo>
                    <a:pt x="2310" y="1201"/>
                  </a:lnTo>
                  <a:lnTo>
                    <a:pt x="2299" y="1187"/>
                  </a:lnTo>
                  <a:lnTo>
                    <a:pt x="2285" y="1168"/>
                  </a:lnTo>
                  <a:lnTo>
                    <a:pt x="2268" y="1148"/>
                  </a:lnTo>
                  <a:lnTo>
                    <a:pt x="2250" y="1124"/>
                  </a:lnTo>
                  <a:lnTo>
                    <a:pt x="2228" y="1101"/>
                  </a:lnTo>
                  <a:lnTo>
                    <a:pt x="2205" y="1077"/>
                  </a:lnTo>
                  <a:lnTo>
                    <a:pt x="2181" y="1054"/>
                  </a:lnTo>
                  <a:lnTo>
                    <a:pt x="2154" y="1031"/>
                  </a:lnTo>
                  <a:lnTo>
                    <a:pt x="2126" y="1010"/>
                  </a:lnTo>
                  <a:lnTo>
                    <a:pt x="2095" y="990"/>
                  </a:lnTo>
                  <a:lnTo>
                    <a:pt x="451" y="2201"/>
                  </a:lnTo>
                  <a:lnTo>
                    <a:pt x="428" y="2221"/>
                  </a:lnTo>
                  <a:lnTo>
                    <a:pt x="411" y="2242"/>
                  </a:lnTo>
                  <a:lnTo>
                    <a:pt x="396" y="2267"/>
                  </a:lnTo>
                  <a:lnTo>
                    <a:pt x="387" y="2294"/>
                  </a:lnTo>
                  <a:lnTo>
                    <a:pt x="383" y="2320"/>
                  </a:lnTo>
                  <a:lnTo>
                    <a:pt x="384" y="2348"/>
                  </a:lnTo>
                  <a:lnTo>
                    <a:pt x="389" y="2375"/>
                  </a:lnTo>
                  <a:lnTo>
                    <a:pt x="398" y="2402"/>
                  </a:lnTo>
                  <a:lnTo>
                    <a:pt x="413" y="2426"/>
                  </a:lnTo>
                  <a:lnTo>
                    <a:pt x="432" y="2448"/>
                  </a:lnTo>
                  <a:lnTo>
                    <a:pt x="454" y="2467"/>
                  </a:lnTo>
                  <a:lnTo>
                    <a:pt x="479" y="2480"/>
                  </a:lnTo>
                  <a:lnTo>
                    <a:pt x="506" y="2488"/>
                  </a:lnTo>
                  <a:lnTo>
                    <a:pt x="532" y="2493"/>
                  </a:lnTo>
                  <a:lnTo>
                    <a:pt x="560" y="2492"/>
                  </a:lnTo>
                  <a:lnTo>
                    <a:pt x="587" y="2487"/>
                  </a:lnTo>
                  <a:lnTo>
                    <a:pt x="614" y="2477"/>
                  </a:lnTo>
                  <a:lnTo>
                    <a:pt x="637" y="2463"/>
                  </a:lnTo>
                  <a:lnTo>
                    <a:pt x="721" y="2402"/>
                  </a:lnTo>
                  <a:lnTo>
                    <a:pt x="728" y="2397"/>
                  </a:lnTo>
                  <a:lnTo>
                    <a:pt x="736" y="2391"/>
                  </a:lnTo>
                  <a:lnTo>
                    <a:pt x="743" y="2382"/>
                  </a:lnTo>
                  <a:lnTo>
                    <a:pt x="1615" y="1791"/>
                  </a:lnTo>
                  <a:lnTo>
                    <a:pt x="1638" y="1780"/>
                  </a:lnTo>
                  <a:lnTo>
                    <a:pt x="1660" y="1777"/>
                  </a:lnTo>
                  <a:lnTo>
                    <a:pt x="1682" y="1782"/>
                  </a:lnTo>
                  <a:lnTo>
                    <a:pt x="1704" y="1793"/>
                  </a:lnTo>
                  <a:lnTo>
                    <a:pt x="1719" y="1806"/>
                  </a:lnTo>
                  <a:lnTo>
                    <a:pt x="1730" y="1823"/>
                  </a:lnTo>
                  <a:lnTo>
                    <a:pt x="1736" y="1842"/>
                  </a:lnTo>
                  <a:lnTo>
                    <a:pt x="1737" y="1862"/>
                  </a:lnTo>
                  <a:lnTo>
                    <a:pt x="1735" y="1880"/>
                  </a:lnTo>
                  <a:lnTo>
                    <a:pt x="1729" y="1895"/>
                  </a:lnTo>
                  <a:lnTo>
                    <a:pt x="1718" y="1909"/>
                  </a:lnTo>
                  <a:lnTo>
                    <a:pt x="1704" y="1921"/>
                  </a:lnTo>
                  <a:lnTo>
                    <a:pt x="889" y="2476"/>
                  </a:lnTo>
                  <a:lnTo>
                    <a:pt x="816" y="2527"/>
                  </a:lnTo>
                  <a:lnTo>
                    <a:pt x="797" y="2551"/>
                  </a:lnTo>
                  <a:lnTo>
                    <a:pt x="782" y="2575"/>
                  </a:lnTo>
                  <a:lnTo>
                    <a:pt x="771" y="2603"/>
                  </a:lnTo>
                  <a:lnTo>
                    <a:pt x="766" y="2631"/>
                  </a:lnTo>
                  <a:lnTo>
                    <a:pt x="765" y="2659"/>
                  </a:lnTo>
                  <a:lnTo>
                    <a:pt x="770" y="2688"/>
                  </a:lnTo>
                  <a:lnTo>
                    <a:pt x="780" y="2716"/>
                  </a:lnTo>
                  <a:lnTo>
                    <a:pt x="795" y="2742"/>
                  </a:lnTo>
                  <a:lnTo>
                    <a:pt x="811" y="2760"/>
                  </a:lnTo>
                  <a:lnTo>
                    <a:pt x="832" y="2773"/>
                  </a:lnTo>
                  <a:lnTo>
                    <a:pt x="856" y="2784"/>
                  </a:lnTo>
                  <a:lnTo>
                    <a:pt x="883" y="2792"/>
                  </a:lnTo>
                  <a:lnTo>
                    <a:pt x="912" y="2797"/>
                  </a:lnTo>
                  <a:lnTo>
                    <a:pt x="943" y="2797"/>
                  </a:lnTo>
                  <a:lnTo>
                    <a:pt x="973" y="2794"/>
                  </a:lnTo>
                  <a:lnTo>
                    <a:pt x="1004" y="2787"/>
                  </a:lnTo>
                  <a:lnTo>
                    <a:pt x="1033" y="2776"/>
                  </a:lnTo>
                  <a:lnTo>
                    <a:pt x="1061" y="2761"/>
                  </a:lnTo>
                  <a:lnTo>
                    <a:pt x="1072" y="2750"/>
                  </a:lnTo>
                  <a:lnTo>
                    <a:pt x="1082" y="2741"/>
                  </a:lnTo>
                  <a:lnTo>
                    <a:pt x="1094" y="2731"/>
                  </a:lnTo>
                  <a:lnTo>
                    <a:pt x="1107" y="2723"/>
                  </a:lnTo>
                  <a:lnTo>
                    <a:pt x="1841" y="2194"/>
                  </a:lnTo>
                  <a:lnTo>
                    <a:pt x="1854" y="2180"/>
                  </a:lnTo>
                  <a:lnTo>
                    <a:pt x="1867" y="2172"/>
                  </a:lnTo>
                  <a:lnTo>
                    <a:pt x="1883" y="2167"/>
                  </a:lnTo>
                  <a:lnTo>
                    <a:pt x="1902" y="2166"/>
                  </a:lnTo>
                  <a:lnTo>
                    <a:pt x="1922" y="2169"/>
                  </a:lnTo>
                  <a:lnTo>
                    <a:pt x="1941" y="2178"/>
                  </a:lnTo>
                  <a:lnTo>
                    <a:pt x="1956" y="2191"/>
                  </a:lnTo>
                  <a:lnTo>
                    <a:pt x="1969" y="2207"/>
                  </a:lnTo>
                  <a:lnTo>
                    <a:pt x="1977" y="2227"/>
                  </a:lnTo>
                  <a:lnTo>
                    <a:pt x="1980" y="2247"/>
                  </a:lnTo>
                  <a:lnTo>
                    <a:pt x="1977" y="2266"/>
                  </a:lnTo>
                  <a:lnTo>
                    <a:pt x="1971" y="2283"/>
                  </a:lnTo>
                  <a:lnTo>
                    <a:pt x="1962" y="2297"/>
                  </a:lnTo>
                  <a:lnTo>
                    <a:pt x="1952" y="2309"/>
                  </a:lnTo>
                  <a:lnTo>
                    <a:pt x="1202" y="2844"/>
                  </a:lnTo>
                  <a:lnTo>
                    <a:pt x="1180" y="2862"/>
                  </a:lnTo>
                  <a:lnTo>
                    <a:pt x="1162" y="2884"/>
                  </a:lnTo>
                  <a:lnTo>
                    <a:pt x="1149" y="2910"/>
                  </a:lnTo>
                  <a:lnTo>
                    <a:pt x="1139" y="2935"/>
                  </a:lnTo>
                  <a:lnTo>
                    <a:pt x="1135" y="2963"/>
                  </a:lnTo>
                  <a:lnTo>
                    <a:pt x="1135" y="2990"/>
                  </a:lnTo>
                  <a:lnTo>
                    <a:pt x="1140" y="3018"/>
                  </a:lnTo>
                  <a:lnTo>
                    <a:pt x="1150" y="3044"/>
                  </a:lnTo>
                  <a:lnTo>
                    <a:pt x="1165" y="3068"/>
                  </a:lnTo>
                  <a:lnTo>
                    <a:pt x="1180" y="3088"/>
                  </a:lnTo>
                  <a:lnTo>
                    <a:pt x="1200" y="3105"/>
                  </a:lnTo>
                  <a:lnTo>
                    <a:pt x="1222" y="3118"/>
                  </a:lnTo>
                  <a:lnTo>
                    <a:pt x="1246" y="3128"/>
                  </a:lnTo>
                  <a:lnTo>
                    <a:pt x="1273" y="3134"/>
                  </a:lnTo>
                  <a:lnTo>
                    <a:pt x="1305" y="3136"/>
                  </a:lnTo>
                  <a:lnTo>
                    <a:pt x="1336" y="3131"/>
                  </a:lnTo>
                  <a:lnTo>
                    <a:pt x="1367" y="3121"/>
                  </a:lnTo>
                  <a:lnTo>
                    <a:pt x="1395" y="3105"/>
                  </a:lnTo>
                  <a:lnTo>
                    <a:pt x="2022" y="2650"/>
                  </a:lnTo>
                  <a:lnTo>
                    <a:pt x="2038" y="2643"/>
                  </a:lnTo>
                  <a:lnTo>
                    <a:pt x="2053" y="2639"/>
                  </a:lnTo>
                  <a:lnTo>
                    <a:pt x="2068" y="2638"/>
                  </a:lnTo>
                  <a:lnTo>
                    <a:pt x="2090" y="2641"/>
                  </a:lnTo>
                  <a:lnTo>
                    <a:pt x="2110" y="2649"/>
                  </a:lnTo>
                  <a:lnTo>
                    <a:pt x="2127" y="2663"/>
                  </a:lnTo>
                  <a:lnTo>
                    <a:pt x="2140" y="2680"/>
                  </a:lnTo>
                  <a:lnTo>
                    <a:pt x="2148" y="2699"/>
                  </a:lnTo>
                  <a:lnTo>
                    <a:pt x="2150" y="2722"/>
                  </a:lnTo>
                  <a:lnTo>
                    <a:pt x="2148" y="2739"/>
                  </a:lnTo>
                  <a:lnTo>
                    <a:pt x="2140" y="2755"/>
                  </a:lnTo>
                  <a:lnTo>
                    <a:pt x="2131" y="2769"/>
                  </a:lnTo>
                  <a:lnTo>
                    <a:pt x="2117" y="2781"/>
                  </a:lnTo>
                  <a:lnTo>
                    <a:pt x="1724" y="3077"/>
                  </a:lnTo>
                  <a:lnTo>
                    <a:pt x="1705" y="3093"/>
                  </a:lnTo>
                  <a:lnTo>
                    <a:pt x="1691" y="3111"/>
                  </a:lnTo>
                  <a:lnTo>
                    <a:pt x="1681" y="3133"/>
                  </a:lnTo>
                  <a:lnTo>
                    <a:pt x="1674" y="3155"/>
                  </a:lnTo>
                  <a:lnTo>
                    <a:pt x="1671" y="3178"/>
                  </a:lnTo>
                  <a:lnTo>
                    <a:pt x="1675" y="3201"/>
                  </a:lnTo>
                  <a:lnTo>
                    <a:pt x="1682" y="3223"/>
                  </a:lnTo>
                  <a:lnTo>
                    <a:pt x="1694" y="3241"/>
                  </a:lnTo>
                  <a:lnTo>
                    <a:pt x="1710" y="3259"/>
                  </a:lnTo>
                  <a:lnTo>
                    <a:pt x="1730" y="3273"/>
                  </a:lnTo>
                  <a:lnTo>
                    <a:pt x="1751" y="3284"/>
                  </a:lnTo>
                  <a:lnTo>
                    <a:pt x="1772" y="3291"/>
                  </a:lnTo>
                  <a:lnTo>
                    <a:pt x="1796" y="3292"/>
                  </a:lnTo>
                  <a:lnTo>
                    <a:pt x="1819" y="3290"/>
                  </a:lnTo>
                  <a:lnTo>
                    <a:pt x="1841" y="3283"/>
                  </a:lnTo>
                  <a:lnTo>
                    <a:pt x="1859" y="3270"/>
                  </a:lnTo>
                  <a:lnTo>
                    <a:pt x="1895" y="3247"/>
                  </a:lnTo>
                  <a:lnTo>
                    <a:pt x="1898" y="3214"/>
                  </a:lnTo>
                  <a:lnTo>
                    <a:pt x="1905" y="3181"/>
                  </a:lnTo>
                  <a:lnTo>
                    <a:pt x="1919" y="3150"/>
                  </a:lnTo>
                  <a:lnTo>
                    <a:pt x="1937" y="3121"/>
                  </a:lnTo>
                  <a:lnTo>
                    <a:pt x="1959" y="3094"/>
                  </a:lnTo>
                  <a:lnTo>
                    <a:pt x="1986" y="3071"/>
                  </a:lnTo>
                  <a:lnTo>
                    <a:pt x="2015" y="3054"/>
                  </a:lnTo>
                  <a:lnTo>
                    <a:pt x="2048" y="3041"/>
                  </a:lnTo>
                  <a:lnTo>
                    <a:pt x="2081" y="3035"/>
                  </a:lnTo>
                  <a:lnTo>
                    <a:pt x="2115" y="3034"/>
                  </a:lnTo>
                  <a:lnTo>
                    <a:pt x="2148" y="3039"/>
                  </a:lnTo>
                  <a:lnTo>
                    <a:pt x="2221" y="2993"/>
                  </a:lnTo>
                  <a:lnTo>
                    <a:pt x="2221" y="2960"/>
                  </a:lnTo>
                  <a:lnTo>
                    <a:pt x="2226" y="2927"/>
                  </a:lnTo>
                  <a:lnTo>
                    <a:pt x="2235" y="2895"/>
                  </a:lnTo>
                  <a:lnTo>
                    <a:pt x="2249" y="2864"/>
                  </a:lnTo>
                  <a:lnTo>
                    <a:pt x="2267" y="2836"/>
                  </a:lnTo>
                  <a:lnTo>
                    <a:pt x="2290" y="2809"/>
                  </a:lnTo>
                  <a:lnTo>
                    <a:pt x="2317" y="2787"/>
                  </a:lnTo>
                  <a:lnTo>
                    <a:pt x="2350" y="2769"/>
                  </a:lnTo>
                  <a:lnTo>
                    <a:pt x="2384" y="2755"/>
                  </a:lnTo>
                  <a:lnTo>
                    <a:pt x="2418" y="2748"/>
                  </a:lnTo>
                  <a:lnTo>
                    <a:pt x="2453" y="2747"/>
                  </a:lnTo>
                  <a:lnTo>
                    <a:pt x="2489" y="2752"/>
                  </a:lnTo>
                  <a:lnTo>
                    <a:pt x="2522" y="2760"/>
                  </a:lnTo>
                  <a:lnTo>
                    <a:pt x="2555" y="2775"/>
                  </a:lnTo>
                  <a:lnTo>
                    <a:pt x="2581" y="2755"/>
                  </a:lnTo>
                  <a:lnTo>
                    <a:pt x="2578" y="2719"/>
                  </a:lnTo>
                  <a:lnTo>
                    <a:pt x="2580" y="2682"/>
                  </a:lnTo>
                  <a:lnTo>
                    <a:pt x="2587" y="2646"/>
                  </a:lnTo>
                  <a:lnTo>
                    <a:pt x="2601" y="2613"/>
                  </a:lnTo>
                  <a:lnTo>
                    <a:pt x="2620" y="2581"/>
                  </a:lnTo>
                  <a:lnTo>
                    <a:pt x="2645" y="2553"/>
                  </a:lnTo>
                  <a:lnTo>
                    <a:pt x="2674" y="2529"/>
                  </a:lnTo>
                  <a:lnTo>
                    <a:pt x="2679" y="2524"/>
                  </a:lnTo>
                  <a:lnTo>
                    <a:pt x="2710" y="2505"/>
                  </a:lnTo>
                  <a:lnTo>
                    <a:pt x="2745" y="2493"/>
                  </a:lnTo>
                  <a:lnTo>
                    <a:pt x="2779" y="2486"/>
                  </a:lnTo>
                  <a:lnTo>
                    <a:pt x="2814" y="2485"/>
                  </a:lnTo>
                  <a:lnTo>
                    <a:pt x="2848" y="2488"/>
                  </a:lnTo>
                  <a:lnTo>
                    <a:pt x="2882" y="2497"/>
                  </a:lnTo>
                  <a:lnTo>
                    <a:pt x="2914" y="2510"/>
                  </a:lnTo>
                  <a:lnTo>
                    <a:pt x="2944" y="2527"/>
                  </a:lnTo>
                  <a:lnTo>
                    <a:pt x="2949" y="2527"/>
                  </a:lnTo>
                  <a:lnTo>
                    <a:pt x="2946" y="2518"/>
                  </a:lnTo>
                  <a:lnTo>
                    <a:pt x="2925" y="2482"/>
                  </a:lnTo>
                  <a:lnTo>
                    <a:pt x="2910" y="2447"/>
                  </a:lnTo>
                  <a:lnTo>
                    <a:pt x="2902" y="2409"/>
                  </a:lnTo>
                  <a:lnTo>
                    <a:pt x="2900" y="2372"/>
                  </a:lnTo>
                  <a:lnTo>
                    <a:pt x="2904" y="2334"/>
                  </a:lnTo>
                  <a:lnTo>
                    <a:pt x="2913" y="2297"/>
                  </a:lnTo>
                  <a:lnTo>
                    <a:pt x="2929" y="2262"/>
                  </a:lnTo>
                  <a:lnTo>
                    <a:pt x="2948" y="2229"/>
                  </a:lnTo>
                  <a:lnTo>
                    <a:pt x="2974" y="2199"/>
                  </a:lnTo>
                  <a:lnTo>
                    <a:pt x="3004" y="2173"/>
                  </a:lnTo>
                  <a:lnTo>
                    <a:pt x="3037" y="2154"/>
                  </a:lnTo>
                  <a:lnTo>
                    <a:pt x="3071" y="2140"/>
                  </a:lnTo>
                  <a:lnTo>
                    <a:pt x="3108" y="2133"/>
                  </a:lnTo>
                  <a:lnTo>
                    <a:pt x="3143" y="2130"/>
                  </a:lnTo>
                  <a:lnTo>
                    <a:pt x="3179" y="2133"/>
                  </a:lnTo>
                  <a:lnTo>
                    <a:pt x="3215" y="2140"/>
                  </a:lnTo>
                  <a:lnTo>
                    <a:pt x="3249" y="2154"/>
                  </a:lnTo>
                  <a:lnTo>
                    <a:pt x="3281" y="2172"/>
                  </a:lnTo>
                  <a:lnTo>
                    <a:pt x="3310" y="2194"/>
                  </a:lnTo>
                  <a:lnTo>
                    <a:pt x="3584" y="1877"/>
                  </a:lnTo>
                  <a:lnTo>
                    <a:pt x="3630" y="1826"/>
                  </a:lnTo>
                  <a:lnTo>
                    <a:pt x="3680" y="1780"/>
                  </a:lnTo>
                  <a:lnTo>
                    <a:pt x="3733" y="1737"/>
                  </a:lnTo>
                  <a:lnTo>
                    <a:pt x="3787" y="1697"/>
                  </a:lnTo>
                  <a:lnTo>
                    <a:pt x="3846" y="1661"/>
                  </a:lnTo>
                  <a:lnTo>
                    <a:pt x="4019" y="1563"/>
                  </a:lnTo>
                  <a:lnTo>
                    <a:pt x="4019" y="1760"/>
                  </a:lnTo>
                  <a:lnTo>
                    <a:pt x="3893" y="1832"/>
                  </a:lnTo>
                  <a:lnTo>
                    <a:pt x="3829" y="1873"/>
                  </a:lnTo>
                  <a:lnTo>
                    <a:pt x="3768" y="1921"/>
                  </a:lnTo>
                  <a:lnTo>
                    <a:pt x="3711" y="1972"/>
                  </a:lnTo>
                  <a:lnTo>
                    <a:pt x="3658" y="2028"/>
                  </a:lnTo>
                  <a:lnTo>
                    <a:pt x="3404" y="2325"/>
                  </a:lnTo>
                  <a:lnTo>
                    <a:pt x="3521" y="2492"/>
                  </a:lnTo>
                  <a:lnTo>
                    <a:pt x="3541" y="2527"/>
                  </a:lnTo>
                  <a:lnTo>
                    <a:pt x="3556" y="2563"/>
                  </a:lnTo>
                  <a:lnTo>
                    <a:pt x="3563" y="2600"/>
                  </a:lnTo>
                  <a:lnTo>
                    <a:pt x="3566" y="2638"/>
                  </a:lnTo>
                  <a:lnTo>
                    <a:pt x="3562" y="2676"/>
                  </a:lnTo>
                  <a:lnTo>
                    <a:pt x="3552" y="2713"/>
                  </a:lnTo>
                  <a:lnTo>
                    <a:pt x="3538" y="2748"/>
                  </a:lnTo>
                  <a:lnTo>
                    <a:pt x="3518" y="2781"/>
                  </a:lnTo>
                  <a:lnTo>
                    <a:pt x="3493" y="2811"/>
                  </a:lnTo>
                  <a:lnTo>
                    <a:pt x="3462" y="2837"/>
                  </a:lnTo>
                  <a:lnTo>
                    <a:pt x="3429" y="2856"/>
                  </a:lnTo>
                  <a:lnTo>
                    <a:pt x="3395" y="2870"/>
                  </a:lnTo>
                  <a:lnTo>
                    <a:pt x="3359" y="2877"/>
                  </a:lnTo>
                  <a:lnTo>
                    <a:pt x="3322" y="2879"/>
                  </a:lnTo>
                  <a:lnTo>
                    <a:pt x="3285" y="2877"/>
                  </a:lnTo>
                  <a:lnTo>
                    <a:pt x="3250" y="2870"/>
                  </a:lnTo>
                  <a:lnTo>
                    <a:pt x="3216" y="2856"/>
                  </a:lnTo>
                  <a:lnTo>
                    <a:pt x="3184" y="2838"/>
                  </a:lnTo>
                  <a:lnTo>
                    <a:pt x="3156" y="2816"/>
                  </a:lnTo>
                  <a:lnTo>
                    <a:pt x="3170" y="2849"/>
                  </a:lnTo>
                  <a:lnTo>
                    <a:pt x="3178" y="2884"/>
                  </a:lnTo>
                  <a:lnTo>
                    <a:pt x="3181" y="2920"/>
                  </a:lnTo>
                  <a:lnTo>
                    <a:pt x="3178" y="2955"/>
                  </a:lnTo>
                  <a:lnTo>
                    <a:pt x="3170" y="2990"/>
                  </a:lnTo>
                  <a:lnTo>
                    <a:pt x="3156" y="3022"/>
                  </a:lnTo>
                  <a:lnTo>
                    <a:pt x="3138" y="3054"/>
                  </a:lnTo>
                  <a:lnTo>
                    <a:pt x="3114" y="3080"/>
                  </a:lnTo>
                  <a:lnTo>
                    <a:pt x="3084" y="3105"/>
                  </a:lnTo>
                  <a:lnTo>
                    <a:pt x="3080" y="3110"/>
                  </a:lnTo>
                  <a:lnTo>
                    <a:pt x="3048" y="3128"/>
                  </a:lnTo>
                  <a:lnTo>
                    <a:pt x="3013" y="3141"/>
                  </a:lnTo>
                  <a:lnTo>
                    <a:pt x="2977" y="3147"/>
                  </a:lnTo>
                  <a:lnTo>
                    <a:pt x="2941" y="3149"/>
                  </a:lnTo>
                  <a:lnTo>
                    <a:pt x="2905" y="3145"/>
                  </a:lnTo>
                  <a:lnTo>
                    <a:pt x="2870" y="3135"/>
                  </a:lnTo>
                  <a:lnTo>
                    <a:pt x="2837" y="3119"/>
                  </a:lnTo>
                  <a:lnTo>
                    <a:pt x="2807" y="3099"/>
                  </a:lnTo>
                  <a:lnTo>
                    <a:pt x="2780" y="3073"/>
                  </a:lnTo>
                  <a:lnTo>
                    <a:pt x="2786" y="3105"/>
                  </a:lnTo>
                  <a:lnTo>
                    <a:pt x="2788" y="3138"/>
                  </a:lnTo>
                  <a:lnTo>
                    <a:pt x="2786" y="3169"/>
                  </a:lnTo>
                  <a:lnTo>
                    <a:pt x="2780" y="3201"/>
                  </a:lnTo>
                  <a:lnTo>
                    <a:pt x="2769" y="3231"/>
                  </a:lnTo>
                  <a:lnTo>
                    <a:pt x="2754" y="3259"/>
                  </a:lnTo>
                  <a:lnTo>
                    <a:pt x="2735" y="3286"/>
                  </a:lnTo>
                  <a:lnTo>
                    <a:pt x="2710" y="3309"/>
                  </a:lnTo>
                  <a:lnTo>
                    <a:pt x="2682" y="3330"/>
                  </a:lnTo>
                  <a:lnTo>
                    <a:pt x="2651" y="3346"/>
                  </a:lnTo>
                  <a:lnTo>
                    <a:pt x="2617" y="3357"/>
                  </a:lnTo>
                  <a:lnTo>
                    <a:pt x="2581" y="3362"/>
                  </a:lnTo>
                  <a:lnTo>
                    <a:pt x="2546" y="3362"/>
                  </a:lnTo>
                  <a:lnTo>
                    <a:pt x="2512" y="3356"/>
                  </a:lnTo>
                  <a:lnTo>
                    <a:pt x="2479" y="3346"/>
                  </a:lnTo>
                  <a:lnTo>
                    <a:pt x="2447" y="3330"/>
                  </a:lnTo>
                  <a:lnTo>
                    <a:pt x="2418" y="3309"/>
                  </a:lnTo>
                  <a:lnTo>
                    <a:pt x="2393" y="3285"/>
                  </a:lnTo>
                  <a:lnTo>
                    <a:pt x="2369" y="3257"/>
                  </a:lnTo>
                  <a:lnTo>
                    <a:pt x="2363" y="3247"/>
                  </a:lnTo>
                  <a:lnTo>
                    <a:pt x="2373" y="3280"/>
                  </a:lnTo>
                  <a:lnTo>
                    <a:pt x="2378" y="3315"/>
                  </a:lnTo>
                  <a:lnTo>
                    <a:pt x="2377" y="3351"/>
                  </a:lnTo>
                  <a:lnTo>
                    <a:pt x="2369" y="3385"/>
                  </a:lnTo>
                  <a:lnTo>
                    <a:pt x="2356" y="3419"/>
                  </a:lnTo>
                  <a:lnTo>
                    <a:pt x="2339" y="3449"/>
                  </a:lnTo>
                  <a:lnTo>
                    <a:pt x="2316" y="3476"/>
                  </a:lnTo>
                  <a:lnTo>
                    <a:pt x="2289" y="3501"/>
                  </a:lnTo>
                  <a:lnTo>
                    <a:pt x="2260" y="3516"/>
                  </a:lnTo>
                  <a:lnTo>
                    <a:pt x="2229" y="3529"/>
                  </a:lnTo>
                  <a:lnTo>
                    <a:pt x="2196" y="3536"/>
                  </a:lnTo>
                  <a:lnTo>
                    <a:pt x="2163" y="3537"/>
                  </a:lnTo>
                  <a:lnTo>
                    <a:pt x="2131" y="3535"/>
                  </a:lnTo>
                  <a:lnTo>
                    <a:pt x="2099" y="3526"/>
                  </a:lnTo>
                  <a:lnTo>
                    <a:pt x="2070" y="3514"/>
                  </a:lnTo>
                  <a:lnTo>
                    <a:pt x="2042" y="3497"/>
                  </a:lnTo>
                  <a:lnTo>
                    <a:pt x="2016" y="3475"/>
                  </a:lnTo>
                  <a:lnTo>
                    <a:pt x="1994" y="3449"/>
                  </a:lnTo>
                  <a:lnTo>
                    <a:pt x="1958" y="3397"/>
                  </a:lnTo>
                  <a:lnTo>
                    <a:pt x="1953" y="3397"/>
                  </a:lnTo>
                  <a:lnTo>
                    <a:pt x="1920" y="3416"/>
                  </a:lnTo>
                  <a:lnTo>
                    <a:pt x="1886" y="3432"/>
                  </a:lnTo>
                  <a:lnTo>
                    <a:pt x="1850" y="3442"/>
                  </a:lnTo>
                  <a:lnTo>
                    <a:pt x="1815" y="3448"/>
                  </a:lnTo>
                  <a:lnTo>
                    <a:pt x="1779" y="3448"/>
                  </a:lnTo>
                  <a:lnTo>
                    <a:pt x="1748" y="3447"/>
                  </a:lnTo>
                  <a:lnTo>
                    <a:pt x="1704" y="3435"/>
                  </a:lnTo>
                  <a:lnTo>
                    <a:pt x="1664" y="3418"/>
                  </a:lnTo>
                  <a:lnTo>
                    <a:pt x="1627" y="3396"/>
                  </a:lnTo>
                  <a:lnTo>
                    <a:pt x="1596" y="3368"/>
                  </a:lnTo>
                  <a:lnTo>
                    <a:pt x="1568" y="3336"/>
                  </a:lnTo>
                  <a:lnTo>
                    <a:pt x="1550" y="3307"/>
                  </a:lnTo>
                  <a:lnTo>
                    <a:pt x="1536" y="3278"/>
                  </a:lnTo>
                  <a:lnTo>
                    <a:pt x="1525" y="3246"/>
                  </a:lnTo>
                  <a:lnTo>
                    <a:pt x="1519" y="3212"/>
                  </a:lnTo>
                  <a:lnTo>
                    <a:pt x="1487" y="3236"/>
                  </a:lnTo>
                  <a:lnTo>
                    <a:pt x="1451" y="3259"/>
                  </a:lnTo>
                  <a:lnTo>
                    <a:pt x="1412" y="3276"/>
                  </a:lnTo>
                  <a:lnTo>
                    <a:pt x="1370" y="3289"/>
                  </a:lnTo>
                  <a:lnTo>
                    <a:pt x="1328" y="3295"/>
                  </a:lnTo>
                  <a:lnTo>
                    <a:pt x="1283" y="3296"/>
                  </a:lnTo>
                  <a:lnTo>
                    <a:pt x="1264" y="3295"/>
                  </a:lnTo>
                  <a:lnTo>
                    <a:pt x="1247" y="3293"/>
                  </a:lnTo>
                  <a:lnTo>
                    <a:pt x="1206" y="3284"/>
                  </a:lnTo>
                  <a:lnTo>
                    <a:pt x="1167" y="3269"/>
                  </a:lnTo>
                  <a:lnTo>
                    <a:pt x="1130" y="3251"/>
                  </a:lnTo>
                  <a:lnTo>
                    <a:pt x="1096" y="3226"/>
                  </a:lnTo>
                  <a:lnTo>
                    <a:pt x="1066" y="3198"/>
                  </a:lnTo>
                  <a:lnTo>
                    <a:pt x="1038" y="3167"/>
                  </a:lnTo>
                  <a:lnTo>
                    <a:pt x="1014" y="3128"/>
                  </a:lnTo>
                  <a:lnTo>
                    <a:pt x="994" y="3086"/>
                  </a:lnTo>
                  <a:lnTo>
                    <a:pt x="982" y="3043"/>
                  </a:lnTo>
                  <a:lnTo>
                    <a:pt x="977" y="2998"/>
                  </a:lnTo>
                  <a:lnTo>
                    <a:pt x="979" y="2952"/>
                  </a:lnTo>
                  <a:lnTo>
                    <a:pt x="957" y="2951"/>
                  </a:lnTo>
                  <a:lnTo>
                    <a:pt x="933" y="2950"/>
                  </a:lnTo>
                  <a:lnTo>
                    <a:pt x="909" y="2949"/>
                  </a:lnTo>
                  <a:lnTo>
                    <a:pt x="869" y="2944"/>
                  </a:lnTo>
                  <a:lnTo>
                    <a:pt x="828" y="2937"/>
                  </a:lnTo>
                  <a:lnTo>
                    <a:pt x="792" y="2924"/>
                  </a:lnTo>
                  <a:lnTo>
                    <a:pt x="756" y="2907"/>
                  </a:lnTo>
                  <a:lnTo>
                    <a:pt x="724" y="2887"/>
                  </a:lnTo>
                  <a:lnTo>
                    <a:pt x="694" y="2861"/>
                  </a:lnTo>
                  <a:lnTo>
                    <a:pt x="668" y="2829"/>
                  </a:lnTo>
                  <a:lnTo>
                    <a:pt x="646" y="2794"/>
                  </a:lnTo>
                  <a:lnTo>
                    <a:pt x="629" y="2759"/>
                  </a:lnTo>
                  <a:lnTo>
                    <a:pt x="618" y="2721"/>
                  </a:lnTo>
                  <a:lnTo>
                    <a:pt x="610" y="2682"/>
                  </a:lnTo>
                  <a:lnTo>
                    <a:pt x="608" y="2641"/>
                  </a:lnTo>
                  <a:lnTo>
                    <a:pt x="566" y="2646"/>
                  </a:lnTo>
                  <a:lnTo>
                    <a:pt x="523" y="2646"/>
                  </a:lnTo>
                  <a:lnTo>
                    <a:pt x="504" y="2646"/>
                  </a:lnTo>
                  <a:lnTo>
                    <a:pt x="486" y="2644"/>
                  </a:lnTo>
                  <a:lnTo>
                    <a:pt x="446" y="2635"/>
                  </a:lnTo>
                  <a:lnTo>
                    <a:pt x="407" y="2620"/>
                  </a:lnTo>
                  <a:lnTo>
                    <a:pt x="370" y="2600"/>
                  </a:lnTo>
                  <a:lnTo>
                    <a:pt x="336" y="2577"/>
                  </a:lnTo>
                  <a:lnTo>
                    <a:pt x="305" y="2549"/>
                  </a:lnTo>
                  <a:lnTo>
                    <a:pt x="277" y="2518"/>
                  </a:lnTo>
                  <a:lnTo>
                    <a:pt x="256" y="2481"/>
                  </a:lnTo>
                  <a:lnTo>
                    <a:pt x="241" y="2442"/>
                  </a:lnTo>
                  <a:lnTo>
                    <a:pt x="230" y="2403"/>
                  </a:lnTo>
                  <a:lnTo>
                    <a:pt x="224" y="2363"/>
                  </a:lnTo>
                  <a:lnTo>
                    <a:pt x="224" y="2322"/>
                  </a:lnTo>
                  <a:lnTo>
                    <a:pt x="229" y="2281"/>
                  </a:lnTo>
                  <a:lnTo>
                    <a:pt x="238" y="2241"/>
                  </a:lnTo>
                  <a:lnTo>
                    <a:pt x="252" y="2203"/>
                  </a:lnTo>
                  <a:lnTo>
                    <a:pt x="270" y="2167"/>
                  </a:lnTo>
                  <a:lnTo>
                    <a:pt x="295" y="2133"/>
                  </a:lnTo>
                  <a:lnTo>
                    <a:pt x="323" y="2101"/>
                  </a:lnTo>
                  <a:lnTo>
                    <a:pt x="356" y="2073"/>
                  </a:lnTo>
                  <a:lnTo>
                    <a:pt x="409" y="2031"/>
                  </a:lnTo>
                  <a:lnTo>
                    <a:pt x="378" y="1972"/>
                  </a:lnTo>
                  <a:lnTo>
                    <a:pt x="341" y="1916"/>
                  </a:lnTo>
                  <a:lnTo>
                    <a:pt x="300" y="1865"/>
                  </a:lnTo>
                  <a:lnTo>
                    <a:pt x="253" y="1816"/>
                  </a:lnTo>
                  <a:lnTo>
                    <a:pt x="203" y="1772"/>
                  </a:lnTo>
                  <a:lnTo>
                    <a:pt x="150" y="1733"/>
                  </a:lnTo>
                  <a:lnTo>
                    <a:pt x="93" y="1698"/>
                  </a:lnTo>
                  <a:lnTo>
                    <a:pt x="0" y="1648"/>
                  </a:lnTo>
                  <a:lnTo>
                    <a:pt x="0" y="0"/>
                  </a:lnTo>
                  <a:close/>
                </a:path>
              </a:pathLst>
            </a:custGeom>
            <a:solidFill>
              <a:schemeClr val="bg1"/>
            </a:solid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grpSp>
          <p:nvGrpSpPr>
            <p:cNvPr id="127" name="Group 937"/>
            <p:cNvGrpSpPr>
              <a:grpSpLocks noChangeAspect="1"/>
            </p:cNvGrpSpPr>
            <p:nvPr/>
          </p:nvGrpSpPr>
          <p:grpSpPr bwMode="auto">
            <a:xfrm>
              <a:off x="4319291" y="5427866"/>
              <a:ext cx="426620" cy="425137"/>
              <a:chOff x="6094" y="274"/>
              <a:chExt cx="575" cy="573"/>
            </a:xfrm>
            <a:solidFill>
              <a:schemeClr val="bg1"/>
            </a:solidFill>
          </p:grpSpPr>
          <p:sp>
            <p:nvSpPr>
              <p:cNvPr id="128" name="Freeform 939"/>
              <p:cNvSpPr/>
              <p:nvPr/>
            </p:nvSpPr>
            <p:spPr bwMode="auto">
              <a:xfrm>
                <a:off x="6313" y="274"/>
                <a:ext cx="137" cy="137"/>
              </a:xfrm>
              <a:custGeom>
                <a:avLst/>
                <a:gdLst>
                  <a:gd name="T0" fmla="*/ 411 w 821"/>
                  <a:gd name="T1" fmla="*/ 0 h 821"/>
                  <a:gd name="T2" fmla="*/ 462 w 821"/>
                  <a:gd name="T3" fmla="*/ 3 h 821"/>
                  <a:gd name="T4" fmla="*/ 512 w 821"/>
                  <a:gd name="T5" fmla="*/ 13 h 821"/>
                  <a:gd name="T6" fmla="*/ 560 w 821"/>
                  <a:gd name="T7" fmla="*/ 29 h 821"/>
                  <a:gd name="T8" fmla="*/ 604 w 821"/>
                  <a:gd name="T9" fmla="*/ 49 h 821"/>
                  <a:gd name="T10" fmla="*/ 645 w 821"/>
                  <a:gd name="T11" fmla="*/ 74 h 821"/>
                  <a:gd name="T12" fmla="*/ 683 w 821"/>
                  <a:gd name="T13" fmla="*/ 104 h 821"/>
                  <a:gd name="T14" fmla="*/ 718 w 821"/>
                  <a:gd name="T15" fmla="*/ 139 h 821"/>
                  <a:gd name="T16" fmla="*/ 748 w 821"/>
                  <a:gd name="T17" fmla="*/ 176 h 821"/>
                  <a:gd name="T18" fmla="*/ 773 w 821"/>
                  <a:gd name="T19" fmla="*/ 218 h 821"/>
                  <a:gd name="T20" fmla="*/ 794 w 821"/>
                  <a:gd name="T21" fmla="*/ 263 h 821"/>
                  <a:gd name="T22" fmla="*/ 809 w 821"/>
                  <a:gd name="T23" fmla="*/ 310 h 821"/>
                  <a:gd name="T24" fmla="*/ 818 w 821"/>
                  <a:gd name="T25" fmla="*/ 360 h 821"/>
                  <a:gd name="T26" fmla="*/ 821 w 821"/>
                  <a:gd name="T27" fmla="*/ 411 h 821"/>
                  <a:gd name="T28" fmla="*/ 818 w 821"/>
                  <a:gd name="T29" fmla="*/ 462 h 821"/>
                  <a:gd name="T30" fmla="*/ 809 w 821"/>
                  <a:gd name="T31" fmla="*/ 512 h 821"/>
                  <a:gd name="T32" fmla="*/ 794 w 821"/>
                  <a:gd name="T33" fmla="*/ 560 h 821"/>
                  <a:gd name="T34" fmla="*/ 773 w 821"/>
                  <a:gd name="T35" fmla="*/ 604 h 821"/>
                  <a:gd name="T36" fmla="*/ 748 w 821"/>
                  <a:gd name="T37" fmla="*/ 645 h 821"/>
                  <a:gd name="T38" fmla="*/ 718 w 821"/>
                  <a:gd name="T39" fmla="*/ 683 h 821"/>
                  <a:gd name="T40" fmla="*/ 683 w 821"/>
                  <a:gd name="T41" fmla="*/ 718 h 821"/>
                  <a:gd name="T42" fmla="*/ 645 w 821"/>
                  <a:gd name="T43" fmla="*/ 748 h 821"/>
                  <a:gd name="T44" fmla="*/ 604 w 821"/>
                  <a:gd name="T45" fmla="*/ 773 h 821"/>
                  <a:gd name="T46" fmla="*/ 560 w 821"/>
                  <a:gd name="T47" fmla="*/ 794 h 821"/>
                  <a:gd name="T48" fmla="*/ 512 w 821"/>
                  <a:gd name="T49" fmla="*/ 809 h 821"/>
                  <a:gd name="T50" fmla="*/ 462 w 821"/>
                  <a:gd name="T51" fmla="*/ 818 h 821"/>
                  <a:gd name="T52" fmla="*/ 411 w 821"/>
                  <a:gd name="T53" fmla="*/ 821 h 821"/>
                  <a:gd name="T54" fmla="*/ 360 w 821"/>
                  <a:gd name="T55" fmla="*/ 818 h 821"/>
                  <a:gd name="T56" fmla="*/ 310 w 821"/>
                  <a:gd name="T57" fmla="*/ 809 h 821"/>
                  <a:gd name="T58" fmla="*/ 263 w 821"/>
                  <a:gd name="T59" fmla="*/ 794 h 821"/>
                  <a:gd name="T60" fmla="*/ 218 w 821"/>
                  <a:gd name="T61" fmla="*/ 773 h 821"/>
                  <a:gd name="T62" fmla="*/ 176 w 821"/>
                  <a:gd name="T63" fmla="*/ 748 h 821"/>
                  <a:gd name="T64" fmla="*/ 139 w 821"/>
                  <a:gd name="T65" fmla="*/ 718 h 821"/>
                  <a:gd name="T66" fmla="*/ 104 w 821"/>
                  <a:gd name="T67" fmla="*/ 683 h 821"/>
                  <a:gd name="T68" fmla="*/ 74 w 821"/>
                  <a:gd name="T69" fmla="*/ 645 h 821"/>
                  <a:gd name="T70" fmla="*/ 49 w 821"/>
                  <a:gd name="T71" fmla="*/ 604 h 821"/>
                  <a:gd name="T72" fmla="*/ 29 w 821"/>
                  <a:gd name="T73" fmla="*/ 560 h 821"/>
                  <a:gd name="T74" fmla="*/ 13 w 821"/>
                  <a:gd name="T75" fmla="*/ 512 h 821"/>
                  <a:gd name="T76" fmla="*/ 3 w 821"/>
                  <a:gd name="T77" fmla="*/ 462 h 821"/>
                  <a:gd name="T78" fmla="*/ 0 w 821"/>
                  <a:gd name="T79" fmla="*/ 411 h 821"/>
                  <a:gd name="T80" fmla="*/ 3 w 821"/>
                  <a:gd name="T81" fmla="*/ 360 h 821"/>
                  <a:gd name="T82" fmla="*/ 13 w 821"/>
                  <a:gd name="T83" fmla="*/ 310 h 821"/>
                  <a:gd name="T84" fmla="*/ 29 w 821"/>
                  <a:gd name="T85" fmla="*/ 263 h 821"/>
                  <a:gd name="T86" fmla="*/ 49 w 821"/>
                  <a:gd name="T87" fmla="*/ 218 h 821"/>
                  <a:gd name="T88" fmla="*/ 74 w 821"/>
                  <a:gd name="T89" fmla="*/ 176 h 821"/>
                  <a:gd name="T90" fmla="*/ 104 w 821"/>
                  <a:gd name="T91" fmla="*/ 139 h 821"/>
                  <a:gd name="T92" fmla="*/ 139 w 821"/>
                  <a:gd name="T93" fmla="*/ 104 h 821"/>
                  <a:gd name="T94" fmla="*/ 176 w 821"/>
                  <a:gd name="T95" fmla="*/ 74 h 821"/>
                  <a:gd name="T96" fmla="*/ 218 w 821"/>
                  <a:gd name="T97" fmla="*/ 49 h 821"/>
                  <a:gd name="T98" fmla="*/ 263 w 821"/>
                  <a:gd name="T99" fmla="*/ 29 h 821"/>
                  <a:gd name="T100" fmla="*/ 310 w 821"/>
                  <a:gd name="T101" fmla="*/ 13 h 821"/>
                  <a:gd name="T102" fmla="*/ 360 w 821"/>
                  <a:gd name="T103" fmla="*/ 3 h 821"/>
                  <a:gd name="T104" fmla="*/ 411 w 821"/>
                  <a:gd name="T105"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1" h="821">
                    <a:moveTo>
                      <a:pt x="411" y="0"/>
                    </a:moveTo>
                    <a:lnTo>
                      <a:pt x="462" y="3"/>
                    </a:lnTo>
                    <a:lnTo>
                      <a:pt x="512" y="13"/>
                    </a:lnTo>
                    <a:lnTo>
                      <a:pt x="560" y="29"/>
                    </a:lnTo>
                    <a:lnTo>
                      <a:pt x="604" y="49"/>
                    </a:lnTo>
                    <a:lnTo>
                      <a:pt x="645" y="74"/>
                    </a:lnTo>
                    <a:lnTo>
                      <a:pt x="683" y="104"/>
                    </a:lnTo>
                    <a:lnTo>
                      <a:pt x="718" y="139"/>
                    </a:lnTo>
                    <a:lnTo>
                      <a:pt x="748" y="176"/>
                    </a:lnTo>
                    <a:lnTo>
                      <a:pt x="773" y="218"/>
                    </a:lnTo>
                    <a:lnTo>
                      <a:pt x="794" y="263"/>
                    </a:lnTo>
                    <a:lnTo>
                      <a:pt x="809" y="310"/>
                    </a:lnTo>
                    <a:lnTo>
                      <a:pt x="818" y="360"/>
                    </a:lnTo>
                    <a:lnTo>
                      <a:pt x="821" y="411"/>
                    </a:lnTo>
                    <a:lnTo>
                      <a:pt x="818" y="462"/>
                    </a:lnTo>
                    <a:lnTo>
                      <a:pt x="809" y="512"/>
                    </a:lnTo>
                    <a:lnTo>
                      <a:pt x="794" y="560"/>
                    </a:lnTo>
                    <a:lnTo>
                      <a:pt x="773" y="604"/>
                    </a:lnTo>
                    <a:lnTo>
                      <a:pt x="748" y="645"/>
                    </a:lnTo>
                    <a:lnTo>
                      <a:pt x="718" y="683"/>
                    </a:lnTo>
                    <a:lnTo>
                      <a:pt x="683" y="718"/>
                    </a:lnTo>
                    <a:lnTo>
                      <a:pt x="645" y="748"/>
                    </a:lnTo>
                    <a:lnTo>
                      <a:pt x="604" y="773"/>
                    </a:lnTo>
                    <a:lnTo>
                      <a:pt x="560" y="794"/>
                    </a:lnTo>
                    <a:lnTo>
                      <a:pt x="512" y="809"/>
                    </a:lnTo>
                    <a:lnTo>
                      <a:pt x="462" y="818"/>
                    </a:lnTo>
                    <a:lnTo>
                      <a:pt x="411" y="821"/>
                    </a:lnTo>
                    <a:lnTo>
                      <a:pt x="360" y="818"/>
                    </a:lnTo>
                    <a:lnTo>
                      <a:pt x="310" y="809"/>
                    </a:lnTo>
                    <a:lnTo>
                      <a:pt x="263" y="794"/>
                    </a:lnTo>
                    <a:lnTo>
                      <a:pt x="218" y="773"/>
                    </a:lnTo>
                    <a:lnTo>
                      <a:pt x="176" y="748"/>
                    </a:lnTo>
                    <a:lnTo>
                      <a:pt x="139" y="718"/>
                    </a:lnTo>
                    <a:lnTo>
                      <a:pt x="104" y="683"/>
                    </a:lnTo>
                    <a:lnTo>
                      <a:pt x="74" y="645"/>
                    </a:lnTo>
                    <a:lnTo>
                      <a:pt x="49" y="604"/>
                    </a:lnTo>
                    <a:lnTo>
                      <a:pt x="29" y="560"/>
                    </a:lnTo>
                    <a:lnTo>
                      <a:pt x="13" y="512"/>
                    </a:lnTo>
                    <a:lnTo>
                      <a:pt x="3" y="462"/>
                    </a:lnTo>
                    <a:lnTo>
                      <a:pt x="0" y="411"/>
                    </a:lnTo>
                    <a:lnTo>
                      <a:pt x="3" y="360"/>
                    </a:lnTo>
                    <a:lnTo>
                      <a:pt x="13" y="310"/>
                    </a:lnTo>
                    <a:lnTo>
                      <a:pt x="29" y="263"/>
                    </a:lnTo>
                    <a:lnTo>
                      <a:pt x="49" y="218"/>
                    </a:lnTo>
                    <a:lnTo>
                      <a:pt x="74" y="176"/>
                    </a:lnTo>
                    <a:lnTo>
                      <a:pt x="104" y="139"/>
                    </a:lnTo>
                    <a:lnTo>
                      <a:pt x="139" y="104"/>
                    </a:lnTo>
                    <a:lnTo>
                      <a:pt x="176" y="74"/>
                    </a:lnTo>
                    <a:lnTo>
                      <a:pt x="218" y="49"/>
                    </a:lnTo>
                    <a:lnTo>
                      <a:pt x="263" y="29"/>
                    </a:lnTo>
                    <a:lnTo>
                      <a:pt x="310" y="13"/>
                    </a:lnTo>
                    <a:lnTo>
                      <a:pt x="360" y="3"/>
                    </a:lnTo>
                    <a:lnTo>
                      <a:pt x="411"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29" name="Freeform 940"/>
              <p:cNvSpPr/>
              <p:nvPr/>
            </p:nvSpPr>
            <p:spPr bwMode="auto">
              <a:xfrm>
                <a:off x="6365" y="431"/>
                <a:ext cx="33" cy="84"/>
              </a:xfrm>
              <a:custGeom>
                <a:avLst/>
                <a:gdLst>
                  <a:gd name="T0" fmla="*/ 49 w 197"/>
                  <a:gd name="T1" fmla="*/ 0 h 505"/>
                  <a:gd name="T2" fmla="*/ 149 w 197"/>
                  <a:gd name="T3" fmla="*/ 0 h 505"/>
                  <a:gd name="T4" fmla="*/ 163 w 197"/>
                  <a:gd name="T5" fmla="*/ 1 h 505"/>
                  <a:gd name="T6" fmla="*/ 175 w 197"/>
                  <a:gd name="T7" fmla="*/ 6 h 505"/>
                  <a:gd name="T8" fmla="*/ 186 w 197"/>
                  <a:gd name="T9" fmla="*/ 14 h 505"/>
                  <a:gd name="T10" fmla="*/ 194 w 197"/>
                  <a:gd name="T11" fmla="*/ 27 h 505"/>
                  <a:gd name="T12" fmla="*/ 197 w 197"/>
                  <a:gd name="T13" fmla="*/ 42 h 505"/>
                  <a:gd name="T14" fmla="*/ 197 w 197"/>
                  <a:gd name="T15" fmla="*/ 56 h 505"/>
                  <a:gd name="T16" fmla="*/ 192 w 197"/>
                  <a:gd name="T17" fmla="*/ 70 h 505"/>
                  <a:gd name="T18" fmla="*/ 138 w 197"/>
                  <a:gd name="T19" fmla="*/ 151 h 505"/>
                  <a:gd name="T20" fmla="*/ 163 w 197"/>
                  <a:gd name="T21" fmla="*/ 363 h 505"/>
                  <a:gd name="T22" fmla="*/ 114 w 197"/>
                  <a:gd name="T23" fmla="*/ 495 h 505"/>
                  <a:gd name="T24" fmla="*/ 109 w 197"/>
                  <a:gd name="T25" fmla="*/ 501 h 505"/>
                  <a:gd name="T26" fmla="*/ 103 w 197"/>
                  <a:gd name="T27" fmla="*/ 505 h 505"/>
                  <a:gd name="T28" fmla="*/ 96 w 197"/>
                  <a:gd name="T29" fmla="*/ 505 h 505"/>
                  <a:gd name="T30" fmla="*/ 89 w 197"/>
                  <a:gd name="T31" fmla="*/ 501 h 505"/>
                  <a:gd name="T32" fmla="*/ 85 w 197"/>
                  <a:gd name="T33" fmla="*/ 495 h 505"/>
                  <a:gd name="T34" fmla="*/ 35 w 197"/>
                  <a:gd name="T35" fmla="*/ 363 h 505"/>
                  <a:gd name="T36" fmla="*/ 60 w 197"/>
                  <a:gd name="T37" fmla="*/ 151 h 505"/>
                  <a:gd name="T38" fmla="*/ 7 w 197"/>
                  <a:gd name="T39" fmla="*/ 70 h 505"/>
                  <a:gd name="T40" fmla="*/ 1 w 197"/>
                  <a:gd name="T41" fmla="*/ 56 h 505"/>
                  <a:gd name="T42" fmla="*/ 0 w 197"/>
                  <a:gd name="T43" fmla="*/ 42 h 505"/>
                  <a:gd name="T44" fmla="*/ 5 w 197"/>
                  <a:gd name="T45" fmla="*/ 27 h 505"/>
                  <a:gd name="T46" fmla="*/ 13 w 197"/>
                  <a:gd name="T47" fmla="*/ 14 h 505"/>
                  <a:gd name="T48" fmla="*/ 23 w 197"/>
                  <a:gd name="T49" fmla="*/ 6 h 505"/>
                  <a:gd name="T50" fmla="*/ 35 w 197"/>
                  <a:gd name="T51" fmla="*/ 1 h 505"/>
                  <a:gd name="T52" fmla="*/ 49 w 197"/>
                  <a:gd name="T53" fmla="*/ 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7" h="505">
                    <a:moveTo>
                      <a:pt x="49" y="0"/>
                    </a:moveTo>
                    <a:lnTo>
                      <a:pt x="149" y="0"/>
                    </a:lnTo>
                    <a:lnTo>
                      <a:pt x="163" y="1"/>
                    </a:lnTo>
                    <a:lnTo>
                      <a:pt x="175" y="6"/>
                    </a:lnTo>
                    <a:lnTo>
                      <a:pt x="186" y="14"/>
                    </a:lnTo>
                    <a:lnTo>
                      <a:pt x="194" y="27"/>
                    </a:lnTo>
                    <a:lnTo>
                      <a:pt x="197" y="42"/>
                    </a:lnTo>
                    <a:lnTo>
                      <a:pt x="197" y="56"/>
                    </a:lnTo>
                    <a:lnTo>
                      <a:pt x="192" y="70"/>
                    </a:lnTo>
                    <a:lnTo>
                      <a:pt x="138" y="151"/>
                    </a:lnTo>
                    <a:lnTo>
                      <a:pt x="163" y="363"/>
                    </a:lnTo>
                    <a:lnTo>
                      <a:pt x="114" y="495"/>
                    </a:lnTo>
                    <a:lnTo>
                      <a:pt x="109" y="501"/>
                    </a:lnTo>
                    <a:lnTo>
                      <a:pt x="103" y="505"/>
                    </a:lnTo>
                    <a:lnTo>
                      <a:pt x="96" y="505"/>
                    </a:lnTo>
                    <a:lnTo>
                      <a:pt x="89" y="501"/>
                    </a:lnTo>
                    <a:lnTo>
                      <a:pt x="85" y="495"/>
                    </a:lnTo>
                    <a:lnTo>
                      <a:pt x="35" y="363"/>
                    </a:lnTo>
                    <a:lnTo>
                      <a:pt x="60" y="151"/>
                    </a:lnTo>
                    <a:lnTo>
                      <a:pt x="7" y="70"/>
                    </a:lnTo>
                    <a:lnTo>
                      <a:pt x="1" y="56"/>
                    </a:lnTo>
                    <a:lnTo>
                      <a:pt x="0" y="42"/>
                    </a:lnTo>
                    <a:lnTo>
                      <a:pt x="5" y="27"/>
                    </a:lnTo>
                    <a:lnTo>
                      <a:pt x="13" y="14"/>
                    </a:lnTo>
                    <a:lnTo>
                      <a:pt x="23" y="6"/>
                    </a:lnTo>
                    <a:lnTo>
                      <a:pt x="35" y="1"/>
                    </a:lnTo>
                    <a:lnTo>
                      <a:pt x="49"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30" name="Freeform 941"/>
              <p:cNvSpPr/>
              <p:nvPr/>
            </p:nvSpPr>
            <p:spPr bwMode="auto">
              <a:xfrm>
                <a:off x="6266" y="431"/>
                <a:ext cx="231" cy="160"/>
              </a:xfrm>
              <a:custGeom>
                <a:avLst/>
                <a:gdLst>
                  <a:gd name="T0" fmla="*/ 375 w 1381"/>
                  <a:gd name="T1" fmla="*/ 0 h 962"/>
                  <a:gd name="T2" fmla="*/ 387 w 1381"/>
                  <a:gd name="T3" fmla="*/ 2 h 962"/>
                  <a:gd name="T4" fmla="*/ 399 w 1381"/>
                  <a:gd name="T5" fmla="*/ 7 h 962"/>
                  <a:gd name="T6" fmla="*/ 407 w 1381"/>
                  <a:gd name="T7" fmla="*/ 17 h 962"/>
                  <a:gd name="T8" fmla="*/ 413 w 1381"/>
                  <a:gd name="T9" fmla="*/ 27 h 962"/>
                  <a:gd name="T10" fmla="*/ 690 w 1381"/>
                  <a:gd name="T11" fmla="*/ 786 h 962"/>
                  <a:gd name="T12" fmla="*/ 966 w 1381"/>
                  <a:gd name="T13" fmla="*/ 27 h 962"/>
                  <a:gd name="T14" fmla="*/ 973 w 1381"/>
                  <a:gd name="T15" fmla="*/ 17 h 962"/>
                  <a:gd name="T16" fmla="*/ 982 w 1381"/>
                  <a:gd name="T17" fmla="*/ 8 h 962"/>
                  <a:gd name="T18" fmla="*/ 993 w 1381"/>
                  <a:gd name="T19" fmla="*/ 2 h 962"/>
                  <a:gd name="T20" fmla="*/ 1005 w 1381"/>
                  <a:gd name="T21" fmla="*/ 0 h 962"/>
                  <a:gd name="T22" fmla="*/ 1018 w 1381"/>
                  <a:gd name="T23" fmla="*/ 2 h 962"/>
                  <a:gd name="T24" fmla="*/ 1133 w 1381"/>
                  <a:gd name="T25" fmla="*/ 37 h 962"/>
                  <a:gd name="T26" fmla="*/ 1176 w 1381"/>
                  <a:gd name="T27" fmla="*/ 55 h 962"/>
                  <a:gd name="T28" fmla="*/ 1216 w 1381"/>
                  <a:gd name="T29" fmla="*/ 77 h 962"/>
                  <a:gd name="T30" fmla="*/ 1252 w 1381"/>
                  <a:gd name="T31" fmla="*/ 103 h 962"/>
                  <a:gd name="T32" fmla="*/ 1285 w 1381"/>
                  <a:gd name="T33" fmla="*/ 134 h 962"/>
                  <a:gd name="T34" fmla="*/ 1313 w 1381"/>
                  <a:gd name="T35" fmla="*/ 168 h 962"/>
                  <a:gd name="T36" fmla="*/ 1336 w 1381"/>
                  <a:gd name="T37" fmla="*/ 205 h 962"/>
                  <a:gd name="T38" fmla="*/ 1355 w 1381"/>
                  <a:gd name="T39" fmla="*/ 245 h 962"/>
                  <a:gd name="T40" fmla="*/ 1370 w 1381"/>
                  <a:gd name="T41" fmla="*/ 287 h 962"/>
                  <a:gd name="T42" fmla="*/ 1378 w 1381"/>
                  <a:gd name="T43" fmla="*/ 331 h 962"/>
                  <a:gd name="T44" fmla="*/ 1381 w 1381"/>
                  <a:gd name="T45" fmla="*/ 377 h 962"/>
                  <a:gd name="T46" fmla="*/ 1381 w 1381"/>
                  <a:gd name="T47" fmla="*/ 904 h 962"/>
                  <a:gd name="T48" fmla="*/ 1378 w 1381"/>
                  <a:gd name="T49" fmla="*/ 922 h 962"/>
                  <a:gd name="T50" fmla="*/ 1370 w 1381"/>
                  <a:gd name="T51" fmla="*/ 938 h 962"/>
                  <a:gd name="T52" fmla="*/ 1357 w 1381"/>
                  <a:gd name="T53" fmla="*/ 951 h 962"/>
                  <a:gd name="T54" fmla="*/ 1341 w 1381"/>
                  <a:gd name="T55" fmla="*/ 959 h 962"/>
                  <a:gd name="T56" fmla="*/ 1322 w 1381"/>
                  <a:gd name="T57" fmla="*/ 962 h 962"/>
                  <a:gd name="T58" fmla="*/ 57 w 1381"/>
                  <a:gd name="T59" fmla="*/ 962 h 962"/>
                  <a:gd name="T60" fmla="*/ 40 w 1381"/>
                  <a:gd name="T61" fmla="*/ 959 h 962"/>
                  <a:gd name="T62" fmla="*/ 23 w 1381"/>
                  <a:gd name="T63" fmla="*/ 951 h 962"/>
                  <a:gd name="T64" fmla="*/ 10 w 1381"/>
                  <a:gd name="T65" fmla="*/ 938 h 962"/>
                  <a:gd name="T66" fmla="*/ 2 w 1381"/>
                  <a:gd name="T67" fmla="*/ 922 h 962"/>
                  <a:gd name="T68" fmla="*/ 0 w 1381"/>
                  <a:gd name="T69" fmla="*/ 904 h 962"/>
                  <a:gd name="T70" fmla="*/ 0 w 1381"/>
                  <a:gd name="T71" fmla="*/ 377 h 962"/>
                  <a:gd name="T72" fmla="*/ 2 w 1381"/>
                  <a:gd name="T73" fmla="*/ 331 h 962"/>
                  <a:gd name="T74" fmla="*/ 11 w 1381"/>
                  <a:gd name="T75" fmla="*/ 287 h 962"/>
                  <a:gd name="T76" fmla="*/ 25 w 1381"/>
                  <a:gd name="T77" fmla="*/ 245 h 962"/>
                  <a:gd name="T78" fmla="*/ 44 w 1381"/>
                  <a:gd name="T79" fmla="*/ 205 h 962"/>
                  <a:gd name="T80" fmla="*/ 68 w 1381"/>
                  <a:gd name="T81" fmla="*/ 168 h 962"/>
                  <a:gd name="T82" fmla="*/ 96 w 1381"/>
                  <a:gd name="T83" fmla="*/ 134 h 962"/>
                  <a:gd name="T84" fmla="*/ 129 w 1381"/>
                  <a:gd name="T85" fmla="*/ 103 h 962"/>
                  <a:gd name="T86" fmla="*/ 165 w 1381"/>
                  <a:gd name="T87" fmla="*/ 77 h 962"/>
                  <a:gd name="T88" fmla="*/ 205 w 1381"/>
                  <a:gd name="T89" fmla="*/ 54 h 962"/>
                  <a:gd name="T90" fmla="*/ 248 w 1381"/>
                  <a:gd name="T91" fmla="*/ 37 h 962"/>
                  <a:gd name="T92" fmla="*/ 362 w 1381"/>
                  <a:gd name="T93" fmla="*/ 2 h 962"/>
                  <a:gd name="T94" fmla="*/ 368 w 1381"/>
                  <a:gd name="T95" fmla="*/ 1 h 962"/>
                  <a:gd name="T96" fmla="*/ 375 w 1381"/>
                  <a:gd name="T97" fmla="*/ 0 h 9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81" h="962">
                    <a:moveTo>
                      <a:pt x="375" y="0"/>
                    </a:moveTo>
                    <a:lnTo>
                      <a:pt x="387" y="2"/>
                    </a:lnTo>
                    <a:lnTo>
                      <a:pt x="399" y="7"/>
                    </a:lnTo>
                    <a:lnTo>
                      <a:pt x="407" y="17"/>
                    </a:lnTo>
                    <a:lnTo>
                      <a:pt x="413" y="27"/>
                    </a:lnTo>
                    <a:lnTo>
                      <a:pt x="690" y="786"/>
                    </a:lnTo>
                    <a:lnTo>
                      <a:pt x="966" y="27"/>
                    </a:lnTo>
                    <a:lnTo>
                      <a:pt x="973" y="17"/>
                    </a:lnTo>
                    <a:lnTo>
                      <a:pt x="982" y="8"/>
                    </a:lnTo>
                    <a:lnTo>
                      <a:pt x="993" y="2"/>
                    </a:lnTo>
                    <a:lnTo>
                      <a:pt x="1005" y="0"/>
                    </a:lnTo>
                    <a:lnTo>
                      <a:pt x="1018" y="2"/>
                    </a:lnTo>
                    <a:lnTo>
                      <a:pt x="1133" y="37"/>
                    </a:lnTo>
                    <a:lnTo>
                      <a:pt x="1176" y="55"/>
                    </a:lnTo>
                    <a:lnTo>
                      <a:pt x="1216" y="77"/>
                    </a:lnTo>
                    <a:lnTo>
                      <a:pt x="1252" y="103"/>
                    </a:lnTo>
                    <a:lnTo>
                      <a:pt x="1285" y="134"/>
                    </a:lnTo>
                    <a:lnTo>
                      <a:pt x="1313" y="168"/>
                    </a:lnTo>
                    <a:lnTo>
                      <a:pt x="1336" y="205"/>
                    </a:lnTo>
                    <a:lnTo>
                      <a:pt x="1355" y="245"/>
                    </a:lnTo>
                    <a:lnTo>
                      <a:pt x="1370" y="287"/>
                    </a:lnTo>
                    <a:lnTo>
                      <a:pt x="1378" y="331"/>
                    </a:lnTo>
                    <a:lnTo>
                      <a:pt x="1381" y="377"/>
                    </a:lnTo>
                    <a:lnTo>
                      <a:pt x="1381" y="904"/>
                    </a:lnTo>
                    <a:lnTo>
                      <a:pt x="1378" y="922"/>
                    </a:lnTo>
                    <a:lnTo>
                      <a:pt x="1370" y="938"/>
                    </a:lnTo>
                    <a:lnTo>
                      <a:pt x="1357" y="951"/>
                    </a:lnTo>
                    <a:lnTo>
                      <a:pt x="1341" y="959"/>
                    </a:lnTo>
                    <a:lnTo>
                      <a:pt x="1322" y="962"/>
                    </a:lnTo>
                    <a:lnTo>
                      <a:pt x="57" y="962"/>
                    </a:lnTo>
                    <a:lnTo>
                      <a:pt x="40" y="959"/>
                    </a:lnTo>
                    <a:lnTo>
                      <a:pt x="23" y="951"/>
                    </a:lnTo>
                    <a:lnTo>
                      <a:pt x="10" y="938"/>
                    </a:lnTo>
                    <a:lnTo>
                      <a:pt x="2" y="922"/>
                    </a:lnTo>
                    <a:lnTo>
                      <a:pt x="0" y="904"/>
                    </a:lnTo>
                    <a:lnTo>
                      <a:pt x="0" y="377"/>
                    </a:lnTo>
                    <a:lnTo>
                      <a:pt x="2" y="331"/>
                    </a:lnTo>
                    <a:lnTo>
                      <a:pt x="11" y="287"/>
                    </a:lnTo>
                    <a:lnTo>
                      <a:pt x="25" y="245"/>
                    </a:lnTo>
                    <a:lnTo>
                      <a:pt x="44" y="205"/>
                    </a:lnTo>
                    <a:lnTo>
                      <a:pt x="68" y="168"/>
                    </a:lnTo>
                    <a:lnTo>
                      <a:pt x="96" y="134"/>
                    </a:lnTo>
                    <a:lnTo>
                      <a:pt x="129" y="103"/>
                    </a:lnTo>
                    <a:lnTo>
                      <a:pt x="165" y="77"/>
                    </a:lnTo>
                    <a:lnTo>
                      <a:pt x="205" y="54"/>
                    </a:lnTo>
                    <a:lnTo>
                      <a:pt x="248" y="37"/>
                    </a:lnTo>
                    <a:lnTo>
                      <a:pt x="362" y="2"/>
                    </a:lnTo>
                    <a:lnTo>
                      <a:pt x="368" y="1"/>
                    </a:lnTo>
                    <a:lnTo>
                      <a:pt x="375"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31" name="Freeform 942"/>
              <p:cNvSpPr/>
              <p:nvPr/>
            </p:nvSpPr>
            <p:spPr bwMode="auto">
              <a:xfrm>
                <a:off x="6094" y="309"/>
                <a:ext cx="137" cy="137"/>
              </a:xfrm>
              <a:custGeom>
                <a:avLst/>
                <a:gdLst>
                  <a:gd name="T0" fmla="*/ 411 w 821"/>
                  <a:gd name="T1" fmla="*/ 0 h 821"/>
                  <a:gd name="T2" fmla="*/ 462 w 821"/>
                  <a:gd name="T3" fmla="*/ 3 h 821"/>
                  <a:gd name="T4" fmla="*/ 511 w 821"/>
                  <a:gd name="T5" fmla="*/ 12 h 821"/>
                  <a:gd name="T6" fmla="*/ 559 w 821"/>
                  <a:gd name="T7" fmla="*/ 27 h 821"/>
                  <a:gd name="T8" fmla="*/ 603 w 821"/>
                  <a:gd name="T9" fmla="*/ 48 h 821"/>
                  <a:gd name="T10" fmla="*/ 645 w 821"/>
                  <a:gd name="T11" fmla="*/ 73 h 821"/>
                  <a:gd name="T12" fmla="*/ 683 w 821"/>
                  <a:gd name="T13" fmla="*/ 104 h 821"/>
                  <a:gd name="T14" fmla="*/ 717 w 821"/>
                  <a:gd name="T15" fmla="*/ 137 h 821"/>
                  <a:gd name="T16" fmla="*/ 748 w 821"/>
                  <a:gd name="T17" fmla="*/ 176 h 821"/>
                  <a:gd name="T18" fmla="*/ 773 w 821"/>
                  <a:gd name="T19" fmla="*/ 217 h 821"/>
                  <a:gd name="T20" fmla="*/ 794 w 821"/>
                  <a:gd name="T21" fmla="*/ 262 h 821"/>
                  <a:gd name="T22" fmla="*/ 808 w 821"/>
                  <a:gd name="T23" fmla="*/ 309 h 821"/>
                  <a:gd name="T24" fmla="*/ 818 w 821"/>
                  <a:gd name="T25" fmla="*/ 358 h 821"/>
                  <a:gd name="T26" fmla="*/ 821 w 821"/>
                  <a:gd name="T27" fmla="*/ 410 h 821"/>
                  <a:gd name="T28" fmla="*/ 818 w 821"/>
                  <a:gd name="T29" fmla="*/ 462 h 821"/>
                  <a:gd name="T30" fmla="*/ 808 w 821"/>
                  <a:gd name="T31" fmla="*/ 511 h 821"/>
                  <a:gd name="T32" fmla="*/ 794 w 821"/>
                  <a:gd name="T33" fmla="*/ 558 h 821"/>
                  <a:gd name="T34" fmla="*/ 773 w 821"/>
                  <a:gd name="T35" fmla="*/ 603 h 821"/>
                  <a:gd name="T36" fmla="*/ 748 w 821"/>
                  <a:gd name="T37" fmla="*/ 644 h 821"/>
                  <a:gd name="T38" fmla="*/ 717 w 821"/>
                  <a:gd name="T39" fmla="*/ 683 h 821"/>
                  <a:gd name="T40" fmla="*/ 683 w 821"/>
                  <a:gd name="T41" fmla="*/ 717 h 821"/>
                  <a:gd name="T42" fmla="*/ 645 w 821"/>
                  <a:gd name="T43" fmla="*/ 747 h 821"/>
                  <a:gd name="T44" fmla="*/ 603 w 821"/>
                  <a:gd name="T45" fmla="*/ 773 h 821"/>
                  <a:gd name="T46" fmla="*/ 559 w 821"/>
                  <a:gd name="T47" fmla="*/ 793 h 821"/>
                  <a:gd name="T48" fmla="*/ 511 w 821"/>
                  <a:gd name="T49" fmla="*/ 808 h 821"/>
                  <a:gd name="T50" fmla="*/ 462 w 821"/>
                  <a:gd name="T51" fmla="*/ 818 h 821"/>
                  <a:gd name="T52" fmla="*/ 411 w 821"/>
                  <a:gd name="T53" fmla="*/ 821 h 821"/>
                  <a:gd name="T54" fmla="*/ 359 w 821"/>
                  <a:gd name="T55" fmla="*/ 818 h 821"/>
                  <a:gd name="T56" fmla="*/ 310 w 821"/>
                  <a:gd name="T57" fmla="*/ 808 h 821"/>
                  <a:gd name="T58" fmla="*/ 263 w 821"/>
                  <a:gd name="T59" fmla="*/ 793 h 821"/>
                  <a:gd name="T60" fmla="*/ 218 w 821"/>
                  <a:gd name="T61" fmla="*/ 773 h 821"/>
                  <a:gd name="T62" fmla="*/ 176 w 821"/>
                  <a:gd name="T63" fmla="*/ 747 h 821"/>
                  <a:gd name="T64" fmla="*/ 138 w 821"/>
                  <a:gd name="T65" fmla="*/ 717 h 821"/>
                  <a:gd name="T66" fmla="*/ 104 w 821"/>
                  <a:gd name="T67" fmla="*/ 683 h 821"/>
                  <a:gd name="T68" fmla="*/ 73 w 821"/>
                  <a:gd name="T69" fmla="*/ 644 h 821"/>
                  <a:gd name="T70" fmla="*/ 48 w 821"/>
                  <a:gd name="T71" fmla="*/ 603 h 821"/>
                  <a:gd name="T72" fmla="*/ 27 w 821"/>
                  <a:gd name="T73" fmla="*/ 558 h 821"/>
                  <a:gd name="T74" fmla="*/ 13 w 821"/>
                  <a:gd name="T75" fmla="*/ 511 h 821"/>
                  <a:gd name="T76" fmla="*/ 3 w 821"/>
                  <a:gd name="T77" fmla="*/ 462 h 821"/>
                  <a:gd name="T78" fmla="*/ 0 w 821"/>
                  <a:gd name="T79" fmla="*/ 410 h 821"/>
                  <a:gd name="T80" fmla="*/ 3 w 821"/>
                  <a:gd name="T81" fmla="*/ 358 h 821"/>
                  <a:gd name="T82" fmla="*/ 13 w 821"/>
                  <a:gd name="T83" fmla="*/ 309 h 821"/>
                  <a:gd name="T84" fmla="*/ 27 w 821"/>
                  <a:gd name="T85" fmla="*/ 262 h 821"/>
                  <a:gd name="T86" fmla="*/ 48 w 821"/>
                  <a:gd name="T87" fmla="*/ 217 h 821"/>
                  <a:gd name="T88" fmla="*/ 73 w 821"/>
                  <a:gd name="T89" fmla="*/ 176 h 821"/>
                  <a:gd name="T90" fmla="*/ 104 w 821"/>
                  <a:gd name="T91" fmla="*/ 137 h 821"/>
                  <a:gd name="T92" fmla="*/ 138 w 821"/>
                  <a:gd name="T93" fmla="*/ 104 h 821"/>
                  <a:gd name="T94" fmla="*/ 176 w 821"/>
                  <a:gd name="T95" fmla="*/ 73 h 821"/>
                  <a:gd name="T96" fmla="*/ 218 w 821"/>
                  <a:gd name="T97" fmla="*/ 48 h 821"/>
                  <a:gd name="T98" fmla="*/ 263 w 821"/>
                  <a:gd name="T99" fmla="*/ 27 h 821"/>
                  <a:gd name="T100" fmla="*/ 310 w 821"/>
                  <a:gd name="T101" fmla="*/ 12 h 821"/>
                  <a:gd name="T102" fmla="*/ 359 w 821"/>
                  <a:gd name="T103" fmla="*/ 3 h 821"/>
                  <a:gd name="T104" fmla="*/ 411 w 821"/>
                  <a:gd name="T105"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1" h="821">
                    <a:moveTo>
                      <a:pt x="411" y="0"/>
                    </a:moveTo>
                    <a:lnTo>
                      <a:pt x="462" y="3"/>
                    </a:lnTo>
                    <a:lnTo>
                      <a:pt x="511" y="12"/>
                    </a:lnTo>
                    <a:lnTo>
                      <a:pt x="559" y="27"/>
                    </a:lnTo>
                    <a:lnTo>
                      <a:pt x="603" y="48"/>
                    </a:lnTo>
                    <a:lnTo>
                      <a:pt x="645" y="73"/>
                    </a:lnTo>
                    <a:lnTo>
                      <a:pt x="683" y="104"/>
                    </a:lnTo>
                    <a:lnTo>
                      <a:pt x="717" y="137"/>
                    </a:lnTo>
                    <a:lnTo>
                      <a:pt x="748" y="176"/>
                    </a:lnTo>
                    <a:lnTo>
                      <a:pt x="773" y="217"/>
                    </a:lnTo>
                    <a:lnTo>
                      <a:pt x="794" y="262"/>
                    </a:lnTo>
                    <a:lnTo>
                      <a:pt x="808" y="309"/>
                    </a:lnTo>
                    <a:lnTo>
                      <a:pt x="818" y="358"/>
                    </a:lnTo>
                    <a:lnTo>
                      <a:pt x="821" y="410"/>
                    </a:lnTo>
                    <a:lnTo>
                      <a:pt x="818" y="462"/>
                    </a:lnTo>
                    <a:lnTo>
                      <a:pt x="808" y="511"/>
                    </a:lnTo>
                    <a:lnTo>
                      <a:pt x="794" y="558"/>
                    </a:lnTo>
                    <a:lnTo>
                      <a:pt x="773" y="603"/>
                    </a:lnTo>
                    <a:lnTo>
                      <a:pt x="748" y="644"/>
                    </a:lnTo>
                    <a:lnTo>
                      <a:pt x="717" y="683"/>
                    </a:lnTo>
                    <a:lnTo>
                      <a:pt x="683" y="717"/>
                    </a:lnTo>
                    <a:lnTo>
                      <a:pt x="645" y="747"/>
                    </a:lnTo>
                    <a:lnTo>
                      <a:pt x="603" y="773"/>
                    </a:lnTo>
                    <a:lnTo>
                      <a:pt x="559" y="793"/>
                    </a:lnTo>
                    <a:lnTo>
                      <a:pt x="511" y="808"/>
                    </a:lnTo>
                    <a:lnTo>
                      <a:pt x="462" y="818"/>
                    </a:lnTo>
                    <a:lnTo>
                      <a:pt x="411" y="821"/>
                    </a:lnTo>
                    <a:lnTo>
                      <a:pt x="359" y="818"/>
                    </a:lnTo>
                    <a:lnTo>
                      <a:pt x="310" y="808"/>
                    </a:lnTo>
                    <a:lnTo>
                      <a:pt x="263" y="793"/>
                    </a:lnTo>
                    <a:lnTo>
                      <a:pt x="218" y="773"/>
                    </a:lnTo>
                    <a:lnTo>
                      <a:pt x="176" y="747"/>
                    </a:lnTo>
                    <a:lnTo>
                      <a:pt x="138" y="717"/>
                    </a:lnTo>
                    <a:lnTo>
                      <a:pt x="104" y="683"/>
                    </a:lnTo>
                    <a:lnTo>
                      <a:pt x="73" y="644"/>
                    </a:lnTo>
                    <a:lnTo>
                      <a:pt x="48" y="603"/>
                    </a:lnTo>
                    <a:lnTo>
                      <a:pt x="27" y="558"/>
                    </a:lnTo>
                    <a:lnTo>
                      <a:pt x="13" y="511"/>
                    </a:lnTo>
                    <a:lnTo>
                      <a:pt x="3" y="462"/>
                    </a:lnTo>
                    <a:lnTo>
                      <a:pt x="0" y="410"/>
                    </a:lnTo>
                    <a:lnTo>
                      <a:pt x="3" y="358"/>
                    </a:lnTo>
                    <a:lnTo>
                      <a:pt x="13" y="309"/>
                    </a:lnTo>
                    <a:lnTo>
                      <a:pt x="27" y="262"/>
                    </a:lnTo>
                    <a:lnTo>
                      <a:pt x="48" y="217"/>
                    </a:lnTo>
                    <a:lnTo>
                      <a:pt x="73" y="176"/>
                    </a:lnTo>
                    <a:lnTo>
                      <a:pt x="104" y="137"/>
                    </a:lnTo>
                    <a:lnTo>
                      <a:pt x="138" y="104"/>
                    </a:lnTo>
                    <a:lnTo>
                      <a:pt x="176" y="73"/>
                    </a:lnTo>
                    <a:lnTo>
                      <a:pt x="218" y="48"/>
                    </a:lnTo>
                    <a:lnTo>
                      <a:pt x="263" y="27"/>
                    </a:lnTo>
                    <a:lnTo>
                      <a:pt x="310" y="12"/>
                    </a:lnTo>
                    <a:lnTo>
                      <a:pt x="359" y="3"/>
                    </a:lnTo>
                    <a:lnTo>
                      <a:pt x="411"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32" name="Freeform 943"/>
              <p:cNvSpPr/>
              <p:nvPr/>
            </p:nvSpPr>
            <p:spPr bwMode="auto">
              <a:xfrm>
                <a:off x="6100" y="465"/>
                <a:ext cx="230" cy="382"/>
              </a:xfrm>
              <a:custGeom>
                <a:avLst/>
                <a:gdLst>
                  <a:gd name="T0" fmla="*/ 419 w 1375"/>
                  <a:gd name="T1" fmla="*/ 2 h 2291"/>
                  <a:gd name="T2" fmla="*/ 506 w 1375"/>
                  <a:gd name="T3" fmla="*/ 24 h 2291"/>
                  <a:gd name="T4" fmla="*/ 584 w 1375"/>
                  <a:gd name="T5" fmla="*/ 66 h 2291"/>
                  <a:gd name="T6" fmla="*/ 650 w 1375"/>
                  <a:gd name="T7" fmla="*/ 125 h 2291"/>
                  <a:gd name="T8" fmla="*/ 700 w 1375"/>
                  <a:gd name="T9" fmla="*/ 197 h 2291"/>
                  <a:gd name="T10" fmla="*/ 732 w 1375"/>
                  <a:gd name="T11" fmla="*/ 280 h 2291"/>
                  <a:gd name="T12" fmla="*/ 743 w 1375"/>
                  <a:gd name="T13" fmla="*/ 372 h 2291"/>
                  <a:gd name="T14" fmla="*/ 1070 w 1375"/>
                  <a:gd name="T15" fmla="*/ 1017 h 2291"/>
                  <a:gd name="T16" fmla="*/ 1158 w 1375"/>
                  <a:gd name="T17" fmla="*/ 1030 h 2291"/>
                  <a:gd name="T18" fmla="*/ 1237 w 1375"/>
                  <a:gd name="T19" fmla="*/ 1066 h 2291"/>
                  <a:gd name="T20" fmla="*/ 1300 w 1375"/>
                  <a:gd name="T21" fmla="*/ 1122 h 2291"/>
                  <a:gd name="T22" fmla="*/ 1347 w 1375"/>
                  <a:gd name="T23" fmla="*/ 1193 h 2291"/>
                  <a:gd name="T24" fmla="*/ 1372 w 1375"/>
                  <a:gd name="T25" fmla="*/ 1277 h 2291"/>
                  <a:gd name="T26" fmla="*/ 1375 w 1375"/>
                  <a:gd name="T27" fmla="*/ 2191 h 2291"/>
                  <a:gd name="T28" fmla="*/ 1364 w 1375"/>
                  <a:gd name="T29" fmla="*/ 2235 h 2291"/>
                  <a:gd name="T30" fmla="*/ 1337 w 1375"/>
                  <a:gd name="T31" fmla="*/ 2269 h 2291"/>
                  <a:gd name="T32" fmla="*/ 1297 w 1375"/>
                  <a:gd name="T33" fmla="*/ 2289 h 2291"/>
                  <a:gd name="T34" fmla="*/ 882 w 1375"/>
                  <a:gd name="T35" fmla="*/ 2291 h 2291"/>
                  <a:gd name="T36" fmla="*/ 838 w 1375"/>
                  <a:gd name="T37" fmla="*/ 2281 h 2291"/>
                  <a:gd name="T38" fmla="*/ 803 w 1375"/>
                  <a:gd name="T39" fmla="*/ 2254 h 2291"/>
                  <a:gd name="T40" fmla="*/ 784 w 1375"/>
                  <a:gd name="T41" fmla="*/ 2214 h 2291"/>
                  <a:gd name="T42" fmla="*/ 781 w 1375"/>
                  <a:gd name="T43" fmla="*/ 1605 h 2291"/>
                  <a:gd name="T44" fmla="*/ 309 w 1375"/>
                  <a:gd name="T45" fmla="*/ 1602 h 2291"/>
                  <a:gd name="T46" fmla="*/ 218 w 1375"/>
                  <a:gd name="T47" fmla="*/ 1578 h 2291"/>
                  <a:gd name="T48" fmla="*/ 139 w 1375"/>
                  <a:gd name="T49" fmla="*/ 1531 h 2291"/>
                  <a:gd name="T50" fmla="*/ 74 w 1375"/>
                  <a:gd name="T51" fmla="*/ 1467 h 2291"/>
                  <a:gd name="T52" fmla="*/ 28 w 1375"/>
                  <a:gd name="T53" fmla="*/ 1388 h 2291"/>
                  <a:gd name="T54" fmla="*/ 3 w 1375"/>
                  <a:gd name="T55" fmla="*/ 1297 h 2291"/>
                  <a:gd name="T56" fmla="*/ 0 w 1375"/>
                  <a:gd name="T57" fmla="*/ 372 h 2291"/>
                  <a:gd name="T58" fmla="*/ 11 w 1375"/>
                  <a:gd name="T59" fmla="*/ 280 h 2291"/>
                  <a:gd name="T60" fmla="*/ 44 w 1375"/>
                  <a:gd name="T61" fmla="*/ 197 h 2291"/>
                  <a:gd name="T62" fmla="*/ 94 w 1375"/>
                  <a:gd name="T63" fmla="*/ 125 h 2291"/>
                  <a:gd name="T64" fmla="*/ 159 w 1375"/>
                  <a:gd name="T65" fmla="*/ 66 h 2291"/>
                  <a:gd name="T66" fmla="*/ 237 w 1375"/>
                  <a:gd name="T67" fmla="*/ 24 h 2291"/>
                  <a:gd name="T68" fmla="*/ 325 w 1375"/>
                  <a:gd name="T69" fmla="*/ 2 h 2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5" h="2291">
                    <a:moveTo>
                      <a:pt x="372" y="0"/>
                    </a:moveTo>
                    <a:lnTo>
                      <a:pt x="419" y="2"/>
                    </a:lnTo>
                    <a:lnTo>
                      <a:pt x="464" y="10"/>
                    </a:lnTo>
                    <a:lnTo>
                      <a:pt x="506" y="24"/>
                    </a:lnTo>
                    <a:lnTo>
                      <a:pt x="546" y="43"/>
                    </a:lnTo>
                    <a:lnTo>
                      <a:pt x="584" y="66"/>
                    </a:lnTo>
                    <a:lnTo>
                      <a:pt x="619" y="93"/>
                    </a:lnTo>
                    <a:lnTo>
                      <a:pt x="650" y="125"/>
                    </a:lnTo>
                    <a:lnTo>
                      <a:pt x="677" y="159"/>
                    </a:lnTo>
                    <a:lnTo>
                      <a:pt x="700" y="197"/>
                    </a:lnTo>
                    <a:lnTo>
                      <a:pt x="718" y="237"/>
                    </a:lnTo>
                    <a:lnTo>
                      <a:pt x="732" y="280"/>
                    </a:lnTo>
                    <a:lnTo>
                      <a:pt x="740" y="325"/>
                    </a:lnTo>
                    <a:lnTo>
                      <a:pt x="743" y="372"/>
                    </a:lnTo>
                    <a:lnTo>
                      <a:pt x="743" y="1017"/>
                    </a:lnTo>
                    <a:lnTo>
                      <a:pt x="1070" y="1017"/>
                    </a:lnTo>
                    <a:lnTo>
                      <a:pt x="1115" y="1021"/>
                    </a:lnTo>
                    <a:lnTo>
                      <a:pt x="1158" y="1030"/>
                    </a:lnTo>
                    <a:lnTo>
                      <a:pt x="1199" y="1045"/>
                    </a:lnTo>
                    <a:lnTo>
                      <a:pt x="1237" y="1066"/>
                    </a:lnTo>
                    <a:lnTo>
                      <a:pt x="1270" y="1092"/>
                    </a:lnTo>
                    <a:lnTo>
                      <a:pt x="1300" y="1122"/>
                    </a:lnTo>
                    <a:lnTo>
                      <a:pt x="1326" y="1156"/>
                    </a:lnTo>
                    <a:lnTo>
                      <a:pt x="1347" y="1193"/>
                    </a:lnTo>
                    <a:lnTo>
                      <a:pt x="1362" y="1234"/>
                    </a:lnTo>
                    <a:lnTo>
                      <a:pt x="1372" y="1277"/>
                    </a:lnTo>
                    <a:lnTo>
                      <a:pt x="1375" y="1322"/>
                    </a:lnTo>
                    <a:lnTo>
                      <a:pt x="1375" y="2191"/>
                    </a:lnTo>
                    <a:lnTo>
                      <a:pt x="1372" y="2214"/>
                    </a:lnTo>
                    <a:lnTo>
                      <a:pt x="1364" y="2235"/>
                    </a:lnTo>
                    <a:lnTo>
                      <a:pt x="1353" y="2254"/>
                    </a:lnTo>
                    <a:lnTo>
                      <a:pt x="1337" y="2269"/>
                    </a:lnTo>
                    <a:lnTo>
                      <a:pt x="1318" y="2281"/>
                    </a:lnTo>
                    <a:lnTo>
                      <a:pt x="1297" y="2289"/>
                    </a:lnTo>
                    <a:lnTo>
                      <a:pt x="1274" y="2291"/>
                    </a:lnTo>
                    <a:lnTo>
                      <a:pt x="882" y="2291"/>
                    </a:lnTo>
                    <a:lnTo>
                      <a:pt x="859" y="2289"/>
                    </a:lnTo>
                    <a:lnTo>
                      <a:pt x="838" y="2281"/>
                    </a:lnTo>
                    <a:lnTo>
                      <a:pt x="819" y="2269"/>
                    </a:lnTo>
                    <a:lnTo>
                      <a:pt x="803" y="2254"/>
                    </a:lnTo>
                    <a:lnTo>
                      <a:pt x="791" y="2235"/>
                    </a:lnTo>
                    <a:lnTo>
                      <a:pt x="784" y="2214"/>
                    </a:lnTo>
                    <a:lnTo>
                      <a:pt x="781" y="2191"/>
                    </a:lnTo>
                    <a:lnTo>
                      <a:pt x="781" y="1605"/>
                    </a:lnTo>
                    <a:lnTo>
                      <a:pt x="357" y="1605"/>
                    </a:lnTo>
                    <a:lnTo>
                      <a:pt x="309" y="1602"/>
                    </a:lnTo>
                    <a:lnTo>
                      <a:pt x="262" y="1593"/>
                    </a:lnTo>
                    <a:lnTo>
                      <a:pt x="218" y="1578"/>
                    </a:lnTo>
                    <a:lnTo>
                      <a:pt x="177" y="1557"/>
                    </a:lnTo>
                    <a:lnTo>
                      <a:pt x="139" y="1531"/>
                    </a:lnTo>
                    <a:lnTo>
                      <a:pt x="104" y="1502"/>
                    </a:lnTo>
                    <a:lnTo>
                      <a:pt x="74" y="1467"/>
                    </a:lnTo>
                    <a:lnTo>
                      <a:pt x="49" y="1429"/>
                    </a:lnTo>
                    <a:lnTo>
                      <a:pt x="28" y="1388"/>
                    </a:lnTo>
                    <a:lnTo>
                      <a:pt x="12" y="1344"/>
                    </a:lnTo>
                    <a:lnTo>
                      <a:pt x="3" y="1297"/>
                    </a:lnTo>
                    <a:lnTo>
                      <a:pt x="0" y="1248"/>
                    </a:lnTo>
                    <a:lnTo>
                      <a:pt x="0" y="372"/>
                    </a:lnTo>
                    <a:lnTo>
                      <a:pt x="3" y="325"/>
                    </a:lnTo>
                    <a:lnTo>
                      <a:pt x="11" y="280"/>
                    </a:lnTo>
                    <a:lnTo>
                      <a:pt x="25" y="237"/>
                    </a:lnTo>
                    <a:lnTo>
                      <a:pt x="44" y="197"/>
                    </a:lnTo>
                    <a:lnTo>
                      <a:pt x="67" y="159"/>
                    </a:lnTo>
                    <a:lnTo>
                      <a:pt x="94" y="125"/>
                    </a:lnTo>
                    <a:lnTo>
                      <a:pt x="124" y="93"/>
                    </a:lnTo>
                    <a:lnTo>
                      <a:pt x="159" y="66"/>
                    </a:lnTo>
                    <a:lnTo>
                      <a:pt x="197" y="43"/>
                    </a:lnTo>
                    <a:lnTo>
                      <a:pt x="237" y="24"/>
                    </a:lnTo>
                    <a:lnTo>
                      <a:pt x="280" y="10"/>
                    </a:lnTo>
                    <a:lnTo>
                      <a:pt x="325" y="2"/>
                    </a:lnTo>
                    <a:lnTo>
                      <a:pt x="372"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33" name="Freeform 944"/>
              <p:cNvSpPr/>
              <p:nvPr/>
            </p:nvSpPr>
            <p:spPr bwMode="auto">
              <a:xfrm>
                <a:off x="6532" y="309"/>
                <a:ext cx="137" cy="137"/>
              </a:xfrm>
              <a:custGeom>
                <a:avLst/>
                <a:gdLst>
                  <a:gd name="T0" fmla="*/ 410 w 821"/>
                  <a:gd name="T1" fmla="*/ 0 h 821"/>
                  <a:gd name="T2" fmla="*/ 462 w 821"/>
                  <a:gd name="T3" fmla="*/ 3 h 821"/>
                  <a:gd name="T4" fmla="*/ 512 w 821"/>
                  <a:gd name="T5" fmla="*/ 12 h 821"/>
                  <a:gd name="T6" fmla="*/ 559 w 821"/>
                  <a:gd name="T7" fmla="*/ 27 h 821"/>
                  <a:gd name="T8" fmla="*/ 604 w 821"/>
                  <a:gd name="T9" fmla="*/ 48 h 821"/>
                  <a:gd name="T10" fmla="*/ 645 w 821"/>
                  <a:gd name="T11" fmla="*/ 73 h 821"/>
                  <a:gd name="T12" fmla="*/ 684 w 821"/>
                  <a:gd name="T13" fmla="*/ 104 h 821"/>
                  <a:gd name="T14" fmla="*/ 717 w 821"/>
                  <a:gd name="T15" fmla="*/ 137 h 821"/>
                  <a:gd name="T16" fmla="*/ 747 w 821"/>
                  <a:gd name="T17" fmla="*/ 176 h 821"/>
                  <a:gd name="T18" fmla="*/ 773 w 821"/>
                  <a:gd name="T19" fmla="*/ 217 h 821"/>
                  <a:gd name="T20" fmla="*/ 793 w 821"/>
                  <a:gd name="T21" fmla="*/ 262 h 821"/>
                  <a:gd name="T22" fmla="*/ 808 w 821"/>
                  <a:gd name="T23" fmla="*/ 309 h 821"/>
                  <a:gd name="T24" fmla="*/ 818 w 821"/>
                  <a:gd name="T25" fmla="*/ 358 h 821"/>
                  <a:gd name="T26" fmla="*/ 821 w 821"/>
                  <a:gd name="T27" fmla="*/ 410 h 821"/>
                  <a:gd name="T28" fmla="*/ 818 w 821"/>
                  <a:gd name="T29" fmla="*/ 462 h 821"/>
                  <a:gd name="T30" fmla="*/ 808 w 821"/>
                  <a:gd name="T31" fmla="*/ 511 h 821"/>
                  <a:gd name="T32" fmla="*/ 793 w 821"/>
                  <a:gd name="T33" fmla="*/ 558 h 821"/>
                  <a:gd name="T34" fmla="*/ 773 w 821"/>
                  <a:gd name="T35" fmla="*/ 603 h 821"/>
                  <a:gd name="T36" fmla="*/ 747 w 821"/>
                  <a:gd name="T37" fmla="*/ 644 h 821"/>
                  <a:gd name="T38" fmla="*/ 717 w 821"/>
                  <a:gd name="T39" fmla="*/ 683 h 821"/>
                  <a:gd name="T40" fmla="*/ 684 w 821"/>
                  <a:gd name="T41" fmla="*/ 717 h 821"/>
                  <a:gd name="T42" fmla="*/ 645 w 821"/>
                  <a:gd name="T43" fmla="*/ 747 h 821"/>
                  <a:gd name="T44" fmla="*/ 604 w 821"/>
                  <a:gd name="T45" fmla="*/ 773 h 821"/>
                  <a:gd name="T46" fmla="*/ 559 w 821"/>
                  <a:gd name="T47" fmla="*/ 793 h 821"/>
                  <a:gd name="T48" fmla="*/ 512 w 821"/>
                  <a:gd name="T49" fmla="*/ 808 h 821"/>
                  <a:gd name="T50" fmla="*/ 462 w 821"/>
                  <a:gd name="T51" fmla="*/ 818 h 821"/>
                  <a:gd name="T52" fmla="*/ 410 w 821"/>
                  <a:gd name="T53" fmla="*/ 821 h 821"/>
                  <a:gd name="T54" fmla="*/ 359 w 821"/>
                  <a:gd name="T55" fmla="*/ 818 h 821"/>
                  <a:gd name="T56" fmla="*/ 310 w 821"/>
                  <a:gd name="T57" fmla="*/ 808 h 821"/>
                  <a:gd name="T58" fmla="*/ 263 w 821"/>
                  <a:gd name="T59" fmla="*/ 793 h 821"/>
                  <a:gd name="T60" fmla="*/ 217 w 821"/>
                  <a:gd name="T61" fmla="*/ 773 h 821"/>
                  <a:gd name="T62" fmla="*/ 177 w 821"/>
                  <a:gd name="T63" fmla="*/ 747 h 821"/>
                  <a:gd name="T64" fmla="*/ 138 w 821"/>
                  <a:gd name="T65" fmla="*/ 717 h 821"/>
                  <a:gd name="T66" fmla="*/ 103 w 821"/>
                  <a:gd name="T67" fmla="*/ 683 h 821"/>
                  <a:gd name="T68" fmla="*/ 74 w 821"/>
                  <a:gd name="T69" fmla="*/ 644 h 821"/>
                  <a:gd name="T70" fmla="*/ 48 w 821"/>
                  <a:gd name="T71" fmla="*/ 603 h 821"/>
                  <a:gd name="T72" fmla="*/ 28 w 821"/>
                  <a:gd name="T73" fmla="*/ 558 h 821"/>
                  <a:gd name="T74" fmla="*/ 12 w 821"/>
                  <a:gd name="T75" fmla="*/ 511 h 821"/>
                  <a:gd name="T76" fmla="*/ 3 w 821"/>
                  <a:gd name="T77" fmla="*/ 462 h 821"/>
                  <a:gd name="T78" fmla="*/ 0 w 821"/>
                  <a:gd name="T79" fmla="*/ 410 h 821"/>
                  <a:gd name="T80" fmla="*/ 3 w 821"/>
                  <a:gd name="T81" fmla="*/ 358 h 821"/>
                  <a:gd name="T82" fmla="*/ 12 w 821"/>
                  <a:gd name="T83" fmla="*/ 309 h 821"/>
                  <a:gd name="T84" fmla="*/ 28 w 821"/>
                  <a:gd name="T85" fmla="*/ 262 h 821"/>
                  <a:gd name="T86" fmla="*/ 48 w 821"/>
                  <a:gd name="T87" fmla="*/ 217 h 821"/>
                  <a:gd name="T88" fmla="*/ 74 w 821"/>
                  <a:gd name="T89" fmla="*/ 176 h 821"/>
                  <a:gd name="T90" fmla="*/ 103 w 821"/>
                  <a:gd name="T91" fmla="*/ 137 h 821"/>
                  <a:gd name="T92" fmla="*/ 138 w 821"/>
                  <a:gd name="T93" fmla="*/ 104 h 821"/>
                  <a:gd name="T94" fmla="*/ 177 w 821"/>
                  <a:gd name="T95" fmla="*/ 73 h 821"/>
                  <a:gd name="T96" fmla="*/ 217 w 821"/>
                  <a:gd name="T97" fmla="*/ 48 h 821"/>
                  <a:gd name="T98" fmla="*/ 263 w 821"/>
                  <a:gd name="T99" fmla="*/ 27 h 821"/>
                  <a:gd name="T100" fmla="*/ 310 w 821"/>
                  <a:gd name="T101" fmla="*/ 12 h 821"/>
                  <a:gd name="T102" fmla="*/ 359 w 821"/>
                  <a:gd name="T103" fmla="*/ 3 h 821"/>
                  <a:gd name="T104" fmla="*/ 410 w 821"/>
                  <a:gd name="T105" fmla="*/ 0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21" h="821">
                    <a:moveTo>
                      <a:pt x="410" y="0"/>
                    </a:moveTo>
                    <a:lnTo>
                      <a:pt x="462" y="3"/>
                    </a:lnTo>
                    <a:lnTo>
                      <a:pt x="512" y="12"/>
                    </a:lnTo>
                    <a:lnTo>
                      <a:pt x="559" y="27"/>
                    </a:lnTo>
                    <a:lnTo>
                      <a:pt x="604" y="48"/>
                    </a:lnTo>
                    <a:lnTo>
                      <a:pt x="645" y="73"/>
                    </a:lnTo>
                    <a:lnTo>
                      <a:pt x="684" y="104"/>
                    </a:lnTo>
                    <a:lnTo>
                      <a:pt x="717" y="137"/>
                    </a:lnTo>
                    <a:lnTo>
                      <a:pt x="747" y="176"/>
                    </a:lnTo>
                    <a:lnTo>
                      <a:pt x="773" y="217"/>
                    </a:lnTo>
                    <a:lnTo>
                      <a:pt x="793" y="262"/>
                    </a:lnTo>
                    <a:lnTo>
                      <a:pt x="808" y="309"/>
                    </a:lnTo>
                    <a:lnTo>
                      <a:pt x="818" y="358"/>
                    </a:lnTo>
                    <a:lnTo>
                      <a:pt x="821" y="410"/>
                    </a:lnTo>
                    <a:lnTo>
                      <a:pt x="818" y="462"/>
                    </a:lnTo>
                    <a:lnTo>
                      <a:pt x="808" y="511"/>
                    </a:lnTo>
                    <a:lnTo>
                      <a:pt x="793" y="558"/>
                    </a:lnTo>
                    <a:lnTo>
                      <a:pt x="773" y="603"/>
                    </a:lnTo>
                    <a:lnTo>
                      <a:pt x="747" y="644"/>
                    </a:lnTo>
                    <a:lnTo>
                      <a:pt x="717" y="683"/>
                    </a:lnTo>
                    <a:lnTo>
                      <a:pt x="684" y="717"/>
                    </a:lnTo>
                    <a:lnTo>
                      <a:pt x="645" y="747"/>
                    </a:lnTo>
                    <a:lnTo>
                      <a:pt x="604" y="773"/>
                    </a:lnTo>
                    <a:lnTo>
                      <a:pt x="559" y="793"/>
                    </a:lnTo>
                    <a:lnTo>
                      <a:pt x="512" y="808"/>
                    </a:lnTo>
                    <a:lnTo>
                      <a:pt x="462" y="818"/>
                    </a:lnTo>
                    <a:lnTo>
                      <a:pt x="410" y="821"/>
                    </a:lnTo>
                    <a:lnTo>
                      <a:pt x="359" y="818"/>
                    </a:lnTo>
                    <a:lnTo>
                      <a:pt x="310" y="808"/>
                    </a:lnTo>
                    <a:lnTo>
                      <a:pt x="263" y="793"/>
                    </a:lnTo>
                    <a:lnTo>
                      <a:pt x="217" y="773"/>
                    </a:lnTo>
                    <a:lnTo>
                      <a:pt x="177" y="747"/>
                    </a:lnTo>
                    <a:lnTo>
                      <a:pt x="138" y="717"/>
                    </a:lnTo>
                    <a:lnTo>
                      <a:pt x="103" y="683"/>
                    </a:lnTo>
                    <a:lnTo>
                      <a:pt x="74" y="644"/>
                    </a:lnTo>
                    <a:lnTo>
                      <a:pt x="48" y="603"/>
                    </a:lnTo>
                    <a:lnTo>
                      <a:pt x="28" y="558"/>
                    </a:lnTo>
                    <a:lnTo>
                      <a:pt x="12" y="511"/>
                    </a:lnTo>
                    <a:lnTo>
                      <a:pt x="3" y="462"/>
                    </a:lnTo>
                    <a:lnTo>
                      <a:pt x="0" y="410"/>
                    </a:lnTo>
                    <a:lnTo>
                      <a:pt x="3" y="358"/>
                    </a:lnTo>
                    <a:lnTo>
                      <a:pt x="12" y="309"/>
                    </a:lnTo>
                    <a:lnTo>
                      <a:pt x="28" y="262"/>
                    </a:lnTo>
                    <a:lnTo>
                      <a:pt x="48" y="217"/>
                    </a:lnTo>
                    <a:lnTo>
                      <a:pt x="74" y="176"/>
                    </a:lnTo>
                    <a:lnTo>
                      <a:pt x="103" y="137"/>
                    </a:lnTo>
                    <a:lnTo>
                      <a:pt x="138" y="104"/>
                    </a:lnTo>
                    <a:lnTo>
                      <a:pt x="177" y="73"/>
                    </a:lnTo>
                    <a:lnTo>
                      <a:pt x="217" y="48"/>
                    </a:lnTo>
                    <a:lnTo>
                      <a:pt x="263" y="27"/>
                    </a:lnTo>
                    <a:lnTo>
                      <a:pt x="310" y="12"/>
                    </a:lnTo>
                    <a:lnTo>
                      <a:pt x="359" y="3"/>
                    </a:lnTo>
                    <a:lnTo>
                      <a:pt x="410"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34" name="Freeform 945"/>
              <p:cNvSpPr/>
              <p:nvPr/>
            </p:nvSpPr>
            <p:spPr bwMode="auto">
              <a:xfrm>
                <a:off x="6433" y="465"/>
                <a:ext cx="229" cy="382"/>
              </a:xfrm>
              <a:custGeom>
                <a:avLst/>
                <a:gdLst>
                  <a:gd name="T0" fmla="*/ 1049 w 1374"/>
                  <a:gd name="T1" fmla="*/ 2 h 2291"/>
                  <a:gd name="T2" fmla="*/ 1137 w 1374"/>
                  <a:gd name="T3" fmla="*/ 24 h 2291"/>
                  <a:gd name="T4" fmla="*/ 1215 w 1374"/>
                  <a:gd name="T5" fmla="*/ 66 h 2291"/>
                  <a:gd name="T6" fmla="*/ 1281 w 1374"/>
                  <a:gd name="T7" fmla="*/ 125 h 2291"/>
                  <a:gd name="T8" fmla="*/ 1331 w 1374"/>
                  <a:gd name="T9" fmla="*/ 197 h 2291"/>
                  <a:gd name="T10" fmla="*/ 1363 w 1374"/>
                  <a:gd name="T11" fmla="*/ 280 h 2291"/>
                  <a:gd name="T12" fmla="*/ 1374 w 1374"/>
                  <a:gd name="T13" fmla="*/ 372 h 2291"/>
                  <a:gd name="T14" fmla="*/ 1371 w 1374"/>
                  <a:gd name="T15" fmla="*/ 1297 h 2291"/>
                  <a:gd name="T16" fmla="*/ 1347 w 1374"/>
                  <a:gd name="T17" fmla="*/ 1388 h 2291"/>
                  <a:gd name="T18" fmla="*/ 1300 w 1374"/>
                  <a:gd name="T19" fmla="*/ 1467 h 2291"/>
                  <a:gd name="T20" fmla="*/ 1236 w 1374"/>
                  <a:gd name="T21" fmla="*/ 1531 h 2291"/>
                  <a:gd name="T22" fmla="*/ 1156 w 1374"/>
                  <a:gd name="T23" fmla="*/ 1578 h 2291"/>
                  <a:gd name="T24" fmla="*/ 1066 w 1374"/>
                  <a:gd name="T25" fmla="*/ 1602 h 2291"/>
                  <a:gd name="T26" fmla="*/ 593 w 1374"/>
                  <a:gd name="T27" fmla="*/ 1605 h 2291"/>
                  <a:gd name="T28" fmla="*/ 591 w 1374"/>
                  <a:gd name="T29" fmla="*/ 2214 h 2291"/>
                  <a:gd name="T30" fmla="*/ 571 w 1374"/>
                  <a:gd name="T31" fmla="*/ 2254 h 2291"/>
                  <a:gd name="T32" fmla="*/ 536 w 1374"/>
                  <a:gd name="T33" fmla="*/ 2281 h 2291"/>
                  <a:gd name="T34" fmla="*/ 492 w 1374"/>
                  <a:gd name="T35" fmla="*/ 2291 h 2291"/>
                  <a:gd name="T36" fmla="*/ 77 w 1374"/>
                  <a:gd name="T37" fmla="*/ 2289 h 2291"/>
                  <a:gd name="T38" fmla="*/ 38 w 1374"/>
                  <a:gd name="T39" fmla="*/ 2269 h 2291"/>
                  <a:gd name="T40" fmla="*/ 9 w 1374"/>
                  <a:gd name="T41" fmla="*/ 2235 h 2291"/>
                  <a:gd name="T42" fmla="*/ 0 w 1374"/>
                  <a:gd name="T43" fmla="*/ 2191 h 2291"/>
                  <a:gd name="T44" fmla="*/ 3 w 1374"/>
                  <a:gd name="T45" fmla="*/ 1277 h 2291"/>
                  <a:gd name="T46" fmla="*/ 28 w 1374"/>
                  <a:gd name="T47" fmla="*/ 1193 h 2291"/>
                  <a:gd name="T48" fmla="*/ 74 w 1374"/>
                  <a:gd name="T49" fmla="*/ 1122 h 2291"/>
                  <a:gd name="T50" fmla="*/ 138 w 1374"/>
                  <a:gd name="T51" fmla="*/ 1066 h 2291"/>
                  <a:gd name="T52" fmla="*/ 216 w 1374"/>
                  <a:gd name="T53" fmla="*/ 1030 h 2291"/>
                  <a:gd name="T54" fmla="*/ 304 w 1374"/>
                  <a:gd name="T55" fmla="*/ 1017 h 2291"/>
                  <a:gd name="T56" fmla="*/ 630 w 1374"/>
                  <a:gd name="T57" fmla="*/ 372 h 2291"/>
                  <a:gd name="T58" fmla="*/ 642 w 1374"/>
                  <a:gd name="T59" fmla="*/ 280 h 2291"/>
                  <a:gd name="T60" fmla="*/ 674 w 1374"/>
                  <a:gd name="T61" fmla="*/ 197 h 2291"/>
                  <a:gd name="T62" fmla="*/ 725 w 1374"/>
                  <a:gd name="T63" fmla="*/ 125 h 2291"/>
                  <a:gd name="T64" fmla="*/ 791 w 1374"/>
                  <a:gd name="T65" fmla="*/ 66 h 2291"/>
                  <a:gd name="T66" fmla="*/ 868 w 1374"/>
                  <a:gd name="T67" fmla="*/ 24 h 2291"/>
                  <a:gd name="T68" fmla="*/ 956 w 1374"/>
                  <a:gd name="T69" fmla="*/ 2 h 2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74" h="2291">
                    <a:moveTo>
                      <a:pt x="1002" y="0"/>
                    </a:moveTo>
                    <a:lnTo>
                      <a:pt x="1049" y="2"/>
                    </a:lnTo>
                    <a:lnTo>
                      <a:pt x="1094" y="10"/>
                    </a:lnTo>
                    <a:lnTo>
                      <a:pt x="1137" y="24"/>
                    </a:lnTo>
                    <a:lnTo>
                      <a:pt x="1177" y="43"/>
                    </a:lnTo>
                    <a:lnTo>
                      <a:pt x="1215" y="66"/>
                    </a:lnTo>
                    <a:lnTo>
                      <a:pt x="1249" y="93"/>
                    </a:lnTo>
                    <a:lnTo>
                      <a:pt x="1281" y="125"/>
                    </a:lnTo>
                    <a:lnTo>
                      <a:pt x="1308" y="159"/>
                    </a:lnTo>
                    <a:lnTo>
                      <a:pt x="1331" y="197"/>
                    </a:lnTo>
                    <a:lnTo>
                      <a:pt x="1350" y="237"/>
                    </a:lnTo>
                    <a:lnTo>
                      <a:pt x="1363" y="280"/>
                    </a:lnTo>
                    <a:lnTo>
                      <a:pt x="1372" y="325"/>
                    </a:lnTo>
                    <a:lnTo>
                      <a:pt x="1374" y="372"/>
                    </a:lnTo>
                    <a:lnTo>
                      <a:pt x="1374" y="1248"/>
                    </a:lnTo>
                    <a:lnTo>
                      <a:pt x="1371" y="1297"/>
                    </a:lnTo>
                    <a:lnTo>
                      <a:pt x="1361" y="1344"/>
                    </a:lnTo>
                    <a:lnTo>
                      <a:pt x="1347" y="1388"/>
                    </a:lnTo>
                    <a:lnTo>
                      <a:pt x="1326" y="1429"/>
                    </a:lnTo>
                    <a:lnTo>
                      <a:pt x="1300" y="1467"/>
                    </a:lnTo>
                    <a:lnTo>
                      <a:pt x="1270" y="1502"/>
                    </a:lnTo>
                    <a:lnTo>
                      <a:pt x="1236" y="1531"/>
                    </a:lnTo>
                    <a:lnTo>
                      <a:pt x="1198" y="1557"/>
                    </a:lnTo>
                    <a:lnTo>
                      <a:pt x="1156" y="1578"/>
                    </a:lnTo>
                    <a:lnTo>
                      <a:pt x="1112" y="1593"/>
                    </a:lnTo>
                    <a:lnTo>
                      <a:pt x="1066" y="1602"/>
                    </a:lnTo>
                    <a:lnTo>
                      <a:pt x="1018" y="1605"/>
                    </a:lnTo>
                    <a:lnTo>
                      <a:pt x="593" y="1605"/>
                    </a:lnTo>
                    <a:lnTo>
                      <a:pt x="593" y="2191"/>
                    </a:lnTo>
                    <a:lnTo>
                      <a:pt x="591" y="2214"/>
                    </a:lnTo>
                    <a:lnTo>
                      <a:pt x="583" y="2235"/>
                    </a:lnTo>
                    <a:lnTo>
                      <a:pt x="571" y="2254"/>
                    </a:lnTo>
                    <a:lnTo>
                      <a:pt x="555" y="2269"/>
                    </a:lnTo>
                    <a:lnTo>
                      <a:pt x="536" y="2281"/>
                    </a:lnTo>
                    <a:lnTo>
                      <a:pt x="515" y="2289"/>
                    </a:lnTo>
                    <a:lnTo>
                      <a:pt x="492" y="2291"/>
                    </a:lnTo>
                    <a:lnTo>
                      <a:pt x="100" y="2291"/>
                    </a:lnTo>
                    <a:lnTo>
                      <a:pt x="77" y="2289"/>
                    </a:lnTo>
                    <a:lnTo>
                      <a:pt x="56" y="2281"/>
                    </a:lnTo>
                    <a:lnTo>
                      <a:pt x="38" y="2269"/>
                    </a:lnTo>
                    <a:lnTo>
                      <a:pt x="22" y="2254"/>
                    </a:lnTo>
                    <a:lnTo>
                      <a:pt x="9" y="2235"/>
                    </a:lnTo>
                    <a:lnTo>
                      <a:pt x="2" y="2214"/>
                    </a:lnTo>
                    <a:lnTo>
                      <a:pt x="0" y="2191"/>
                    </a:lnTo>
                    <a:lnTo>
                      <a:pt x="0" y="1322"/>
                    </a:lnTo>
                    <a:lnTo>
                      <a:pt x="3" y="1277"/>
                    </a:lnTo>
                    <a:lnTo>
                      <a:pt x="13" y="1234"/>
                    </a:lnTo>
                    <a:lnTo>
                      <a:pt x="28" y="1193"/>
                    </a:lnTo>
                    <a:lnTo>
                      <a:pt x="48" y="1156"/>
                    </a:lnTo>
                    <a:lnTo>
                      <a:pt x="74" y="1122"/>
                    </a:lnTo>
                    <a:lnTo>
                      <a:pt x="104" y="1092"/>
                    </a:lnTo>
                    <a:lnTo>
                      <a:pt x="138" y="1066"/>
                    </a:lnTo>
                    <a:lnTo>
                      <a:pt x="176" y="1045"/>
                    </a:lnTo>
                    <a:lnTo>
                      <a:pt x="216" y="1030"/>
                    </a:lnTo>
                    <a:lnTo>
                      <a:pt x="259" y="1021"/>
                    </a:lnTo>
                    <a:lnTo>
                      <a:pt x="304" y="1017"/>
                    </a:lnTo>
                    <a:lnTo>
                      <a:pt x="630" y="1017"/>
                    </a:lnTo>
                    <a:lnTo>
                      <a:pt x="630" y="372"/>
                    </a:lnTo>
                    <a:lnTo>
                      <a:pt x="634" y="325"/>
                    </a:lnTo>
                    <a:lnTo>
                      <a:pt x="642" y="280"/>
                    </a:lnTo>
                    <a:lnTo>
                      <a:pt x="656" y="237"/>
                    </a:lnTo>
                    <a:lnTo>
                      <a:pt x="674" y="197"/>
                    </a:lnTo>
                    <a:lnTo>
                      <a:pt x="697" y="159"/>
                    </a:lnTo>
                    <a:lnTo>
                      <a:pt x="725" y="125"/>
                    </a:lnTo>
                    <a:lnTo>
                      <a:pt x="756" y="93"/>
                    </a:lnTo>
                    <a:lnTo>
                      <a:pt x="791" y="66"/>
                    </a:lnTo>
                    <a:lnTo>
                      <a:pt x="827" y="43"/>
                    </a:lnTo>
                    <a:lnTo>
                      <a:pt x="868" y="24"/>
                    </a:lnTo>
                    <a:lnTo>
                      <a:pt x="911" y="10"/>
                    </a:lnTo>
                    <a:lnTo>
                      <a:pt x="956" y="2"/>
                    </a:lnTo>
                    <a:lnTo>
                      <a:pt x="1002"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grpSp>
        <p:grpSp>
          <p:nvGrpSpPr>
            <p:cNvPr id="135" name="Group 1136"/>
            <p:cNvGrpSpPr>
              <a:grpSpLocks noChangeAspect="1"/>
            </p:cNvGrpSpPr>
            <p:nvPr/>
          </p:nvGrpSpPr>
          <p:grpSpPr bwMode="auto">
            <a:xfrm>
              <a:off x="2380106" y="5413294"/>
              <a:ext cx="345494" cy="417046"/>
              <a:chOff x="2712" y="795"/>
              <a:chExt cx="2255" cy="2722"/>
            </a:xfrm>
            <a:solidFill>
              <a:schemeClr val="bg1"/>
            </a:solidFill>
          </p:grpSpPr>
          <p:sp>
            <p:nvSpPr>
              <p:cNvPr id="136" name="Freeform 1138"/>
              <p:cNvSpPr/>
              <p:nvPr/>
            </p:nvSpPr>
            <p:spPr bwMode="auto">
              <a:xfrm>
                <a:off x="3897" y="2545"/>
                <a:ext cx="148" cy="243"/>
              </a:xfrm>
              <a:custGeom>
                <a:avLst/>
                <a:gdLst>
                  <a:gd name="T0" fmla="*/ 0 w 298"/>
                  <a:gd name="T1" fmla="*/ 0 h 487"/>
                  <a:gd name="T2" fmla="*/ 63 w 298"/>
                  <a:gd name="T3" fmla="*/ 17 h 487"/>
                  <a:gd name="T4" fmla="*/ 124 w 298"/>
                  <a:gd name="T5" fmla="*/ 38 h 487"/>
                  <a:gd name="T6" fmla="*/ 184 w 298"/>
                  <a:gd name="T7" fmla="*/ 65 h 487"/>
                  <a:gd name="T8" fmla="*/ 210 w 298"/>
                  <a:gd name="T9" fmla="*/ 80 h 487"/>
                  <a:gd name="T10" fmla="*/ 235 w 298"/>
                  <a:gd name="T11" fmla="*/ 96 h 487"/>
                  <a:gd name="T12" fmla="*/ 257 w 298"/>
                  <a:gd name="T13" fmla="*/ 118 h 487"/>
                  <a:gd name="T14" fmla="*/ 273 w 298"/>
                  <a:gd name="T15" fmla="*/ 139 h 487"/>
                  <a:gd name="T16" fmla="*/ 285 w 298"/>
                  <a:gd name="T17" fmla="*/ 164 h 487"/>
                  <a:gd name="T18" fmla="*/ 293 w 298"/>
                  <a:gd name="T19" fmla="*/ 191 h 487"/>
                  <a:gd name="T20" fmla="*/ 298 w 298"/>
                  <a:gd name="T21" fmla="*/ 229 h 487"/>
                  <a:gd name="T22" fmla="*/ 296 w 298"/>
                  <a:gd name="T23" fmla="*/ 268 h 487"/>
                  <a:gd name="T24" fmla="*/ 288 w 298"/>
                  <a:gd name="T25" fmla="*/ 306 h 487"/>
                  <a:gd name="T26" fmla="*/ 271 w 298"/>
                  <a:gd name="T27" fmla="*/ 343 h 487"/>
                  <a:gd name="T28" fmla="*/ 250 w 298"/>
                  <a:gd name="T29" fmla="*/ 376 h 487"/>
                  <a:gd name="T30" fmla="*/ 222 w 298"/>
                  <a:gd name="T31" fmla="*/ 404 h 487"/>
                  <a:gd name="T32" fmla="*/ 189 w 298"/>
                  <a:gd name="T33" fmla="*/ 427 h 487"/>
                  <a:gd name="T34" fmla="*/ 154 w 298"/>
                  <a:gd name="T35" fmla="*/ 445 h 487"/>
                  <a:gd name="T36" fmla="*/ 116 w 298"/>
                  <a:gd name="T37" fmla="*/ 460 h 487"/>
                  <a:gd name="T38" fmla="*/ 78 w 298"/>
                  <a:gd name="T39" fmla="*/ 472 h 487"/>
                  <a:gd name="T40" fmla="*/ 38 w 298"/>
                  <a:gd name="T41" fmla="*/ 480 h 487"/>
                  <a:gd name="T42" fmla="*/ 0 w 298"/>
                  <a:gd name="T43" fmla="*/ 487 h 487"/>
                  <a:gd name="T44" fmla="*/ 0 w 298"/>
                  <a:gd name="T45" fmla="*/ 0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8" h="487">
                    <a:moveTo>
                      <a:pt x="0" y="0"/>
                    </a:moveTo>
                    <a:lnTo>
                      <a:pt x="63" y="17"/>
                    </a:lnTo>
                    <a:lnTo>
                      <a:pt x="124" y="38"/>
                    </a:lnTo>
                    <a:lnTo>
                      <a:pt x="184" y="65"/>
                    </a:lnTo>
                    <a:lnTo>
                      <a:pt x="210" y="80"/>
                    </a:lnTo>
                    <a:lnTo>
                      <a:pt x="235" y="96"/>
                    </a:lnTo>
                    <a:lnTo>
                      <a:pt x="257" y="118"/>
                    </a:lnTo>
                    <a:lnTo>
                      <a:pt x="273" y="139"/>
                    </a:lnTo>
                    <a:lnTo>
                      <a:pt x="285" y="164"/>
                    </a:lnTo>
                    <a:lnTo>
                      <a:pt x="293" y="191"/>
                    </a:lnTo>
                    <a:lnTo>
                      <a:pt x="298" y="229"/>
                    </a:lnTo>
                    <a:lnTo>
                      <a:pt x="296" y="268"/>
                    </a:lnTo>
                    <a:lnTo>
                      <a:pt x="288" y="306"/>
                    </a:lnTo>
                    <a:lnTo>
                      <a:pt x="271" y="343"/>
                    </a:lnTo>
                    <a:lnTo>
                      <a:pt x="250" y="376"/>
                    </a:lnTo>
                    <a:lnTo>
                      <a:pt x="222" y="404"/>
                    </a:lnTo>
                    <a:lnTo>
                      <a:pt x="189" y="427"/>
                    </a:lnTo>
                    <a:lnTo>
                      <a:pt x="154" y="445"/>
                    </a:lnTo>
                    <a:lnTo>
                      <a:pt x="116" y="460"/>
                    </a:lnTo>
                    <a:lnTo>
                      <a:pt x="78" y="472"/>
                    </a:lnTo>
                    <a:lnTo>
                      <a:pt x="38" y="480"/>
                    </a:lnTo>
                    <a:lnTo>
                      <a:pt x="0" y="487"/>
                    </a:lnTo>
                    <a:lnTo>
                      <a:pt x="0"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37" name="Freeform 1139"/>
              <p:cNvSpPr/>
              <p:nvPr/>
            </p:nvSpPr>
            <p:spPr bwMode="auto">
              <a:xfrm>
                <a:off x="3641" y="2153"/>
                <a:ext cx="122" cy="221"/>
              </a:xfrm>
              <a:custGeom>
                <a:avLst/>
                <a:gdLst>
                  <a:gd name="T0" fmla="*/ 243 w 243"/>
                  <a:gd name="T1" fmla="*/ 0 h 442"/>
                  <a:gd name="T2" fmla="*/ 243 w 243"/>
                  <a:gd name="T3" fmla="*/ 442 h 442"/>
                  <a:gd name="T4" fmla="*/ 199 w 243"/>
                  <a:gd name="T5" fmla="*/ 427 h 442"/>
                  <a:gd name="T6" fmla="*/ 157 w 243"/>
                  <a:gd name="T7" fmla="*/ 412 h 442"/>
                  <a:gd name="T8" fmla="*/ 113 w 243"/>
                  <a:gd name="T9" fmla="*/ 390 h 442"/>
                  <a:gd name="T10" fmla="*/ 70 w 243"/>
                  <a:gd name="T11" fmla="*/ 365 h 442"/>
                  <a:gd name="T12" fmla="*/ 47 w 243"/>
                  <a:gd name="T13" fmla="*/ 347 h 442"/>
                  <a:gd name="T14" fmla="*/ 27 w 243"/>
                  <a:gd name="T15" fmla="*/ 327 h 442"/>
                  <a:gd name="T16" fmla="*/ 12 w 243"/>
                  <a:gd name="T17" fmla="*/ 301 h 442"/>
                  <a:gd name="T18" fmla="*/ 4 w 243"/>
                  <a:gd name="T19" fmla="*/ 271 h 442"/>
                  <a:gd name="T20" fmla="*/ 0 w 243"/>
                  <a:gd name="T21" fmla="*/ 238 h 442"/>
                  <a:gd name="T22" fmla="*/ 0 w 243"/>
                  <a:gd name="T23" fmla="*/ 207 h 442"/>
                  <a:gd name="T24" fmla="*/ 7 w 243"/>
                  <a:gd name="T25" fmla="*/ 177 h 442"/>
                  <a:gd name="T26" fmla="*/ 17 w 243"/>
                  <a:gd name="T27" fmla="*/ 147 h 442"/>
                  <a:gd name="T28" fmla="*/ 33 w 243"/>
                  <a:gd name="T29" fmla="*/ 121 h 442"/>
                  <a:gd name="T30" fmla="*/ 58 w 243"/>
                  <a:gd name="T31" fmla="*/ 89 h 442"/>
                  <a:gd name="T32" fmla="*/ 91 w 243"/>
                  <a:gd name="T33" fmla="*/ 63 h 442"/>
                  <a:gd name="T34" fmla="*/ 126 w 243"/>
                  <a:gd name="T35" fmla="*/ 41 h 442"/>
                  <a:gd name="T36" fmla="*/ 164 w 243"/>
                  <a:gd name="T37" fmla="*/ 23 h 442"/>
                  <a:gd name="T38" fmla="*/ 204 w 243"/>
                  <a:gd name="T39" fmla="*/ 10 h 442"/>
                  <a:gd name="T40" fmla="*/ 243 w 243"/>
                  <a:gd name="T41" fmla="*/ 0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3" h="442">
                    <a:moveTo>
                      <a:pt x="243" y="0"/>
                    </a:moveTo>
                    <a:lnTo>
                      <a:pt x="243" y="442"/>
                    </a:lnTo>
                    <a:lnTo>
                      <a:pt x="199" y="427"/>
                    </a:lnTo>
                    <a:lnTo>
                      <a:pt x="157" y="412"/>
                    </a:lnTo>
                    <a:lnTo>
                      <a:pt x="113" y="390"/>
                    </a:lnTo>
                    <a:lnTo>
                      <a:pt x="70" y="365"/>
                    </a:lnTo>
                    <a:lnTo>
                      <a:pt x="47" y="347"/>
                    </a:lnTo>
                    <a:lnTo>
                      <a:pt x="27" y="327"/>
                    </a:lnTo>
                    <a:lnTo>
                      <a:pt x="12" y="301"/>
                    </a:lnTo>
                    <a:lnTo>
                      <a:pt x="4" y="271"/>
                    </a:lnTo>
                    <a:lnTo>
                      <a:pt x="0" y="238"/>
                    </a:lnTo>
                    <a:lnTo>
                      <a:pt x="0" y="207"/>
                    </a:lnTo>
                    <a:lnTo>
                      <a:pt x="7" y="177"/>
                    </a:lnTo>
                    <a:lnTo>
                      <a:pt x="17" y="147"/>
                    </a:lnTo>
                    <a:lnTo>
                      <a:pt x="33" y="121"/>
                    </a:lnTo>
                    <a:lnTo>
                      <a:pt x="58" y="89"/>
                    </a:lnTo>
                    <a:lnTo>
                      <a:pt x="91" y="63"/>
                    </a:lnTo>
                    <a:lnTo>
                      <a:pt x="126" y="41"/>
                    </a:lnTo>
                    <a:lnTo>
                      <a:pt x="164" y="23"/>
                    </a:lnTo>
                    <a:lnTo>
                      <a:pt x="204" y="10"/>
                    </a:lnTo>
                    <a:lnTo>
                      <a:pt x="243"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38" name="Freeform 1140"/>
              <p:cNvSpPr>
                <a:spLocks noEditPoints="1"/>
              </p:cNvSpPr>
              <p:nvPr/>
            </p:nvSpPr>
            <p:spPr bwMode="auto">
              <a:xfrm>
                <a:off x="2712" y="795"/>
                <a:ext cx="2255" cy="2722"/>
              </a:xfrm>
              <a:custGeom>
                <a:avLst/>
                <a:gdLst>
                  <a:gd name="T0" fmla="*/ 2105 w 4510"/>
                  <a:gd name="T1" fmla="*/ 2268 h 5443"/>
                  <a:gd name="T2" fmla="*/ 1792 w 4510"/>
                  <a:gd name="T3" fmla="*/ 2563 h 5443"/>
                  <a:gd name="T4" fmla="*/ 1592 w 4510"/>
                  <a:gd name="T5" fmla="*/ 2900 h 5443"/>
                  <a:gd name="T6" fmla="*/ 1683 w 4510"/>
                  <a:gd name="T7" fmla="*/ 3220 h 5443"/>
                  <a:gd name="T8" fmla="*/ 2040 w 4510"/>
                  <a:gd name="T9" fmla="*/ 3420 h 5443"/>
                  <a:gd name="T10" fmla="*/ 1898 w 4510"/>
                  <a:gd name="T11" fmla="*/ 3837 h 5443"/>
                  <a:gd name="T12" fmla="*/ 1781 w 4510"/>
                  <a:gd name="T13" fmla="*/ 3635 h 5443"/>
                  <a:gd name="T14" fmla="*/ 1592 w 4510"/>
                  <a:gd name="T15" fmla="*/ 3688 h 5443"/>
                  <a:gd name="T16" fmla="*/ 1632 w 4510"/>
                  <a:gd name="T17" fmla="*/ 3916 h 5443"/>
                  <a:gd name="T18" fmla="*/ 1971 w 4510"/>
                  <a:gd name="T19" fmla="*/ 4206 h 5443"/>
                  <a:gd name="T20" fmla="*/ 2153 w 4510"/>
                  <a:gd name="T21" fmla="*/ 4502 h 5443"/>
                  <a:gd name="T22" fmla="*/ 2343 w 4510"/>
                  <a:gd name="T23" fmla="*/ 4476 h 5443"/>
                  <a:gd name="T24" fmla="*/ 2568 w 4510"/>
                  <a:gd name="T25" fmla="*/ 4214 h 5443"/>
                  <a:gd name="T26" fmla="*/ 2900 w 4510"/>
                  <a:gd name="T27" fmla="*/ 3920 h 5443"/>
                  <a:gd name="T28" fmla="*/ 2877 w 4510"/>
                  <a:gd name="T29" fmla="*/ 3511 h 5443"/>
                  <a:gd name="T30" fmla="*/ 2887 w 4510"/>
                  <a:gd name="T31" fmla="*/ 3529 h 5443"/>
                  <a:gd name="T32" fmla="*/ 2869 w 4510"/>
                  <a:gd name="T33" fmla="*/ 3496 h 5443"/>
                  <a:gd name="T34" fmla="*/ 2870 w 4510"/>
                  <a:gd name="T35" fmla="*/ 3498 h 5443"/>
                  <a:gd name="T36" fmla="*/ 2735 w 4510"/>
                  <a:gd name="T37" fmla="*/ 3362 h 5443"/>
                  <a:gd name="T38" fmla="*/ 2369 w 4510"/>
                  <a:gd name="T39" fmla="*/ 2715 h 5443"/>
                  <a:gd name="T40" fmla="*/ 2627 w 4510"/>
                  <a:gd name="T41" fmla="*/ 2874 h 5443"/>
                  <a:gd name="T42" fmla="*/ 2740 w 4510"/>
                  <a:gd name="T43" fmla="*/ 3021 h 5443"/>
                  <a:gd name="T44" fmla="*/ 2907 w 4510"/>
                  <a:gd name="T45" fmla="*/ 2925 h 5443"/>
                  <a:gd name="T46" fmla="*/ 2812 w 4510"/>
                  <a:gd name="T47" fmla="*/ 2669 h 5443"/>
                  <a:gd name="T48" fmla="*/ 2421 w 4510"/>
                  <a:gd name="T49" fmla="*/ 2452 h 5443"/>
                  <a:gd name="T50" fmla="*/ 2292 w 4510"/>
                  <a:gd name="T51" fmla="*/ 2176 h 5443"/>
                  <a:gd name="T52" fmla="*/ 1528 w 4510"/>
                  <a:gd name="T53" fmla="*/ 40 h 5443"/>
                  <a:gd name="T54" fmla="*/ 1891 w 4510"/>
                  <a:gd name="T55" fmla="*/ 185 h 5443"/>
                  <a:gd name="T56" fmla="*/ 2263 w 4510"/>
                  <a:gd name="T57" fmla="*/ 174 h 5443"/>
                  <a:gd name="T58" fmla="*/ 2721 w 4510"/>
                  <a:gd name="T59" fmla="*/ 50 h 5443"/>
                  <a:gd name="T60" fmla="*/ 3079 w 4510"/>
                  <a:gd name="T61" fmla="*/ 26 h 5443"/>
                  <a:gd name="T62" fmla="*/ 3093 w 4510"/>
                  <a:gd name="T63" fmla="*/ 260 h 5443"/>
                  <a:gd name="T64" fmla="*/ 2931 w 4510"/>
                  <a:gd name="T65" fmla="*/ 672 h 5443"/>
                  <a:gd name="T66" fmla="*/ 2640 w 4510"/>
                  <a:gd name="T67" fmla="*/ 1089 h 5443"/>
                  <a:gd name="T68" fmla="*/ 2878 w 4510"/>
                  <a:gd name="T69" fmla="*/ 1367 h 5443"/>
                  <a:gd name="T70" fmla="*/ 3356 w 4510"/>
                  <a:gd name="T71" fmla="*/ 1755 h 5443"/>
                  <a:gd name="T72" fmla="*/ 3803 w 4510"/>
                  <a:gd name="T73" fmla="*/ 2262 h 5443"/>
                  <a:gd name="T74" fmla="*/ 4171 w 4510"/>
                  <a:gd name="T75" fmla="*/ 2843 h 5443"/>
                  <a:gd name="T76" fmla="*/ 4423 w 4510"/>
                  <a:gd name="T77" fmla="*/ 3453 h 5443"/>
                  <a:gd name="T78" fmla="*/ 4510 w 4510"/>
                  <a:gd name="T79" fmla="*/ 4050 h 5443"/>
                  <a:gd name="T80" fmla="*/ 4393 w 4510"/>
                  <a:gd name="T81" fmla="*/ 4591 h 5443"/>
                  <a:gd name="T82" fmla="*/ 4026 w 4510"/>
                  <a:gd name="T83" fmla="*/ 5033 h 5443"/>
                  <a:gd name="T84" fmla="*/ 3366 w 4510"/>
                  <a:gd name="T85" fmla="*/ 5333 h 5443"/>
                  <a:gd name="T86" fmla="*/ 2369 w 4510"/>
                  <a:gd name="T87" fmla="*/ 5443 h 5443"/>
                  <a:gd name="T88" fmla="*/ 1255 w 4510"/>
                  <a:gd name="T89" fmla="*/ 5341 h 5443"/>
                  <a:gd name="T90" fmla="*/ 536 w 4510"/>
                  <a:gd name="T91" fmla="*/ 5038 h 5443"/>
                  <a:gd name="T92" fmla="*/ 134 w 4510"/>
                  <a:gd name="T93" fmla="*/ 4578 h 5443"/>
                  <a:gd name="T94" fmla="*/ 0 w 4510"/>
                  <a:gd name="T95" fmla="*/ 4011 h 5443"/>
                  <a:gd name="T96" fmla="*/ 86 w 4510"/>
                  <a:gd name="T97" fmla="*/ 3385 h 5443"/>
                  <a:gd name="T98" fmla="*/ 341 w 4510"/>
                  <a:gd name="T99" fmla="*/ 2750 h 5443"/>
                  <a:gd name="T100" fmla="*/ 718 w 4510"/>
                  <a:gd name="T101" fmla="*/ 2156 h 5443"/>
                  <a:gd name="T102" fmla="*/ 1166 w 4510"/>
                  <a:gd name="T103" fmla="*/ 1651 h 5443"/>
                  <a:gd name="T104" fmla="*/ 1635 w 4510"/>
                  <a:gd name="T105" fmla="*/ 1286 h 5443"/>
                  <a:gd name="T106" fmla="*/ 1476 w 4510"/>
                  <a:gd name="T107" fmla="*/ 953 h 5443"/>
                  <a:gd name="T108" fmla="*/ 1209 w 4510"/>
                  <a:gd name="T109" fmla="*/ 505 h 5443"/>
                  <a:gd name="T110" fmla="*/ 1161 w 4510"/>
                  <a:gd name="T111" fmla="*/ 134 h 5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10" h="5443">
                    <a:moveTo>
                      <a:pt x="2230" y="2164"/>
                    </a:moveTo>
                    <a:lnTo>
                      <a:pt x="2201" y="2167"/>
                    </a:lnTo>
                    <a:lnTo>
                      <a:pt x="2173" y="2179"/>
                    </a:lnTo>
                    <a:lnTo>
                      <a:pt x="2146" y="2197"/>
                    </a:lnTo>
                    <a:lnTo>
                      <a:pt x="2128" y="2219"/>
                    </a:lnTo>
                    <a:lnTo>
                      <a:pt x="2113" y="2242"/>
                    </a:lnTo>
                    <a:lnTo>
                      <a:pt x="2105" y="2268"/>
                    </a:lnTo>
                    <a:lnTo>
                      <a:pt x="2101" y="2297"/>
                    </a:lnTo>
                    <a:lnTo>
                      <a:pt x="2101" y="2445"/>
                    </a:lnTo>
                    <a:lnTo>
                      <a:pt x="2035" y="2457"/>
                    </a:lnTo>
                    <a:lnTo>
                      <a:pt x="1971" y="2475"/>
                    </a:lnTo>
                    <a:lnTo>
                      <a:pt x="1908" y="2498"/>
                    </a:lnTo>
                    <a:lnTo>
                      <a:pt x="1848" y="2528"/>
                    </a:lnTo>
                    <a:lnTo>
                      <a:pt x="1792" y="2563"/>
                    </a:lnTo>
                    <a:lnTo>
                      <a:pt x="1741" y="2606"/>
                    </a:lnTo>
                    <a:lnTo>
                      <a:pt x="1698" y="2651"/>
                    </a:lnTo>
                    <a:lnTo>
                      <a:pt x="1660" y="2702"/>
                    </a:lnTo>
                    <a:lnTo>
                      <a:pt x="1630" y="2756"/>
                    </a:lnTo>
                    <a:lnTo>
                      <a:pt x="1612" y="2803"/>
                    </a:lnTo>
                    <a:lnTo>
                      <a:pt x="1600" y="2851"/>
                    </a:lnTo>
                    <a:lnTo>
                      <a:pt x="1592" y="2900"/>
                    </a:lnTo>
                    <a:lnTo>
                      <a:pt x="1591" y="2950"/>
                    </a:lnTo>
                    <a:lnTo>
                      <a:pt x="1594" y="3000"/>
                    </a:lnTo>
                    <a:lnTo>
                      <a:pt x="1600" y="3048"/>
                    </a:lnTo>
                    <a:lnTo>
                      <a:pt x="1614" y="3096"/>
                    </a:lnTo>
                    <a:lnTo>
                      <a:pt x="1632" y="3142"/>
                    </a:lnTo>
                    <a:lnTo>
                      <a:pt x="1655" y="3183"/>
                    </a:lnTo>
                    <a:lnTo>
                      <a:pt x="1683" y="3220"/>
                    </a:lnTo>
                    <a:lnTo>
                      <a:pt x="1715" y="3254"/>
                    </a:lnTo>
                    <a:lnTo>
                      <a:pt x="1751" y="3284"/>
                    </a:lnTo>
                    <a:lnTo>
                      <a:pt x="1802" y="3321"/>
                    </a:lnTo>
                    <a:lnTo>
                      <a:pt x="1858" y="3352"/>
                    </a:lnTo>
                    <a:lnTo>
                      <a:pt x="1918" y="3379"/>
                    </a:lnTo>
                    <a:lnTo>
                      <a:pt x="1977" y="3400"/>
                    </a:lnTo>
                    <a:lnTo>
                      <a:pt x="2040" y="3420"/>
                    </a:lnTo>
                    <a:lnTo>
                      <a:pt x="2101" y="3436"/>
                    </a:lnTo>
                    <a:lnTo>
                      <a:pt x="2101" y="3966"/>
                    </a:lnTo>
                    <a:lnTo>
                      <a:pt x="2055" y="3951"/>
                    </a:lnTo>
                    <a:lnTo>
                      <a:pt x="2010" y="3930"/>
                    </a:lnTo>
                    <a:lnTo>
                      <a:pt x="1969" y="3905"/>
                    </a:lnTo>
                    <a:lnTo>
                      <a:pt x="1931" y="3873"/>
                    </a:lnTo>
                    <a:lnTo>
                      <a:pt x="1898" y="3837"/>
                    </a:lnTo>
                    <a:lnTo>
                      <a:pt x="1872" y="3797"/>
                    </a:lnTo>
                    <a:lnTo>
                      <a:pt x="1852" y="3754"/>
                    </a:lnTo>
                    <a:lnTo>
                      <a:pt x="1843" y="3731"/>
                    </a:lnTo>
                    <a:lnTo>
                      <a:pt x="1837" y="3708"/>
                    </a:lnTo>
                    <a:lnTo>
                      <a:pt x="1824" y="3680"/>
                    </a:lnTo>
                    <a:lnTo>
                      <a:pt x="1805" y="3655"/>
                    </a:lnTo>
                    <a:lnTo>
                      <a:pt x="1781" y="3635"/>
                    </a:lnTo>
                    <a:lnTo>
                      <a:pt x="1753" y="3622"/>
                    </a:lnTo>
                    <a:lnTo>
                      <a:pt x="1723" y="3617"/>
                    </a:lnTo>
                    <a:lnTo>
                      <a:pt x="1690" y="3617"/>
                    </a:lnTo>
                    <a:lnTo>
                      <a:pt x="1660" y="3625"/>
                    </a:lnTo>
                    <a:lnTo>
                      <a:pt x="1634" y="3640"/>
                    </a:lnTo>
                    <a:lnTo>
                      <a:pt x="1610" y="3662"/>
                    </a:lnTo>
                    <a:lnTo>
                      <a:pt x="1592" y="3688"/>
                    </a:lnTo>
                    <a:lnTo>
                      <a:pt x="1582" y="3711"/>
                    </a:lnTo>
                    <a:lnTo>
                      <a:pt x="1577" y="3738"/>
                    </a:lnTo>
                    <a:lnTo>
                      <a:pt x="1577" y="3762"/>
                    </a:lnTo>
                    <a:lnTo>
                      <a:pt x="1581" y="3786"/>
                    </a:lnTo>
                    <a:lnTo>
                      <a:pt x="1587" y="3809"/>
                    </a:lnTo>
                    <a:lnTo>
                      <a:pt x="1604" y="3857"/>
                    </a:lnTo>
                    <a:lnTo>
                      <a:pt x="1632" y="3916"/>
                    </a:lnTo>
                    <a:lnTo>
                      <a:pt x="1665" y="3973"/>
                    </a:lnTo>
                    <a:lnTo>
                      <a:pt x="1705" y="4024"/>
                    </a:lnTo>
                    <a:lnTo>
                      <a:pt x="1751" y="4070"/>
                    </a:lnTo>
                    <a:lnTo>
                      <a:pt x="1801" y="4113"/>
                    </a:lnTo>
                    <a:lnTo>
                      <a:pt x="1853" y="4148"/>
                    </a:lnTo>
                    <a:lnTo>
                      <a:pt x="1911" y="4179"/>
                    </a:lnTo>
                    <a:lnTo>
                      <a:pt x="1971" y="4206"/>
                    </a:lnTo>
                    <a:lnTo>
                      <a:pt x="2032" y="4226"/>
                    </a:lnTo>
                    <a:lnTo>
                      <a:pt x="2101" y="4241"/>
                    </a:lnTo>
                    <a:lnTo>
                      <a:pt x="2101" y="4396"/>
                    </a:lnTo>
                    <a:lnTo>
                      <a:pt x="2105" y="4428"/>
                    </a:lnTo>
                    <a:lnTo>
                      <a:pt x="2115" y="4456"/>
                    </a:lnTo>
                    <a:lnTo>
                      <a:pt x="2131" y="4481"/>
                    </a:lnTo>
                    <a:lnTo>
                      <a:pt x="2153" y="4502"/>
                    </a:lnTo>
                    <a:lnTo>
                      <a:pt x="2179" y="4519"/>
                    </a:lnTo>
                    <a:lnTo>
                      <a:pt x="2209" y="4528"/>
                    </a:lnTo>
                    <a:lnTo>
                      <a:pt x="2239" y="4530"/>
                    </a:lnTo>
                    <a:lnTo>
                      <a:pt x="2270" y="4525"/>
                    </a:lnTo>
                    <a:lnTo>
                      <a:pt x="2298" y="4515"/>
                    </a:lnTo>
                    <a:lnTo>
                      <a:pt x="2323" y="4497"/>
                    </a:lnTo>
                    <a:lnTo>
                      <a:pt x="2343" y="4476"/>
                    </a:lnTo>
                    <a:lnTo>
                      <a:pt x="2356" y="4452"/>
                    </a:lnTo>
                    <a:lnTo>
                      <a:pt x="2366" y="4424"/>
                    </a:lnTo>
                    <a:lnTo>
                      <a:pt x="2369" y="4396"/>
                    </a:lnTo>
                    <a:lnTo>
                      <a:pt x="2369" y="4254"/>
                    </a:lnTo>
                    <a:lnTo>
                      <a:pt x="2435" y="4246"/>
                    </a:lnTo>
                    <a:lnTo>
                      <a:pt x="2503" y="4234"/>
                    </a:lnTo>
                    <a:lnTo>
                      <a:pt x="2568" y="4214"/>
                    </a:lnTo>
                    <a:lnTo>
                      <a:pt x="2630" y="4189"/>
                    </a:lnTo>
                    <a:lnTo>
                      <a:pt x="2690" y="4160"/>
                    </a:lnTo>
                    <a:lnTo>
                      <a:pt x="2746" y="4120"/>
                    </a:lnTo>
                    <a:lnTo>
                      <a:pt x="2794" y="4078"/>
                    </a:lnTo>
                    <a:lnTo>
                      <a:pt x="2837" y="4030"/>
                    </a:lnTo>
                    <a:lnTo>
                      <a:pt x="2872" y="3978"/>
                    </a:lnTo>
                    <a:lnTo>
                      <a:pt x="2900" y="3920"/>
                    </a:lnTo>
                    <a:lnTo>
                      <a:pt x="2920" y="3858"/>
                    </a:lnTo>
                    <a:lnTo>
                      <a:pt x="2931" y="3796"/>
                    </a:lnTo>
                    <a:lnTo>
                      <a:pt x="2935" y="3738"/>
                    </a:lnTo>
                    <a:lnTo>
                      <a:pt x="2930" y="3678"/>
                    </a:lnTo>
                    <a:lnTo>
                      <a:pt x="2920" y="3620"/>
                    </a:lnTo>
                    <a:lnTo>
                      <a:pt x="2902" y="3564"/>
                    </a:lnTo>
                    <a:lnTo>
                      <a:pt x="2877" y="3511"/>
                    </a:lnTo>
                    <a:lnTo>
                      <a:pt x="2878" y="3514"/>
                    </a:lnTo>
                    <a:lnTo>
                      <a:pt x="2882" y="3518"/>
                    </a:lnTo>
                    <a:lnTo>
                      <a:pt x="2883" y="3521"/>
                    </a:lnTo>
                    <a:lnTo>
                      <a:pt x="2885" y="3524"/>
                    </a:lnTo>
                    <a:lnTo>
                      <a:pt x="2887" y="3527"/>
                    </a:lnTo>
                    <a:lnTo>
                      <a:pt x="2887" y="3527"/>
                    </a:lnTo>
                    <a:lnTo>
                      <a:pt x="2887" y="3529"/>
                    </a:lnTo>
                    <a:lnTo>
                      <a:pt x="2887" y="3527"/>
                    </a:lnTo>
                    <a:lnTo>
                      <a:pt x="2885" y="3526"/>
                    </a:lnTo>
                    <a:lnTo>
                      <a:pt x="2883" y="3523"/>
                    </a:lnTo>
                    <a:lnTo>
                      <a:pt x="2880" y="3516"/>
                    </a:lnTo>
                    <a:lnTo>
                      <a:pt x="2877" y="3509"/>
                    </a:lnTo>
                    <a:lnTo>
                      <a:pt x="2872" y="3503"/>
                    </a:lnTo>
                    <a:lnTo>
                      <a:pt x="2869" y="3496"/>
                    </a:lnTo>
                    <a:lnTo>
                      <a:pt x="2867" y="3493"/>
                    </a:lnTo>
                    <a:lnTo>
                      <a:pt x="2865" y="3491"/>
                    </a:lnTo>
                    <a:lnTo>
                      <a:pt x="2865" y="3489"/>
                    </a:lnTo>
                    <a:lnTo>
                      <a:pt x="2865" y="3491"/>
                    </a:lnTo>
                    <a:lnTo>
                      <a:pt x="2867" y="3491"/>
                    </a:lnTo>
                    <a:lnTo>
                      <a:pt x="2869" y="3494"/>
                    </a:lnTo>
                    <a:lnTo>
                      <a:pt x="2870" y="3498"/>
                    </a:lnTo>
                    <a:lnTo>
                      <a:pt x="2872" y="3501"/>
                    </a:lnTo>
                    <a:lnTo>
                      <a:pt x="2874" y="3504"/>
                    </a:lnTo>
                    <a:lnTo>
                      <a:pt x="2877" y="3509"/>
                    </a:lnTo>
                    <a:lnTo>
                      <a:pt x="2847" y="3466"/>
                    </a:lnTo>
                    <a:lnTo>
                      <a:pt x="2814" y="3427"/>
                    </a:lnTo>
                    <a:lnTo>
                      <a:pt x="2776" y="3392"/>
                    </a:lnTo>
                    <a:lnTo>
                      <a:pt x="2735" y="3362"/>
                    </a:lnTo>
                    <a:lnTo>
                      <a:pt x="2692" y="3334"/>
                    </a:lnTo>
                    <a:lnTo>
                      <a:pt x="2645" y="3311"/>
                    </a:lnTo>
                    <a:lnTo>
                      <a:pt x="2597" y="3291"/>
                    </a:lnTo>
                    <a:lnTo>
                      <a:pt x="2523" y="3264"/>
                    </a:lnTo>
                    <a:lnTo>
                      <a:pt x="2445" y="3241"/>
                    </a:lnTo>
                    <a:lnTo>
                      <a:pt x="2369" y="3223"/>
                    </a:lnTo>
                    <a:lnTo>
                      <a:pt x="2369" y="2715"/>
                    </a:lnTo>
                    <a:lnTo>
                      <a:pt x="2417" y="2727"/>
                    </a:lnTo>
                    <a:lnTo>
                      <a:pt x="2465" y="2742"/>
                    </a:lnTo>
                    <a:lnTo>
                      <a:pt x="2510" y="2761"/>
                    </a:lnTo>
                    <a:lnTo>
                      <a:pt x="2553" y="2788"/>
                    </a:lnTo>
                    <a:lnTo>
                      <a:pt x="2587" y="2818"/>
                    </a:lnTo>
                    <a:lnTo>
                      <a:pt x="2616" y="2854"/>
                    </a:lnTo>
                    <a:lnTo>
                      <a:pt x="2627" y="2874"/>
                    </a:lnTo>
                    <a:lnTo>
                      <a:pt x="2637" y="2895"/>
                    </a:lnTo>
                    <a:lnTo>
                      <a:pt x="2645" y="2919"/>
                    </a:lnTo>
                    <a:lnTo>
                      <a:pt x="2652" y="2940"/>
                    </a:lnTo>
                    <a:lnTo>
                      <a:pt x="2667" y="2968"/>
                    </a:lnTo>
                    <a:lnTo>
                      <a:pt x="2687" y="2991"/>
                    </a:lnTo>
                    <a:lnTo>
                      <a:pt x="2711" y="3010"/>
                    </a:lnTo>
                    <a:lnTo>
                      <a:pt x="2740" y="3021"/>
                    </a:lnTo>
                    <a:lnTo>
                      <a:pt x="2771" y="3026"/>
                    </a:lnTo>
                    <a:lnTo>
                      <a:pt x="2802" y="3025"/>
                    </a:lnTo>
                    <a:lnTo>
                      <a:pt x="2832" y="3015"/>
                    </a:lnTo>
                    <a:lnTo>
                      <a:pt x="2859" y="2998"/>
                    </a:lnTo>
                    <a:lnTo>
                      <a:pt x="2880" y="2977"/>
                    </a:lnTo>
                    <a:lnTo>
                      <a:pt x="2898" y="2948"/>
                    </a:lnTo>
                    <a:lnTo>
                      <a:pt x="2907" y="2925"/>
                    </a:lnTo>
                    <a:lnTo>
                      <a:pt x="2910" y="2899"/>
                    </a:lnTo>
                    <a:lnTo>
                      <a:pt x="2908" y="2872"/>
                    </a:lnTo>
                    <a:lnTo>
                      <a:pt x="2903" y="2849"/>
                    </a:lnTo>
                    <a:lnTo>
                      <a:pt x="2897" y="2824"/>
                    </a:lnTo>
                    <a:lnTo>
                      <a:pt x="2877" y="2776"/>
                    </a:lnTo>
                    <a:lnTo>
                      <a:pt x="2849" y="2720"/>
                    </a:lnTo>
                    <a:lnTo>
                      <a:pt x="2812" y="2669"/>
                    </a:lnTo>
                    <a:lnTo>
                      <a:pt x="2771" y="2622"/>
                    </a:lnTo>
                    <a:lnTo>
                      <a:pt x="2721" y="2579"/>
                    </a:lnTo>
                    <a:lnTo>
                      <a:pt x="2667" y="2541"/>
                    </a:lnTo>
                    <a:lnTo>
                      <a:pt x="2609" y="2512"/>
                    </a:lnTo>
                    <a:lnTo>
                      <a:pt x="2548" y="2487"/>
                    </a:lnTo>
                    <a:lnTo>
                      <a:pt x="2485" y="2467"/>
                    </a:lnTo>
                    <a:lnTo>
                      <a:pt x="2421" y="2452"/>
                    </a:lnTo>
                    <a:lnTo>
                      <a:pt x="2369" y="2444"/>
                    </a:lnTo>
                    <a:lnTo>
                      <a:pt x="2369" y="2297"/>
                    </a:lnTo>
                    <a:lnTo>
                      <a:pt x="2366" y="2267"/>
                    </a:lnTo>
                    <a:lnTo>
                      <a:pt x="2354" y="2239"/>
                    </a:lnTo>
                    <a:lnTo>
                      <a:pt x="2338" y="2212"/>
                    </a:lnTo>
                    <a:lnTo>
                      <a:pt x="2316" y="2192"/>
                    </a:lnTo>
                    <a:lnTo>
                      <a:pt x="2292" y="2176"/>
                    </a:lnTo>
                    <a:lnTo>
                      <a:pt x="2262" y="2166"/>
                    </a:lnTo>
                    <a:lnTo>
                      <a:pt x="2230" y="2164"/>
                    </a:lnTo>
                    <a:close/>
                    <a:moveTo>
                      <a:pt x="1346" y="0"/>
                    </a:moveTo>
                    <a:lnTo>
                      <a:pt x="1389" y="2"/>
                    </a:lnTo>
                    <a:lnTo>
                      <a:pt x="1433" y="10"/>
                    </a:lnTo>
                    <a:lnTo>
                      <a:pt x="1480" y="23"/>
                    </a:lnTo>
                    <a:lnTo>
                      <a:pt x="1528" y="40"/>
                    </a:lnTo>
                    <a:lnTo>
                      <a:pt x="1577" y="58"/>
                    </a:lnTo>
                    <a:lnTo>
                      <a:pt x="1627" y="79"/>
                    </a:lnTo>
                    <a:lnTo>
                      <a:pt x="1680" y="103"/>
                    </a:lnTo>
                    <a:lnTo>
                      <a:pt x="1731" y="126"/>
                    </a:lnTo>
                    <a:lnTo>
                      <a:pt x="1784" y="147"/>
                    </a:lnTo>
                    <a:lnTo>
                      <a:pt x="1837" y="167"/>
                    </a:lnTo>
                    <a:lnTo>
                      <a:pt x="1891" y="185"/>
                    </a:lnTo>
                    <a:lnTo>
                      <a:pt x="1944" y="199"/>
                    </a:lnTo>
                    <a:lnTo>
                      <a:pt x="1999" y="207"/>
                    </a:lnTo>
                    <a:lnTo>
                      <a:pt x="2052" y="212"/>
                    </a:lnTo>
                    <a:lnTo>
                      <a:pt x="2106" y="208"/>
                    </a:lnTo>
                    <a:lnTo>
                      <a:pt x="2153" y="200"/>
                    </a:lnTo>
                    <a:lnTo>
                      <a:pt x="2206" y="189"/>
                    </a:lnTo>
                    <a:lnTo>
                      <a:pt x="2263" y="174"/>
                    </a:lnTo>
                    <a:lnTo>
                      <a:pt x="2323" y="157"/>
                    </a:lnTo>
                    <a:lnTo>
                      <a:pt x="2387" y="139"/>
                    </a:lnTo>
                    <a:lnTo>
                      <a:pt x="2452" y="121"/>
                    </a:lnTo>
                    <a:lnTo>
                      <a:pt x="2520" y="103"/>
                    </a:lnTo>
                    <a:lnTo>
                      <a:pt x="2587" y="83"/>
                    </a:lnTo>
                    <a:lnTo>
                      <a:pt x="2655" y="66"/>
                    </a:lnTo>
                    <a:lnTo>
                      <a:pt x="2721" y="50"/>
                    </a:lnTo>
                    <a:lnTo>
                      <a:pt x="2786" y="35"/>
                    </a:lnTo>
                    <a:lnTo>
                      <a:pt x="2849" y="25"/>
                    </a:lnTo>
                    <a:lnTo>
                      <a:pt x="2908" y="17"/>
                    </a:lnTo>
                    <a:lnTo>
                      <a:pt x="2964" y="13"/>
                    </a:lnTo>
                    <a:lnTo>
                      <a:pt x="3016" y="13"/>
                    </a:lnTo>
                    <a:lnTo>
                      <a:pt x="3060" y="18"/>
                    </a:lnTo>
                    <a:lnTo>
                      <a:pt x="3079" y="26"/>
                    </a:lnTo>
                    <a:lnTo>
                      <a:pt x="3093" y="43"/>
                    </a:lnTo>
                    <a:lnTo>
                      <a:pt x="3103" y="65"/>
                    </a:lnTo>
                    <a:lnTo>
                      <a:pt x="3110" y="93"/>
                    </a:lnTo>
                    <a:lnTo>
                      <a:pt x="3112" y="127"/>
                    </a:lnTo>
                    <a:lnTo>
                      <a:pt x="3108" y="167"/>
                    </a:lnTo>
                    <a:lnTo>
                      <a:pt x="3103" y="210"/>
                    </a:lnTo>
                    <a:lnTo>
                      <a:pt x="3093" y="260"/>
                    </a:lnTo>
                    <a:lnTo>
                      <a:pt x="3080" y="311"/>
                    </a:lnTo>
                    <a:lnTo>
                      <a:pt x="3062" y="366"/>
                    </a:lnTo>
                    <a:lnTo>
                      <a:pt x="3042" y="424"/>
                    </a:lnTo>
                    <a:lnTo>
                      <a:pt x="3019" y="485"/>
                    </a:lnTo>
                    <a:lnTo>
                      <a:pt x="2993" y="546"/>
                    </a:lnTo>
                    <a:lnTo>
                      <a:pt x="2963" y="609"/>
                    </a:lnTo>
                    <a:lnTo>
                      <a:pt x="2931" y="672"/>
                    </a:lnTo>
                    <a:lnTo>
                      <a:pt x="2897" y="736"/>
                    </a:lnTo>
                    <a:lnTo>
                      <a:pt x="2860" y="799"/>
                    </a:lnTo>
                    <a:lnTo>
                      <a:pt x="2821" y="860"/>
                    </a:lnTo>
                    <a:lnTo>
                      <a:pt x="2778" y="922"/>
                    </a:lnTo>
                    <a:lnTo>
                      <a:pt x="2735" y="979"/>
                    </a:lnTo>
                    <a:lnTo>
                      <a:pt x="2688" y="1036"/>
                    </a:lnTo>
                    <a:lnTo>
                      <a:pt x="2640" y="1089"/>
                    </a:lnTo>
                    <a:lnTo>
                      <a:pt x="2591" y="1138"/>
                    </a:lnTo>
                    <a:lnTo>
                      <a:pt x="2540" y="1185"/>
                    </a:lnTo>
                    <a:lnTo>
                      <a:pt x="2606" y="1214"/>
                    </a:lnTo>
                    <a:lnTo>
                      <a:pt x="2673" y="1246"/>
                    </a:lnTo>
                    <a:lnTo>
                      <a:pt x="2741" y="1284"/>
                    </a:lnTo>
                    <a:lnTo>
                      <a:pt x="2809" y="1324"/>
                    </a:lnTo>
                    <a:lnTo>
                      <a:pt x="2878" y="1367"/>
                    </a:lnTo>
                    <a:lnTo>
                      <a:pt x="2946" y="1413"/>
                    </a:lnTo>
                    <a:lnTo>
                      <a:pt x="3016" y="1463"/>
                    </a:lnTo>
                    <a:lnTo>
                      <a:pt x="3084" y="1516"/>
                    </a:lnTo>
                    <a:lnTo>
                      <a:pt x="3153" y="1572"/>
                    </a:lnTo>
                    <a:lnTo>
                      <a:pt x="3221" y="1631"/>
                    </a:lnTo>
                    <a:lnTo>
                      <a:pt x="3289" y="1693"/>
                    </a:lnTo>
                    <a:lnTo>
                      <a:pt x="3356" y="1755"/>
                    </a:lnTo>
                    <a:lnTo>
                      <a:pt x="3422" y="1822"/>
                    </a:lnTo>
                    <a:lnTo>
                      <a:pt x="3489" y="1891"/>
                    </a:lnTo>
                    <a:lnTo>
                      <a:pt x="3553" y="1961"/>
                    </a:lnTo>
                    <a:lnTo>
                      <a:pt x="3618" y="2033"/>
                    </a:lnTo>
                    <a:lnTo>
                      <a:pt x="3680" y="2108"/>
                    </a:lnTo>
                    <a:lnTo>
                      <a:pt x="3742" y="2184"/>
                    </a:lnTo>
                    <a:lnTo>
                      <a:pt x="3803" y="2262"/>
                    </a:lnTo>
                    <a:lnTo>
                      <a:pt x="3861" y="2341"/>
                    </a:lnTo>
                    <a:lnTo>
                      <a:pt x="3917" y="2422"/>
                    </a:lnTo>
                    <a:lnTo>
                      <a:pt x="3973" y="2505"/>
                    </a:lnTo>
                    <a:lnTo>
                      <a:pt x="4026" y="2588"/>
                    </a:lnTo>
                    <a:lnTo>
                      <a:pt x="4077" y="2672"/>
                    </a:lnTo>
                    <a:lnTo>
                      <a:pt x="4125" y="2756"/>
                    </a:lnTo>
                    <a:lnTo>
                      <a:pt x="4171" y="2843"/>
                    </a:lnTo>
                    <a:lnTo>
                      <a:pt x="4216" y="2929"/>
                    </a:lnTo>
                    <a:lnTo>
                      <a:pt x="4257" y="3016"/>
                    </a:lnTo>
                    <a:lnTo>
                      <a:pt x="4297" y="3102"/>
                    </a:lnTo>
                    <a:lnTo>
                      <a:pt x="4333" y="3190"/>
                    </a:lnTo>
                    <a:lnTo>
                      <a:pt x="4367" y="3278"/>
                    </a:lnTo>
                    <a:lnTo>
                      <a:pt x="4396" y="3365"/>
                    </a:lnTo>
                    <a:lnTo>
                      <a:pt x="4423" y="3453"/>
                    </a:lnTo>
                    <a:lnTo>
                      <a:pt x="4446" y="3541"/>
                    </a:lnTo>
                    <a:lnTo>
                      <a:pt x="4467" y="3627"/>
                    </a:lnTo>
                    <a:lnTo>
                      <a:pt x="4484" y="3713"/>
                    </a:lnTo>
                    <a:lnTo>
                      <a:pt x="4495" y="3799"/>
                    </a:lnTo>
                    <a:lnTo>
                      <a:pt x="4505" y="3883"/>
                    </a:lnTo>
                    <a:lnTo>
                      <a:pt x="4510" y="3968"/>
                    </a:lnTo>
                    <a:lnTo>
                      <a:pt x="4510" y="4050"/>
                    </a:lnTo>
                    <a:lnTo>
                      <a:pt x="4509" y="4133"/>
                    </a:lnTo>
                    <a:lnTo>
                      <a:pt x="4500" y="4212"/>
                    </a:lnTo>
                    <a:lnTo>
                      <a:pt x="4489" y="4292"/>
                    </a:lnTo>
                    <a:lnTo>
                      <a:pt x="4472" y="4370"/>
                    </a:lnTo>
                    <a:lnTo>
                      <a:pt x="4451" y="4446"/>
                    </a:lnTo>
                    <a:lnTo>
                      <a:pt x="4424" y="4520"/>
                    </a:lnTo>
                    <a:lnTo>
                      <a:pt x="4393" y="4591"/>
                    </a:lnTo>
                    <a:lnTo>
                      <a:pt x="4357" y="4663"/>
                    </a:lnTo>
                    <a:lnTo>
                      <a:pt x="4315" y="4730"/>
                    </a:lnTo>
                    <a:lnTo>
                      <a:pt x="4269" y="4797"/>
                    </a:lnTo>
                    <a:lnTo>
                      <a:pt x="4216" y="4859"/>
                    </a:lnTo>
                    <a:lnTo>
                      <a:pt x="4158" y="4921"/>
                    </a:lnTo>
                    <a:lnTo>
                      <a:pt x="4095" y="4979"/>
                    </a:lnTo>
                    <a:lnTo>
                      <a:pt x="4026" y="5033"/>
                    </a:lnTo>
                    <a:lnTo>
                      <a:pt x="3950" y="5086"/>
                    </a:lnTo>
                    <a:lnTo>
                      <a:pt x="3869" y="5136"/>
                    </a:lnTo>
                    <a:lnTo>
                      <a:pt x="3781" y="5182"/>
                    </a:lnTo>
                    <a:lnTo>
                      <a:pt x="3687" y="5225"/>
                    </a:lnTo>
                    <a:lnTo>
                      <a:pt x="3586" y="5263"/>
                    </a:lnTo>
                    <a:lnTo>
                      <a:pt x="3480" y="5300"/>
                    </a:lnTo>
                    <a:lnTo>
                      <a:pt x="3366" y="5333"/>
                    </a:lnTo>
                    <a:lnTo>
                      <a:pt x="3246" y="5361"/>
                    </a:lnTo>
                    <a:lnTo>
                      <a:pt x="3117" y="5386"/>
                    </a:lnTo>
                    <a:lnTo>
                      <a:pt x="2983" y="5405"/>
                    </a:lnTo>
                    <a:lnTo>
                      <a:pt x="2840" y="5422"/>
                    </a:lnTo>
                    <a:lnTo>
                      <a:pt x="2692" y="5434"/>
                    </a:lnTo>
                    <a:lnTo>
                      <a:pt x="2535" y="5442"/>
                    </a:lnTo>
                    <a:lnTo>
                      <a:pt x="2369" y="5443"/>
                    </a:lnTo>
                    <a:lnTo>
                      <a:pt x="2197" y="5442"/>
                    </a:lnTo>
                    <a:lnTo>
                      <a:pt x="2017" y="5435"/>
                    </a:lnTo>
                    <a:lnTo>
                      <a:pt x="1829" y="5424"/>
                    </a:lnTo>
                    <a:lnTo>
                      <a:pt x="1673" y="5410"/>
                    </a:lnTo>
                    <a:lnTo>
                      <a:pt x="1526" y="5392"/>
                    </a:lnTo>
                    <a:lnTo>
                      <a:pt x="1387" y="5369"/>
                    </a:lnTo>
                    <a:lnTo>
                      <a:pt x="1255" y="5341"/>
                    </a:lnTo>
                    <a:lnTo>
                      <a:pt x="1131" y="5309"/>
                    </a:lnTo>
                    <a:lnTo>
                      <a:pt x="1015" y="5273"/>
                    </a:lnTo>
                    <a:lnTo>
                      <a:pt x="904" y="5233"/>
                    </a:lnTo>
                    <a:lnTo>
                      <a:pt x="802" y="5190"/>
                    </a:lnTo>
                    <a:lnTo>
                      <a:pt x="706" y="5142"/>
                    </a:lnTo>
                    <a:lnTo>
                      <a:pt x="618" y="5093"/>
                    </a:lnTo>
                    <a:lnTo>
                      <a:pt x="536" y="5038"/>
                    </a:lnTo>
                    <a:lnTo>
                      <a:pt x="460" y="4982"/>
                    </a:lnTo>
                    <a:lnTo>
                      <a:pt x="390" y="4921"/>
                    </a:lnTo>
                    <a:lnTo>
                      <a:pt x="327" y="4858"/>
                    </a:lnTo>
                    <a:lnTo>
                      <a:pt x="269" y="4792"/>
                    </a:lnTo>
                    <a:lnTo>
                      <a:pt x="218" y="4724"/>
                    </a:lnTo>
                    <a:lnTo>
                      <a:pt x="174" y="4653"/>
                    </a:lnTo>
                    <a:lnTo>
                      <a:pt x="134" y="4578"/>
                    </a:lnTo>
                    <a:lnTo>
                      <a:pt x="99" y="4504"/>
                    </a:lnTo>
                    <a:lnTo>
                      <a:pt x="69" y="4426"/>
                    </a:lnTo>
                    <a:lnTo>
                      <a:pt x="46" y="4345"/>
                    </a:lnTo>
                    <a:lnTo>
                      <a:pt x="26" y="4264"/>
                    </a:lnTo>
                    <a:lnTo>
                      <a:pt x="13" y="4181"/>
                    </a:lnTo>
                    <a:lnTo>
                      <a:pt x="5" y="4097"/>
                    </a:lnTo>
                    <a:lnTo>
                      <a:pt x="0" y="4011"/>
                    </a:lnTo>
                    <a:lnTo>
                      <a:pt x="0" y="3925"/>
                    </a:lnTo>
                    <a:lnTo>
                      <a:pt x="3" y="3835"/>
                    </a:lnTo>
                    <a:lnTo>
                      <a:pt x="13" y="3748"/>
                    </a:lnTo>
                    <a:lnTo>
                      <a:pt x="25" y="3657"/>
                    </a:lnTo>
                    <a:lnTo>
                      <a:pt x="41" y="3567"/>
                    </a:lnTo>
                    <a:lnTo>
                      <a:pt x="61" y="3476"/>
                    </a:lnTo>
                    <a:lnTo>
                      <a:pt x="86" y="3385"/>
                    </a:lnTo>
                    <a:lnTo>
                      <a:pt x="112" y="3294"/>
                    </a:lnTo>
                    <a:lnTo>
                      <a:pt x="144" y="3203"/>
                    </a:lnTo>
                    <a:lnTo>
                      <a:pt x="177" y="3111"/>
                    </a:lnTo>
                    <a:lnTo>
                      <a:pt x="215" y="3020"/>
                    </a:lnTo>
                    <a:lnTo>
                      <a:pt x="255" y="2930"/>
                    </a:lnTo>
                    <a:lnTo>
                      <a:pt x="296" y="2839"/>
                    </a:lnTo>
                    <a:lnTo>
                      <a:pt x="341" y="2750"/>
                    </a:lnTo>
                    <a:lnTo>
                      <a:pt x="389" y="2662"/>
                    </a:lnTo>
                    <a:lnTo>
                      <a:pt x="438" y="2574"/>
                    </a:lnTo>
                    <a:lnTo>
                      <a:pt x="491" y="2487"/>
                    </a:lnTo>
                    <a:lnTo>
                      <a:pt x="546" y="2402"/>
                    </a:lnTo>
                    <a:lnTo>
                      <a:pt x="600" y="2318"/>
                    </a:lnTo>
                    <a:lnTo>
                      <a:pt x="658" y="2237"/>
                    </a:lnTo>
                    <a:lnTo>
                      <a:pt x="718" y="2156"/>
                    </a:lnTo>
                    <a:lnTo>
                      <a:pt x="779" y="2076"/>
                    </a:lnTo>
                    <a:lnTo>
                      <a:pt x="840" y="2000"/>
                    </a:lnTo>
                    <a:lnTo>
                      <a:pt x="904" y="1926"/>
                    </a:lnTo>
                    <a:lnTo>
                      <a:pt x="969" y="1853"/>
                    </a:lnTo>
                    <a:lnTo>
                      <a:pt x="1033" y="1784"/>
                    </a:lnTo>
                    <a:lnTo>
                      <a:pt x="1099" y="1716"/>
                    </a:lnTo>
                    <a:lnTo>
                      <a:pt x="1166" y="1651"/>
                    </a:lnTo>
                    <a:lnTo>
                      <a:pt x="1232" y="1588"/>
                    </a:lnTo>
                    <a:lnTo>
                      <a:pt x="1300" y="1530"/>
                    </a:lnTo>
                    <a:lnTo>
                      <a:pt x="1367" y="1474"/>
                    </a:lnTo>
                    <a:lnTo>
                      <a:pt x="1435" y="1421"/>
                    </a:lnTo>
                    <a:lnTo>
                      <a:pt x="1501" y="1373"/>
                    </a:lnTo>
                    <a:lnTo>
                      <a:pt x="1569" y="1327"/>
                    </a:lnTo>
                    <a:lnTo>
                      <a:pt x="1635" y="1286"/>
                    </a:lnTo>
                    <a:lnTo>
                      <a:pt x="1701" y="1248"/>
                    </a:lnTo>
                    <a:lnTo>
                      <a:pt x="1766" y="1214"/>
                    </a:lnTo>
                    <a:lnTo>
                      <a:pt x="1703" y="1170"/>
                    </a:lnTo>
                    <a:lnTo>
                      <a:pt x="1642" y="1122"/>
                    </a:lnTo>
                    <a:lnTo>
                      <a:pt x="1584" y="1069"/>
                    </a:lnTo>
                    <a:lnTo>
                      <a:pt x="1529" y="1013"/>
                    </a:lnTo>
                    <a:lnTo>
                      <a:pt x="1476" y="953"/>
                    </a:lnTo>
                    <a:lnTo>
                      <a:pt x="1427" y="892"/>
                    </a:lnTo>
                    <a:lnTo>
                      <a:pt x="1382" y="829"/>
                    </a:lnTo>
                    <a:lnTo>
                      <a:pt x="1339" y="764"/>
                    </a:lnTo>
                    <a:lnTo>
                      <a:pt x="1301" y="698"/>
                    </a:lnTo>
                    <a:lnTo>
                      <a:pt x="1266" y="634"/>
                    </a:lnTo>
                    <a:lnTo>
                      <a:pt x="1235" y="569"/>
                    </a:lnTo>
                    <a:lnTo>
                      <a:pt x="1209" y="505"/>
                    </a:lnTo>
                    <a:lnTo>
                      <a:pt x="1187" y="443"/>
                    </a:lnTo>
                    <a:lnTo>
                      <a:pt x="1171" y="382"/>
                    </a:lnTo>
                    <a:lnTo>
                      <a:pt x="1157" y="326"/>
                    </a:lnTo>
                    <a:lnTo>
                      <a:pt x="1151" y="271"/>
                    </a:lnTo>
                    <a:lnTo>
                      <a:pt x="1149" y="222"/>
                    </a:lnTo>
                    <a:lnTo>
                      <a:pt x="1152" y="175"/>
                    </a:lnTo>
                    <a:lnTo>
                      <a:pt x="1161" y="134"/>
                    </a:lnTo>
                    <a:lnTo>
                      <a:pt x="1176" y="99"/>
                    </a:lnTo>
                    <a:lnTo>
                      <a:pt x="1197" y="69"/>
                    </a:lnTo>
                    <a:lnTo>
                      <a:pt x="1230" y="38"/>
                    </a:lnTo>
                    <a:lnTo>
                      <a:pt x="1266" y="18"/>
                    </a:lnTo>
                    <a:lnTo>
                      <a:pt x="1306" y="5"/>
                    </a:lnTo>
                    <a:lnTo>
                      <a:pt x="1346"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sp>
            <p:nvSpPr>
              <p:cNvPr id="139" name="Freeform 1141"/>
              <p:cNvSpPr/>
              <p:nvPr/>
            </p:nvSpPr>
            <p:spPr bwMode="auto">
              <a:xfrm>
                <a:off x="4031" y="2718"/>
                <a:ext cx="0" cy="1"/>
              </a:xfrm>
              <a:custGeom>
                <a:avLst/>
                <a:gdLst>
                  <a:gd name="T0" fmla="*/ 2 w 2"/>
                  <a:gd name="T1" fmla="*/ 0 h 3"/>
                  <a:gd name="T2" fmla="*/ 2 w 2"/>
                  <a:gd name="T3" fmla="*/ 2 h 3"/>
                  <a:gd name="T4" fmla="*/ 0 w 2"/>
                  <a:gd name="T5" fmla="*/ 3 h 3"/>
                  <a:gd name="T6" fmla="*/ 2 w 2"/>
                  <a:gd name="T7" fmla="*/ 2 h 3"/>
                  <a:gd name="T8" fmla="*/ 2 w 2"/>
                  <a:gd name="T9" fmla="*/ 0 h 3"/>
                </a:gdLst>
                <a:ahLst/>
                <a:cxnLst>
                  <a:cxn ang="0">
                    <a:pos x="T0" y="T1"/>
                  </a:cxn>
                  <a:cxn ang="0">
                    <a:pos x="T2" y="T3"/>
                  </a:cxn>
                  <a:cxn ang="0">
                    <a:pos x="T4" y="T5"/>
                  </a:cxn>
                  <a:cxn ang="0">
                    <a:pos x="T6" y="T7"/>
                  </a:cxn>
                  <a:cxn ang="0">
                    <a:pos x="T8" y="T9"/>
                  </a:cxn>
                </a:cxnLst>
                <a:rect l="0" t="0" r="r" b="b"/>
                <a:pathLst>
                  <a:path w="2" h="3">
                    <a:moveTo>
                      <a:pt x="2" y="0"/>
                    </a:moveTo>
                    <a:lnTo>
                      <a:pt x="2" y="2"/>
                    </a:lnTo>
                    <a:lnTo>
                      <a:pt x="0" y="3"/>
                    </a:lnTo>
                    <a:lnTo>
                      <a:pt x="2" y="2"/>
                    </a:lnTo>
                    <a:lnTo>
                      <a:pt x="2" y="0"/>
                    </a:lnTo>
                    <a:close/>
                  </a:path>
                </a:pathLst>
              </a:custGeom>
              <a:grpFill/>
              <a:ln w="0">
                <a:noFill/>
                <a:prstDash val="solid"/>
                <a:round/>
              </a:ln>
            </p:spPr>
            <p:txBody>
              <a:bodyPr vert="horz" wrap="square" lIns="91440" tIns="45720" rIns="91440" bIns="45720" numCol="1" anchor="t" anchorCtr="0" compatLnSpc="1"/>
              <a:lstStyle/>
              <a:p>
                <a:endParaRPr lang="en-US" dirty="0">
                  <a:solidFill>
                    <a:schemeClr val="bg1"/>
                  </a:solidFill>
                  <a:latin typeface="Calibri"/>
                  <a:ea typeface="微软雅黑"/>
                  <a:cs typeface="+mn-ea"/>
                  <a:sym typeface="Calibri"/>
                </a:endParaRPr>
              </a:p>
            </p:txBody>
          </p:sp>
        </p:grpSp>
      </p:grpSp>
      <p:sp>
        <p:nvSpPr>
          <p:cNvPr id="140"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Rectangle 11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6468169" y="838200"/>
            <a:ext cx="4447482" cy="2552700"/>
          </a:xfrm>
          <a:prstGeom prst="rect">
            <a:avLst/>
          </a:prstGeom>
          <a:solidFill>
            <a:schemeClr val="bg1">
              <a:lumMod val="9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nvGrpSpPr>
          <p:cNvPr id="83" name="Group 8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960479" y="830555"/>
            <a:ext cx="7300451" cy="4754189"/>
            <a:chOff x="3960479" y="830555"/>
            <a:chExt cx="7300451" cy="4754189"/>
          </a:xfrm>
        </p:grpSpPr>
        <p:sp>
          <p:nvSpPr>
            <p:cNvPr id="123" name="Rectangle 122"/>
            <p:cNvSpPr/>
            <p:nvPr/>
          </p:nvSpPr>
          <p:spPr>
            <a:xfrm rot="5400000">
              <a:off x="9811940" y="1934264"/>
              <a:ext cx="2552699" cy="345281"/>
            </a:xfrm>
            <a:prstGeom prst="rect">
              <a:avLst/>
            </a:prstGeom>
            <a:pattFill prst="wdDnDiag">
              <a:fgClr>
                <a:schemeClr val="accent3"/>
              </a:fgClr>
              <a:bgClr>
                <a:schemeClr val="bg1"/>
              </a:bgClr>
            </a:pattFill>
            <a:ln w="349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114" name="Rectangle 113"/>
            <p:cNvSpPr/>
            <p:nvPr/>
          </p:nvSpPr>
          <p:spPr>
            <a:xfrm>
              <a:off x="3960479" y="838200"/>
              <a:ext cx="6955171" cy="4746544"/>
            </a:xfrm>
            <a:prstGeom prst="rect">
              <a:avLst/>
            </a:prstGeom>
            <a:noFill/>
            <a:ln w="34925">
              <a:gradFill>
                <a:gsLst>
                  <a:gs pos="0">
                    <a:schemeClr val="accent3"/>
                  </a:gs>
                  <a:gs pos="100000">
                    <a:schemeClr val="accent4"/>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grpSp>
      <p:sp>
        <p:nvSpPr>
          <p:cNvPr id="116" name="Rectangle 11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6057900" y="3390900"/>
            <a:ext cx="5219701" cy="2590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atin typeface="Calibri"/>
              <a:ea typeface="微软雅黑"/>
              <a:cs typeface="+mn-ea"/>
              <a:sym typeface="Calibri"/>
            </a:endParaRPr>
          </a:p>
        </p:txBody>
      </p:sp>
      <p:sp>
        <p:nvSpPr>
          <p:cNvPr id="117" name="Rectangle 11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876300" y="838200"/>
            <a:ext cx="5631776" cy="5143500"/>
          </a:xfrm>
          <a:prstGeom prst="rect">
            <a:avLst/>
          </a:prstGeom>
          <a:solidFill>
            <a:schemeClr val="bg1"/>
          </a:solidFill>
          <a:ln w="349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a:ea typeface="微软雅黑"/>
              <a:cs typeface="+mn-ea"/>
              <a:sym typeface="Calibri"/>
            </a:endParaRPr>
          </a:p>
        </p:txBody>
      </p:sp>
      <p:sp>
        <p:nvSpPr>
          <p:cNvPr id="2" name="Freeform 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bwMode="auto">
          <a:xfrm>
            <a:off x="1950200" y="1669724"/>
            <a:ext cx="3400718" cy="2613500"/>
          </a:xfrm>
          <a:custGeom>
            <a:avLst/>
            <a:gdLst>
              <a:gd name="T0" fmla="*/ 532 w 906"/>
              <a:gd name="T1" fmla="*/ 38 h 696"/>
              <a:gd name="T2" fmla="*/ 475 w 906"/>
              <a:gd name="T3" fmla="*/ 42 h 696"/>
              <a:gd name="T4" fmla="*/ 277 w 906"/>
              <a:gd name="T5" fmla="*/ 18 h 696"/>
              <a:gd name="T6" fmla="*/ 207 w 906"/>
              <a:gd name="T7" fmla="*/ 4 h 696"/>
              <a:gd name="T8" fmla="*/ 2 w 906"/>
              <a:gd name="T9" fmla="*/ 171 h 696"/>
              <a:gd name="T10" fmla="*/ 75 w 906"/>
              <a:gd name="T11" fmla="*/ 312 h 696"/>
              <a:gd name="T12" fmla="*/ 168 w 906"/>
              <a:gd name="T13" fmla="*/ 447 h 696"/>
              <a:gd name="T14" fmla="*/ 532 w 906"/>
              <a:gd name="T15" fmla="*/ 696 h 696"/>
              <a:gd name="T16" fmla="*/ 906 w 906"/>
              <a:gd name="T17" fmla="*/ 367 h 696"/>
              <a:gd name="T18" fmla="*/ 532 w 906"/>
              <a:gd name="T19" fmla="*/ 38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06" h="696">
                <a:moveTo>
                  <a:pt x="532" y="38"/>
                </a:moveTo>
                <a:cubicBezTo>
                  <a:pt x="513" y="38"/>
                  <a:pt x="494" y="39"/>
                  <a:pt x="475" y="42"/>
                </a:cubicBezTo>
                <a:cubicBezTo>
                  <a:pt x="408" y="51"/>
                  <a:pt x="340" y="42"/>
                  <a:pt x="277" y="18"/>
                </a:cubicBezTo>
                <a:cubicBezTo>
                  <a:pt x="255" y="10"/>
                  <a:pt x="231" y="5"/>
                  <a:pt x="207" y="4"/>
                </a:cubicBezTo>
                <a:cubicBezTo>
                  <a:pt x="97" y="0"/>
                  <a:pt x="6" y="74"/>
                  <a:pt x="2" y="171"/>
                </a:cubicBezTo>
                <a:cubicBezTo>
                  <a:pt x="0" y="227"/>
                  <a:pt x="29" y="278"/>
                  <a:pt x="75" y="312"/>
                </a:cubicBezTo>
                <a:cubicBezTo>
                  <a:pt x="120" y="344"/>
                  <a:pt x="153" y="392"/>
                  <a:pt x="168" y="447"/>
                </a:cubicBezTo>
                <a:cubicBezTo>
                  <a:pt x="209" y="595"/>
                  <a:pt x="364" y="696"/>
                  <a:pt x="532" y="696"/>
                </a:cubicBezTo>
                <a:cubicBezTo>
                  <a:pt x="739" y="696"/>
                  <a:pt x="906" y="549"/>
                  <a:pt x="906" y="367"/>
                </a:cubicBezTo>
                <a:cubicBezTo>
                  <a:pt x="906" y="185"/>
                  <a:pt x="739" y="38"/>
                  <a:pt x="532" y="38"/>
                </a:cubicBezTo>
              </a:path>
            </a:pathLst>
          </a:custGeom>
          <a:gradFill>
            <a:gsLst>
              <a:gs pos="0">
                <a:schemeClr val="accent3">
                  <a:alpha val="58000"/>
                </a:schemeClr>
              </a:gs>
              <a:gs pos="100000">
                <a:schemeClr val="accent4">
                  <a:alpha val="0"/>
                </a:schemeClr>
              </a:gs>
            </a:gsLst>
            <a:lin ang="2700000" scaled="1"/>
          </a:gra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grpSp>
        <p:nvGrpSpPr>
          <p:cNvPr id="3" name="Group 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1765679" y="2324527"/>
            <a:ext cx="3331690" cy="2668938"/>
            <a:chOff x="1060299" y="1800643"/>
            <a:chExt cx="4747463" cy="3803079"/>
          </a:xfrm>
        </p:grpSpPr>
        <p:sp>
          <p:nvSpPr>
            <p:cNvPr id="4" name="Oval 6"/>
            <p:cNvSpPr>
              <a:spLocks noChangeArrowheads="1"/>
            </p:cNvSpPr>
            <p:nvPr/>
          </p:nvSpPr>
          <p:spPr bwMode="auto">
            <a:xfrm>
              <a:off x="1060299" y="5357707"/>
              <a:ext cx="1252647" cy="78996"/>
            </a:xfrm>
            <a:prstGeom prst="ellipse">
              <a:avLst/>
            </a:prstGeom>
            <a:solidFill>
              <a:srgbClr val="D2F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 name="Oval 7"/>
            <p:cNvSpPr>
              <a:spLocks noChangeArrowheads="1"/>
            </p:cNvSpPr>
            <p:nvPr/>
          </p:nvSpPr>
          <p:spPr bwMode="auto">
            <a:xfrm>
              <a:off x="2380657" y="5357707"/>
              <a:ext cx="530400" cy="78996"/>
            </a:xfrm>
            <a:prstGeom prst="ellipse">
              <a:avLst/>
            </a:prstGeom>
            <a:solidFill>
              <a:srgbClr val="D2F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 name="Oval 8"/>
            <p:cNvSpPr>
              <a:spLocks noChangeArrowheads="1"/>
            </p:cNvSpPr>
            <p:nvPr/>
          </p:nvSpPr>
          <p:spPr bwMode="auto">
            <a:xfrm>
              <a:off x="3274437" y="5303538"/>
              <a:ext cx="1947809" cy="121879"/>
            </a:xfrm>
            <a:prstGeom prst="ellipse">
              <a:avLst/>
            </a:prstGeom>
            <a:solidFill>
              <a:srgbClr val="D2F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 name="Freeform 9"/>
            <p:cNvSpPr/>
            <p:nvPr/>
          </p:nvSpPr>
          <p:spPr bwMode="auto">
            <a:xfrm>
              <a:off x="2125613" y="2168537"/>
              <a:ext cx="3015380" cy="2011005"/>
            </a:xfrm>
            <a:custGeom>
              <a:avLst/>
              <a:gdLst>
                <a:gd name="T0" fmla="*/ 529 w 564"/>
                <a:gd name="T1" fmla="*/ 376 h 376"/>
                <a:gd name="T2" fmla="*/ 35 w 564"/>
                <a:gd name="T3" fmla="*/ 376 h 376"/>
                <a:gd name="T4" fmla="*/ 0 w 564"/>
                <a:gd name="T5" fmla="*/ 341 h 376"/>
                <a:gd name="T6" fmla="*/ 0 w 564"/>
                <a:gd name="T7" fmla="*/ 35 h 376"/>
                <a:gd name="T8" fmla="*/ 35 w 564"/>
                <a:gd name="T9" fmla="*/ 0 h 376"/>
                <a:gd name="T10" fmla="*/ 529 w 564"/>
                <a:gd name="T11" fmla="*/ 0 h 376"/>
                <a:gd name="T12" fmla="*/ 564 w 564"/>
                <a:gd name="T13" fmla="*/ 35 h 376"/>
                <a:gd name="T14" fmla="*/ 564 w 564"/>
                <a:gd name="T15" fmla="*/ 341 h 376"/>
                <a:gd name="T16" fmla="*/ 529 w 564"/>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4" h="376">
                  <a:moveTo>
                    <a:pt x="529" y="376"/>
                  </a:moveTo>
                  <a:cubicBezTo>
                    <a:pt x="35" y="376"/>
                    <a:pt x="35" y="376"/>
                    <a:pt x="35" y="376"/>
                  </a:cubicBezTo>
                  <a:cubicBezTo>
                    <a:pt x="16" y="376"/>
                    <a:pt x="0" y="361"/>
                    <a:pt x="0" y="341"/>
                  </a:cubicBezTo>
                  <a:cubicBezTo>
                    <a:pt x="0" y="35"/>
                    <a:pt x="0" y="35"/>
                    <a:pt x="0" y="35"/>
                  </a:cubicBezTo>
                  <a:cubicBezTo>
                    <a:pt x="0" y="16"/>
                    <a:pt x="16" y="0"/>
                    <a:pt x="35" y="0"/>
                  </a:cubicBezTo>
                  <a:cubicBezTo>
                    <a:pt x="529" y="0"/>
                    <a:pt x="529" y="0"/>
                    <a:pt x="529" y="0"/>
                  </a:cubicBezTo>
                  <a:cubicBezTo>
                    <a:pt x="549" y="0"/>
                    <a:pt x="564" y="16"/>
                    <a:pt x="564" y="35"/>
                  </a:cubicBezTo>
                  <a:cubicBezTo>
                    <a:pt x="564" y="341"/>
                    <a:pt x="564" y="341"/>
                    <a:pt x="564" y="341"/>
                  </a:cubicBezTo>
                  <a:cubicBezTo>
                    <a:pt x="564" y="361"/>
                    <a:pt x="549" y="376"/>
                    <a:pt x="529" y="376"/>
                  </a:cubicBezTo>
                </a:path>
              </a:pathLst>
            </a:custGeom>
            <a:solidFill>
              <a:srgbClr val="3B3B8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8" name="Rectangle 10"/>
            <p:cNvSpPr>
              <a:spLocks noChangeArrowheads="1"/>
            </p:cNvSpPr>
            <p:nvPr/>
          </p:nvSpPr>
          <p:spPr bwMode="auto">
            <a:xfrm>
              <a:off x="2279091" y="2328786"/>
              <a:ext cx="2708425" cy="1697279"/>
            </a:xfrm>
            <a:prstGeom prst="rect">
              <a:avLst/>
            </a:prstGeom>
            <a:solidFill>
              <a:srgbClr val="C2C5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9" name="Rectangle 11"/>
            <p:cNvSpPr>
              <a:spLocks noChangeArrowheads="1"/>
            </p:cNvSpPr>
            <p:nvPr/>
          </p:nvSpPr>
          <p:spPr bwMode="auto">
            <a:xfrm>
              <a:off x="2279091" y="2328786"/>
              <a:ext cx="2708425" cy="1697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0" name="Rectangle 12"/>
            <p:cNvSpPr>
              <a:spLocks noChangeArrowheads="1"/>
            </p:cNvSpPr>
            <p:nvPr/>
          </p:nvSpPr>
          <p:spPr bwMode="auto">
            <a:xfrm>
              <a:off x="2279091" y="3863559"/>
              <a:ext cx="2708425" cy="162505"/>
            </a:xfrm>
            <a:prstGeom prst="rect">
              <a:avLst/>
            </a:prstGeom>
            <a:solidFill>
              <a:srgbClr val="767F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1" name="Rectangle 13"/>
            <p:cNvSpPr>
              <a:spLocks noChangeArrowheads="1"/>
            </p:cNvSpPr>
            <p:nvPr/>
          </p:nvSpPr>
          <p:spPr bwMode="auto">
            <a:xfrm>
              <a:off x="2279091" y="3863559"/>
              <a:ext cx="2708425" cy="162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2" name="Rectangle 14"/>
            <p:cNvSpPr>
              <a:spLocks noChangeArrowheads="1"/>
            </p:cNvSpPr>
            <p:nvPr/>
          </p:nvSpPr>
          <p:spPr bwMode="auto">
            <a:xfrm>
              <a:off x="2279091" y="2328786"/>
              <a:ext cx="2708425" cy="81253"/>
            </a:xfrm>
            <a:prstGeom prst="rect">
              <a:avLst/>
            </a:prstGeom>
            <a:solidFill>
              <a:srgbClr val="767FE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3" name="Rectangle 15"/>
            <p:cNvSpPr>
              <a:spLocks noChangeArrowheads="1"/>
            </p:cNvSpPr>
            <p:nvPr/>
          </p:nvSpPr>
          <p:spPr bwMode="auto">
            <a:xfrm>
              <a:off x="2279091" y="2328786"/>
              <a:ext cx="2708425" cy="812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4" name="Freeform 16"/>
            <p:cNvSpPr/>
            <p:nvPr/>
          </p:nvSpPr>
          <p:spPr bwMode="auto">
            <a:xfrm>
              <a:off x="1949566" y="4179542"/>
              <a:ext cx="3367475" cy="203132"/>
            </a:xfrm>
            <a:custGeom>
              <a:avLst/>
              <a:gdLst>
                <a:gd name="T0" fmla="*/ 592 w 630"/>
                <a:gd name="T1" fmla="*/ 38 h 38"/>
                <a:gd name="T2" fmla="*/ 38 w 630"/>
                <a:gd name="T3" fmla="*/ 38 h 38"/>
                <a:gd name="T4" fmla="*/ 0 w 630"/>
                <a:gd name="T5" fmla="*/ 0 h 38"/>
                <a:gd name="T6" fmla="*/ 630 w 630"/>
                <a:gd name="T7" fmla="*/ 0 h 38"/>
                <a:gd name="T8" fmla="*/ 592 w 630"/>
                <a:gd name="T9" fmla="*/ 38 h 38"/>
              </a:gdLst>
              <a:ahLst/>
              <a:cxnLst>
                <a:cxn ang="0">
                  <a:pos x="T0" y="T1"/>
                </a:cxn>
                <a:cxn ang="0">
                  <a:pos x="T2" y="T3"/>
                </a:cxn>
                <a:cxn ang="0">
                  <a:pos x="T4" y="T5"/>
                </a:cxn>
                <a:cxn ang="0">
                  <a:pos x="T6" y="T7"/>
                </a:cxn>
                <a:cxn ang="0">
                  <a:pos x="T8" y="T9"/>
                </a:cxn>
              </a:cxnLst>
              <a:rect l="0" t="0" r="r" b="b"/>
              <a:pathLst>
                <a:path w="630" h="38">
                  <a:moveTo>
                    <a:pt x="592" y="38"/>
                  </a:moveTo>
                  <a:cubicBezTo>
                    <a:pt x="38" y="38"/>
                    <a:pt x="38" y="38"/>
                    <a:pt x="38" y="38"/>
                  </a:cubicBezTo>
                  <a:cubicBezTo>
                    <a:pt x="17" y="38"/>
                    <a:pt x="0" y="21"/>
                    <a:pt x="0" y="0"/>
                  </a:cubicBezTo>
                  <a:cubicBezTo>
                    <a:pt x="630" y="0"/>
                    <a:pt x="630" y="0"/>
                    <a:pt x="630" y="0"/>
                  </a:cubicBezTo>
                  <a:cubicBezTo>
                    <a:pt x="630" y="21"/>
                    <a:pt x="613" y="38"/>
                    <a:pt x="592" y="38"/>
                  </a:cubicBezTo>
                  <a:close/>
                </a:path>
              </a:pathLst>
            </a:custGeom>
            <a:solidFill>
              <a:srgbClr val="767FE3"/>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5" name="Freeform 17"/>
            <p:cNvSpPr/>
            <p:nvPr/>
          </p:nvSpPr>
          <p:spPr bwMode="auto">
            <a:xfrm>
              <a:off x="1949566" y="4179542"/>
              <a:ext cx="3367475" cy="203132"/>
            </a:xfrm>
            <a:custGeom>
              <a:avLst/>
              <a:gdLst>
                <a:gd name="T0" fmla="*/ 592 w 630"/>
                <a:gd name="T1" fmla="*/ 25 h 38"/>
                <a:gd name="T2" fmla="*/ 38 w 630"/>
                <a:gd name="T3" fmla="*/ 25 h 38"/>
                <a:gd name="T4" fmla="*/ 3 w 630"/>
                <a:gd name="T5" fmla="*/ 0 h 38"/>
                <a:gd name="T6" fmla="*/ 0 w 630"/>
                <a:gd name="T7" fmla="*/ 0 h 38"/>
                <a:gd name="T8" fmla="*/ 38 w 630"/>
                <a:gd name="T9" fmla="*/ 38 h 38"/>
                <a:gd name="T10" fmla="*/ 592 w 630"/>
                <a:gd name="T11" fmla="*/ 38 h 38"/>
                <a:gd name="T12" fmla="*/ 630 w 630"/>
                <a:gd name="T13" fmla="*/ 0 h 38"/>
                <a:gd name="T14" fmla="*/ 627 w 630"/>
                <a:gd name="T15" fmla="*/ 0 h 38"/>
                <a:gd name="T16" fmla="*/ 592 w 630"/>
                <a:gd name="T17" fmla="*/ 2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0" h="38">
                  <a:moveTo>
                    <a:pt x="592" y="25"/>
                  </a:moveTo>
                  <a:cubicBezTo>
                    <a:pt x="38" y="25"/>
                    <a:pt x="38" y="25"/>
                    <a:pt x="38" y="25"/>
                  </a:cubicBezTo>
                  <a:cubicBezTo>
                    <a:pt x="22" y="25"/>
                    <a:pt x="8" y="15"/>
                    <a:pt x="3" y="0"/>
                  </a:cubicBezTo>
                  <a:cubicBezTo>
                    <a:pt x="0" y="0"/>
                    <a:pt x="0" y="0"/>
                    <a:pt x="0" y="0"/>
                  </a:cubicBezTo>
                  <a:cubicBezTo>
                    <a:pt x="0" y="21"/>
                    <a:pt x="17" y="38"/>
                    <a:pt x="38" y="38"/>
                  </a:cubicBezTo>
                  <a:cubicBezTo>
                    <a:pt x="592" y="38"/>
                    <a:pt x="592" y="38"/>
                    <a:pt x="592" y="38"/>
                  </a:cubicBezTo>
                  <a:cubicBezTo>
                    <a:pt x="613" y="38"/>
                    <a:pt x="630" y="21"/>
                    <a:pt x="630" y="0"/>
                  </a:cubicBezTo>
                  <a:cubicBezTo>
                    <a:pt x="627" y="0"/>
                    <a:pt x="627" y="0"/>
                    <a:pt x="627" y="0"/>
                  </a:cubicBezTo>
                  <a:cubicBezTo>
                    <a:pt x="622" y="15"/>
                    <a:pt x="608" y="25"/>
                    <a:pt x="592" y="25"/>
                  </a:cubicBezTo>
                  <a:close/>
                </a:path>
              </a:pathLst>
            </a:custGeom>
            <a:solidFill>
              <a:srgbClr val="6469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6" name="Rectangle 18"/>
            <p:cNvSpPr>
              <a:spLocks noChangeArrowheads="1"/>
            </p:cNvSpPr>
            <p:nvPr/>
          </p:nvSpPr>
          <p:spPr bwMode="auto">
            <a:xfrm>
              <a:off x="2044360" y="4143430"/>
              <a:ext cx="3177886" cy="36112"/>
            </a:xfrm>
            <a:prstGeom prst="rect">
              <a:avLst/>
            </a:prstGeom>
            <a:solidFill>
              <a:srgbClr val="6469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7" name="Freeform 19"/>
            <p:cNvSpPr/>
            <p:nvPr/>
          </p:nvSpPr>
          <p:spPr bwMode="auto">
            <a:xfrm>
              <a:off x="3376003" y="4179542"/>
              <a:ext cx="519115" cy="69968"/>
            </a:xfrm>
            <a:custGeom>
              <a:avLst/>
              <a:gdLst>
                <a:gd name="T0" fmla="*/ 84 w 97"/>
                <a:gd name="T1" fmla="*/ 13 h 13"/>
                <a:gd name="T2" fmla="*/ 12 w 97"/>
                <a:gd name="T3" fmla="*/ 13 h 13"/>
                <a:gd name="T4" fmla="*/ 0 w 97"/>
                <a:gd name="T5" fmla="*/ 0 h 13"/>
                <a:gd name="T6" fmla="*/ 97 w 97"/>
                <a:gd name="T7" fmla="*/ 0 h 13"/>
                <a:gd name="T8" fmla="*/ 84 w 97"/>
                <a:gd name="T9" fmla="*/ 13 h 13"/>
              </a:gdLst>
              <a:ahLst/>
              <a:cxnLst>
                <a:cxn ang="0">
                  <a:pos x="T0" y="T1"/>
                </a:cxn>
                <a:cxn ang="0">
                  <a:pos x="T2" y="T3"/>
                </a:cxn>
                <a:cxn ang="0">
                  <a:pos x="T4" y="T5"/>
                </a:cxn>
                <a:cxn ang="0">
                  <a:pos x="T6" y="T7"/>
                </a:cxn>
                <a:cxn ang="0">
                  <a:pos x="T8" y="T9"/>
                </a:cxn>
              </a:cxnLst>
              <a:rect l="0" t="0" r="r" b="b"/>
              <a:pathLst>
                <a:path w="97" h="13">
                  <a:moveTo>
                    <a:pt x="84" y="13"/>
                  </a:moveTo>
                  <a:cubicBezTo>
                    <a:pt x="12" y="13"/>
                    <a:pt x="12" y="13"/>
                    <a:pt x="12" y="13"/>
                  </a:cubicBezTo>
                  <a:cubicBezTo>
                    <a:pt x="5" y="13"/>
                    <a:pt x="0" y="7"/>
                    <a:pt x="0" y="0"/>
                  </a:cubicBezTo>
                  <a:cubicBezTo>
                    <a:pt x="97" y="0"/>
                    <a:pt x="97" y="0"/>
                    <a:pt x="97" y="0"/>
                  </a:cubicBezTo>
                  <a:cubicBezTo>
                    <a:pt x="97" y="7"/>
                    <a:pt x="91" y="13"/>
                    <a:pt x="84" y="13"/>
                  </a:cubicBezTo>
                  <a:close/>
                </a:path>
              </a:pathLst>
            </a:custGeom>
            <a:solidFill>
              <a:srgbClr val="6469D4"/>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8" name="Rectangle 20"/>
            <p:cNvSpPr>
              <a:spLocks noChangeArrowheads="1"/>
            </p:cNvSpPr>
            <p:nvPr/>
          </p:nvSpPr>
          <p:spPr bwMode="auto">
            <a:xfrm>
              <a:off x="2376143" y="4077976"/>
              <a:ext cx="370151" cy="65454"/>
            </a:xfrm>
            <a:prstGeom prst="rect">
              <a:avLst/>
            </a:prstGeom>
            <a:solidFill>
              <a:srgbClr val="4D4C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9" name="Rectangle 21"/>
            <p:cNvSpPr>
              <a:spLocks noChangeArrowheads="1"/>
            </p:cNvSpPr>
            <p:nvPr/>
          </p:nvSpPr>
          <p:spPr bwMode="auto">
            <a:xfrm>
              <a:off x="4527083" y="4077976"/>
              <a:ext cx="367894" cy="65454"/>
            </a:xfrm>
            <a:prstGeom prst="rect">
              <a:avLst/>
            </a:prstGeom>
            <a:solidFill>
              <a:srgbClr val="4D4CA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pic>
          <p:nvPicPr>
            <p:cNvPr id="20" name="Picture 23"/>
            <p:cNvPicPr>
              <a:picLocks noChangeAspect="1" noChangeArrowheads="1"/>
            </p:cNvPicPr>
            <p:nvPr/>
          </p:nvPicPr>
          <p:blipFill>
            <a:blip r:embed="rId3"/>
            <a:srcRect/>
            <a:stretch>
              <a:fillRect/>
            </a:stretch>
          </p:blipFill>
          <p:spPr bwMode="auto">
            <a:xfrm>
              <a:off x="2263291" y="3843246"/>
              <a:ext cx="194104" cy="191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Picture 26"/>
            <p:cNvPicPr>
              <a:picLocks noChangeAspect="1" noChangeArrowheads="1"/>
            </p:cNvPicPr>
            <p:nvPr/>
          </p:nvPicPr>
          <p:blipFill>
            <a:blip r:embed="rId4"/>
            <a:srcRect/>
            <a:stretch>
              <a:fillRect/>
            </a:stretch>
          </p:blipFill>
          <p:spPr bwMode="auto">
            <a:xfrm>
              <a:off x="2509307" y="3843246"/>
              <a:ext cx="686134" cy="191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Freeform 29"/>
            <p:cNvSpPr/>
            <p:nvPr/>
          </p:nvSpPr>
          <p:spPr bwMode="auto">
            <a:xfrm>
              <a:off x="4332980" y="3211281"/>
              <a:ext cx="654536" cy="652279"/>
            </a:xfrm>
            <a:custGeom>
              <a:avLst/>
              <a:gdLst>
                <a:gd name="T0" fmla="*/ 290 w 290"/>
                <a:gd name="T1" fmla="*/ 0 h 289"/>
                <a:gd name="T2" fmla="*/ 0 w 290"/>
                <a:gd name="T3" fmla="*/ 289 h 289"/>
                <a:gd name="T4" fmla="*/ 221 w 290"/>
                <a:gd name="T5" fmla="*/ 289 h 289"/>
                <a:gd name="T6" fmla="*/ 290 w 290"/>
                <a:gd name="T7" fmla="*/ 218 h 289"/>
                <a:gd name="T8" fmla="*/ 290 w 290"/>
                <a:gd name="T9" fmla="*/ 0 h 289"/>
              </a:gdLst>
              <a:ahLst/>
              <a:cxnLst>
                <a:cxn ang="0">
                  <a:pos x="T0" y="T1"/>
                </a:cxn>
                <a:cxn ang="0">
                  <a:pos x="T2" y="T3"/>
                </a:cxn>
                <a:cxn ang="0">
                  <a:pos x="T4" y="T5"/>
                </a:cxn>
                <a:cxn ang="0">
                  <a:pos x="T6" y="T7"/>
                </a:cxn>
                <a:cxn ang="0">
                  <a:pos x="T8" y="T9"/>
                </a:cxn>
              </a:cxnLst>
              <a:rect l="0" t="0" r="r" b="b"/>
              <a:pathLst>
                <a:path w="290" h="289">
                  <a:moveTo>
                    <a:pt x="290" y="0"/>
                  </a:moveTo>
                  <a:lnTo>
                    <a:pt x="0" y="289"/>
                  </a:lnTo>
                  <a:lnTo>
                    <a:pt x="221" y="289"/>
                  </a:lnTo>
                  <a:lnTo>
                    <a:pt x="290" y="218"/>
                  </a:lnTo>
                  <a:lnTo>
                    <a:pt x="29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3" name="Freeform 31"/>
            <p:cNvSpPr/>
            <p:nvPr/>
          </p:nvSpPr>
          <p:spPr bwMode="auto">
            <a:xfrm>
              <a:off x="4172731" y="3863559"/>
              <a:ext cx="659050" cy="162505"/>
            </a:xfrm>
            <a:custGeom>
              <a:avLst/>
              <a:gdLst>
                <a:gd name="T0" fmla="*/ 292 w 292"/>
                <a:gd name="T1" fmla="*/ 0 h 72"/>
                <a:gd name="T2" fmla="*/ 71 w 292"/>
                <a:gd name="T3" fmla="*/ 0 h 72"/>
                <a:gd name="T4" fmla="*/ 0 w 292"/>
                <a:gd name="T5" fmla="*/ 72 h 72"/>
                <a:gd name="T6" fmla="*/ 218 w 292"/>
                <a:gd name="T7" fmla="*/ 72 h 72"/>
                <a:gd name="T8" fmla="*/ 292 w 292"/>
                <a:gd name="T9" fmla="*/ 0 h 72"/>
              </a:gdLst>
              <a:ahLst/>
              <a:cxnLst>
                <a:cxn ang="0">
                  <a:pos x="T0" y="T1"/>
                </a:cxn>
                <a:cxn ang="0">
                  <a:pos x="T2" y="T3"/>
                </a:cxn>
                <a:cxn ang="0">
                  <a:pos x="T4" y="T5"/>
                </a:cxn>
                <a:cxn ang="0">
                  <a:pos x="T6" y="T7"/>
                </a:cxn>
                <a:cxn ang="0">
                  <a:pos x="T8" y="T9"/>
                </a:cxn>
              </a:cxnLst>
              <a:rect l="0" t="0" r="r" b="b"/>
              <a:pathLst>
                <a:path w="292" h="72">
                  <a:moveTo>
                    <a:pt x="292" y="0"/>
                  </a:moveTo>
                  <a:lnTo>
                    <a:pt x="71" y="0"/>
                  </a:lnTo>
                  <a:lnTo>
                    <a:pt x="0" y="72"/>
                  </a:lnTo>
                  <a:lnTo>
                    <a:pt x="218" y="72"/>
                  </a:lnTo>
                  <a:lnTo>
                    <a:pt x="29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4" name="Freeform 45"/>
            <p:cNvSpPr/>
            <p:nvPr/>
          </p:nvSpPr>
          <p:spPr bwMode="auto">
            <a:xfrm>
              <a:off x="1216034" y="5053009"/>
              <a:ext cx="300184" cy="367894"/>
            </a:xfrm>
            <a:custGeom>
              <a:avLst/>
              <a:gdLst>
                <a:gd name="T0" fmla="*/ 19 w 56"/>
                <a:gd name="T1" fmla="*/ 6 h 69"/>
                <a:gd name="T2" fmla="*/ 11 w 56"/>
                <a:gd name="T3" fmla="*/ 32 h 69"/>
                <a:gd name="T4" fmla="*/ 9 w 56"/>
                <a:gd name="T5" fmla="*/ 35 h 69"/>
                <a:gd name="T6" fmla="*/ 4 w 56"/>
                <a:gd name="T7" fmla="*/ 43 h 69"/>
                <a:gd name="T8" fmla="*/ 9 w 56"/>
                <a:gd name="T9" fmla="*/ 57 h 69"/>
                <a:gd name="T10" fmla="*/ 30 w 56"/>
                <a:gd name="T11" fmla="*/ 65 h 69"/>
                <a:gd name="T12" fmla="*/ 56 w 56"/>
                <a:gd name="T13" fmla="*/ 63 h 69"/>
                <a:gd name="T14" fmla="*/ 39 w 56"/>
                <a:gd name="T15" fmla="*/ 54 h 69"/>
                <a:gd name="T16" fmla="*/ 30 w 56"/>
                <a:gd name="T17" fmla="*/ 47 h 69"/>
                <a:gd name="T18" fmla="*/ 35 w 56"/>
                <a:gd name="T19" fmla="*/ 11 h 69"/>
                <a:gd name="T20" fmla="*/ 30 w 56"/>
                <a:gd name="T21" fmla="*/ 2 h 69"/>
                <a:gd name="T22" fmla="*/ 28 w 56"/>
                <a:gd name="T23" fmla="*/ 1 h 69"/>
                <a:gd name="T24" fmla="*/ 19 w 56"/>
                <a:gd name="T25" fmla="*/ 6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6" h="69">
                  <a:moveTo>
                    <a:pt x="19" y="6"/>
                  </a:moveTo>
                  <a:cubicBezTo>
                    <a:pt x="11" y="32"/>
                    <a:pt x="11" y="32"/>
                    <a:pt x="11" y="32"/>
                  </a:cubicBezTo>
                  <a:cubicBezTo>
                    <a:pt x="11" y="33"/>
                    <a:pt x="10" y="34"/>
                    <a:pt x="9" y="35"/>
                  </a:cubicBezTo>
                  <a:cubicBezTo>
                    <a:pt x="4" y="43"/>
                    <a:pt x="4" y="43"/>
                    <a:pt x="4" y="43"/>
                  </a:cubicBezTo>
                  <a:cubicBezTo>
                    <a:pt x="0" y="49"/>
                    <a:pt x="3" y="56"/>
                    <a:pt x="9" y="57"/>
                  </a:cubicBezTo>
                  <a:cubicBezTo>
                    <a:pt x="9" y="57"/>
                    <a:pt x="19" y="61"/>
                    <a:pt x="30" y="65"/>
                  </a:cubicBezTo>
                  <a:cubicBezTo>
                    <a:pt x="42" y="69"/>
                    <a:pt x="56" y="66"/>
                    <a:pt x="56" y="63"/>
                  </a:cubicBezTo>
                  <a:cubicBezTo>
                    <a:pt x="56" y="56"/>
                    <a:pt x="50" y="61"/>
                    <a:pt x="39" y="54"/>
                  </a:cubicBezTo>
                  <a:cubicBezTo>
                    <a:pt x="36" y="52"/>
                    <a:pt x="33" y="49"/>
                    <a:pt x="30" y="47"/>
                  </a:cubicBezTo>
                  <a:cubicBezTo>
                    <a:pt x="21" y="39"/>
                    <a:pt x="29" y="21"/>
                    <a:pt x="35" y="11"/>
                  </a:cubicBezTo>
                  <a:cubicBezTo>
                    <a:pt x="37" y="7"/>
                    <a:pt x="34" y="2"/>
                    <a:pt x="30" y="2"/>
                  </a:cubicBezTo>
                  <a:cubicBezTo>
                    <a:pt x="28" y="1"/>
                    <a:pt x="28" y="1"/>
                    <a:pt x="28" y="1"/>
                  </a:cubicBezTo>
                  <a:cubicBezTo>
                    <a:pt x="24" y="0"/>
                    <a:pt x="20" y="2"/>
                    <a:pt x="19" y="6"/>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5" name="Freeform 46"/>
            <p:cNvSpPr/>
            <p:nvPr/>
          </p:nvSpPr>
          <p:spPr bwMode="auto">
            <a:xfrm>
              <a:off x="2231693" y="3698797"/>
              <a:ext cx="182819" cy="273099"/>
            </a:xfrm>
            <a:custGeom>
              <a:avLst/>
              <a:gdLst>
                <a:gd name="T0" fmla="*/ 10 w 34"/>
                <a:gd name="T1" fmla="*/ 38 h 51"/>
                <a:gd name="T2" fmla="*/ 12 w 34"/>
                <a:gd name="T3" fmla="*/ 26 h 51"/>
                <a:gd name="T4" fmla="*/ 14 w 34"/>
                <a:gd name="T5" fmla="*/ 23 h 51"/>
                <a:gd name="T6" fmla="*/ 17 w 34"/>
                <a:gd name="T7" fmla="*/ 16 h 51"/>
                <a:gd name="T8" fmla="*/ 18 w 34"/>
                <a:gd name="T9" fmla="*/ 8 h 51"/>
                <a:gd name="T10" fmla="*/ 24 w 34"/>
                <a:gd name="T11" fmla="*/ 0 h 51"/>
                <a:gd name="T12" fmla="*/ 30 w 34"/>
                <a:gd name="T13" fmla="*/ 9 h 51"/>
                <a:gd name="T14" fmla="*/ 30 w 34"/>
                <a:gd name="T15" fmla="*/ 15 h 51"/>
                <a:gd name="T16" fmla="*/ 32 w 34"/>
                <a:gd name="T17" fmla="*/ 25 h 51"/>
                <a:gd name="T18" fmla="*/ 30 w 34"/>
                <a:gd name="T19" fmla="*/ 47 h 51"/>
                <a:gd name="T20" fmla="*/ 11 w 34"/>
                <a:gd name="T21" fmla="*/ 50 h 51"/>
                <a:gd name="T22" fmla="*/ 1 w 34"/>
                <a:gd name="T23" fmla="*/ 45 h 51"/>
                <a:gd name="T24" fmla="*/ 18 w 34"/>
                <a:gd name="T25" fmla="*/ 35 h 51"/>
                <a:gd name="T26" fmla="*/ 17 w 34"/>
                <a:gd name="T27" fmla="*/ 33 h 51"/>
                <a:gd name="T28" fmla="*/ 14 w 34"/>
                <a:gd name="T29" fmla="*/ 40 h 51"/>
                <a:gd name="T30" fmla="*/ 9 w 34"/>
                <a:gd name="T31" fmla="*/ 44 h 51"/>
                <a:gd name="T32" fmla="*/ 10 w 34"/>
                <a:gd name="T33" fmla="*/ 3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1">
                  <a:moveTo>
                    <a:pt x="10" y="38"/>
                  </a:moveTo>
                  <a:cubicBezTo>
                    <a:pt x="11" y="33"/>
                    <a:pt x="12" y="28"/>
                    <a:pt x="12" y="26"/>
                  </a:cubicBezTo>
                  <a:cubicBezTo>
                    <a:pt x="13" y="25"/>
                    <a:pt x="14" y="23"/>
                    <a:pt x="14" y="23"/>
                  </a:cubicBezTo>
                  <a:cubicBezTo>
                    <a:pt x="15" y="21"/>
                    <a:pt x="17" y="18"/>
                    <a:pt x="17" y="16"/>
                  </a:cubicBezTo>
                  <a:cubicBezTo>
                    <a:pt x="18" y="8"/>
                    <a:pt x="18" y="8"/>
                    <a:pt x="18" y="8"/>
                  </a:cubicBezTo>
                  <a:cubicBezTo>
                    <a:pt x="18" y="4"/>
                    <a:pt x="20" y="0"/>
                    <a:pt x="24" y="0"/>
                  </a:cubicBezTo>
                  <a:cubicBezTo>
                    <a:pt x="28" y="0"/>
                    <a:pt x="30" y="4"/>
                    <a:pt x="30" y="9"/>
                  </a:cubicBezTo>
                  <a:cubicBezTo>
                    <a:pt x="30" y="15"/>
                    <a:pt x="30" y="15"/>
                    <a:pt x="30" y="15"/>
                  </a:cubicBezTo>
                  <a:cubicBezTo>
                    <a:pt x="29" y="18"/>
                    <a:pt x="31" y="22"/>
                    <a:pt x="32" y="25"/>
                  </a:cubicBezTo>
                  <a:cubicBezTo>
                    <a:pt x="34" y="32"/>
                    <a:pt x="32" y="41"/>
                    <a:pt x="30" y="47"/>
                  </a:cubicBezTo>
                  <a:cubicBezTo>
                    <a:pt x="29" y="51"/>
                    <a:pt x="19" y="50"/>
                    <a:pt x="11" y="50"/>
                  </a:cubicBezTo>
                  <a:cubicBezTo>
                    <a:pt x="6" y="49"/>
                    <a:pt x="0" y="48"/>
                    <a:pt x="1" y="45"/>
                  </a:cubicBezTo>
                  <a:cubicBezTo>
                    <a:pt x="3" y="42"/>
                    <a:pt x="22" y="46"/>
                    <a:pt x="18" y="35"/>
                  </a:cubicBezTo>
                  <a:cubicBezTo>
                    <a:pt x="18" y="35"/>
                    <a:pt x="18" y="33"/>
                    <a:pt x="17" y="33"/>
                  </a:cubicBezTo>
                  <a:cubicBezTo>
                    <a:pt x="15" y="33"/>
                    <a:pt x="15" y="38"/>
                    <a:pt x="14" y="40"/>
                  </a:cubicBezTo>
                  <a:cubicBezTo>
                    <a:pt x="12" y="43"/>
                    <a:pt x="10" y="45"/>
                    <a:pt x="9" y="44"/>
                  </a:cubicBezTo>
                  <a:cubicBezTo>
                    <a:pt x="7" y="44"/>
                    <a:pt x="9" y="42"/>
                    <a:pt x="10" y="38"/>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6" name="Freeform 47"/>
            <p:cNvSpPr/>
            <p:nvPr/>
          </p:nvSpPr>
          <p:spPr bwMode="auto">
            <a:xfrm>
              <a:off x="1949566" y="2344585"/>
              <a:ext cx="523629" cy="1424180"/>
            </a:xfrm>
            <a:custGeom>
              <a:avLst/>
              <a:gdLst>
                <a:gd name="T0" fmla="*/ 31 w 98"/>
                <a:gd name="T1" fmla="*/ 14 h 266"/>
                <a:gd name="T2" fmla="*/ 98 w 98"/>
                <a:gd name="T3" fmla="*/ 155 h 266"/>
                <a:gd name="T4" fmla="*/ 84 w 98"/>
                <a:gd name="T5" fmla="*/ 265 h 266"/>
                <a:gd name="T6" fmla="*/ 77 w 98"/>
                <a:gd name="T7" fmla="*/ 266 h 266"/>
                <a:gd name="T8" fmla="*/ 70 w 98"/>
                <a:gd name="T9" fmla="*/ 265 h 266"/>
                <a:gd name="T10" fmla="*/ 64 w 98"/>
                <a:gd name="T11" fmla="*/ 152 h 266"/>
                <a:gd name="T12" fmla="*/ 2 w 98"/>
                <a:gd name="T13" fmla="*/ 35 h 266"/>
                <a:gd name="T14" fmla="*/ 31 w 98"/>
                <a:gd name="T15" fmla="*/ 14 h 2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266">
                  <a:moveTo>
                    <a:pt x="31" y="14"/>
                  </a:moveTo>
                  <a:cubicBezTo>
                    <a:pt x="31" y="14"/>
                    <a:pt x="98" y="105"/>
                    <a:pt x="98" y="155"/>
                  </a:cubicBezTo>
                  <a:cubicBezTo>
                    <a:pt x="98" y="190"/>
                    <a:pt x="84" y="265"/>
                    <a:pt x="84" y="265"/>
                  </a:cubicBezTo>
                  <a:cubicBezTo>
                    <a:pt x="84" y="265"/>
                    <a:pt x="80" y="266"/>
                    <a:pt x="77" y="266"/>
                  </a:cubicBezTo>
                  <a:cubicBezTo>
                    <a:pt x="73" y="266"/>
                    <a:pt x="70" y="265"/>
                    <a:pt x="70" y="265"/>
                  </a:cubicBezTo>
                  <a:cubicBezTo>
                    <a:pt x="70" y="265"/>
                    <a:pt x="70" y="169"/>
                    <a:pt x="64" y="152"/>
                  </a:cubicBezTo>
                  <a:cubicBezTo>
                    <a:pt x="59" y="134"/>
                    <a:pt x="3" y="53"/>
                    <a:pt x="2" y="35"/>
                  </a:cubicBezTo>
                  <a:cubicBezTo>
                    <a:pt x="0" y="16"/>
                    <a:pt x="20" y="0"/>
                    <a:pt x="31" y="14"/>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7" name="Freeform 48"/>
            <p:cNvSpPr/>
            <p:nvPr/>
          </p:nvSpPr>
          <p:spPr bwMode="auto">
            <a:xfrm>
              <a:off x="1559101" y="2805017"/>
              <a:ext cx="1746934" cy="1230076"/>
            </a:xfrm>
            <a:custGeom>
              <a:avLst/>
              <a:gdLst>
                <a:gd name="T0" fmla="*/ 286 w 327"/>
                <a:gd name="T1" fmla="*/ 229 h 230"/>
                <a:gd name="T2" fmla="*/ 17 w 327"/>
                <a:gd name="T3" fmla="*/ 195 h 230"/>
                <a:gd name="T4" fmla="*/ 2 w 327"/>
                <a:gd name="T5" fmla="*/ 175 h 230"/>
                <a:gd name="T6" fmla="*/ 22 w 327"/>
                <a:gd name="T7" fmla="*/ 17 h 230"/>
                <a:gd name="T8" fmla="*/ 42 w 327"/>
                <a:gd name="T9" fmla="*/ 2 h 230"/>
                <a:gd name="T10" fmla="*/ 311 w 327"/>
                <a:gd name="T11" fmla="*/ 36 h 230"/>
                <a:gd name="T12" fmla="*/ 326 w 327"/>
                <a:gd name="T13" fmla="*/ 56 h 230"/>
                <a:gd name="T14" fmla="*/ 306 w 327"/>
                <a:gd name="T15" fmla="*/ 213 h 230"/>
                <a:gd name="T16" fmla="*/ 286 w 327"/>
                <a:gd name="T17" fmla="*/ 22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7" h="230">
                  <a:moveTo>
                    <a:pt x="286" y="229"/>
                  </a:moveTo>
                  <a:cubicBezTo>
                    <a:pt x="17" y="195"/>
                    <a:pt x="17" y="195"/>
                    <a:pt x="17" y="195"/>
                  </a:cubicBezTo>
                  <a:cubicBezTo>
                    <a:pt x="7" y="193"/>
                    <a:pt x="0" y="184"/>
                    <a:pt x="2" y="175"/>
                  </a:cubicBezTo>
                  <a:cubicBezTo>
                    <a:pt x="22" y="17"/>
                    <a:pt x="22" y="17"/>
                    <a:pt x="22" y="17"/>
                  </a:cubicBezTo>
                  <a:cubicBezTo>
                    <a:pt x="23" y="7"/>
                    <a:pt x="32" y="0"/>
                    <a:pt x="42" y="2"/>
                  </a:cubicBezTo>
                  <a:cubicBezTo>
                    <a:pt x="311" y="36"/>
                    <a:pt x="311" y="36"/>
                    <a:pt x="311" y="36"/>
                  </a:cubicBezTo>
                  <a:cubicBezTo>
                    <a:pt x="320" y="37"/>
                    <a:pt x="327" y="46"/>
                    <a:pt x="326" y="56"/>
                  </a:cubicBezTo>
                  <a:cubicBezTo>
                    <a:pt x="306" y="213"/>
                    <a:pt x="306" y="213"/>
                    <a:pt x="306" y="213"/>
                  </a:cubicBezTo>
                  <a:cubicBezTo>
                    <a:pt x="305" y="223"/>
                    <a:pt x="296" y="230"/>
                    <a:pt x="286" y="229"/>
                  </a:cubicBezTo>
                  <a:close/>
                </a:path>
              </a:pathLst>
            </a:custGeom>
            <a:solidFill>
              <a:srgbClr val="3B3B8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8" name="Freeform 49"/>
            <p:cNvSpPr/>
            <p:nvPr/>
          </p:nvSpPr>
          <p:spPr bwMode="auto">
            <a:xfrm>
              <a:off x="1665181" y="2890784"/>
              <a:ext cx="1534774" cy="1058542"/>
            </a:xfrm>
            <a:custGeom>
              <a:avLst/>
              <a:gdLst>
                <a:gd name="T0" fmla="*/ 262 w 287"/>
                <a:gd name="T1" fmla="*/ 198 h 198"/>
                <a:gd name="T2" fmla="*/ 5 w 287"/>
                <a:gd name="T3" fmla="*/ 165 h 198"/>
                <a:gd name="T4" fmla="*/ 1 w 287"/>
                <a:gd name="T5" fmla="*/ 160 h 198"/>
                <a:gd name="T6" fmla="*/ 20 w 287"/>
                <a:gd name="T7" fmla="*/ 5 h 198"/>
                <a:gd name="T8" fmla="*/ 26 w 287"/>
                <a:gd name="T9" fmla="*/ 1 h 198"/>
                <a:gd name="T10" fmla="*/ 283 w 287"/>
                <a:gd name="T11" fmla="*/ 33 h 198"/>
                <a:gd name="T12" fmla="*/ 287 w 287"/>
                <a:gd name="T13" fmla="*/ 39 h 198"/>
                <a:gd name="T14" fmla="*/ 268 w 287"/>
                <a:gd name="T15" fmla="*/ 193 h 198"/>
                <a:gd name="T16" fmla="*/ 262 w 287"/>
                <a:gd name="T17"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198">
                  <a:moveTo>
                    <a:pt x="262" y="198"/>
                  </a:moveTo>
                  <a:cubicBezTo>
                    <a:pt x="5" y="165"/>
                    <a:pt x="5" y="165"/>
                    <a:pt x="5" y="165"/>
                  </a:cubicBezTo>
                  <a:cubicBezTo>
                    <a:pt x="2" y="165"/>
                    <a:pt x="0" y="162"/>
                    <a:pt x="1" y="160"/>
                  </a:cubicBezTo>
                  <a:cubicBezTo>
                    <a:pt x="20" y="5"/>
                    <a:pt x="20" y="5"/>
                    <a:pt x="20" y="5"/>
                  </a:cubicBezTo>
                  <a:cubicBezTo>
                    <a:pt x="21" y="2"/>
                    <a:pt x="23" y="0"/>
                    <a:pt x="26" y="1"/>
                  </a:cubicBezTo>
                  <a:cubicBezTo>
                    <a:pt x="283" y="33"/>
                    <a:pt x="283" y="33"/>
                    <a:pt x="283" y="33"/>
                  </a:cubicBezTo>
                  <a:cubicBezTo>
                    <a:pt x="285" y="33"/>
                    <a:pt x="287" y="36"/>
                    <a:pt x="287" y="39"/>
                  </a:cubicBezTo>
                  <a:cubicBezTo>
                    <a:pt x="268" y="193"/>
                    <a:pt x="268" y="193"/>
                    <a:pt x="268" y="193"/>
                  </a:cubicBezTo>
                  <a:cubicBezTo>
                    <a:pt x="267" y="196"/>
                    <a:pt x="265" y="198"/>
                    <a:pt x="262" y="19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29" name="Freeform 50"/>
            <p:cNvSpPr/>
            <p:nvPr/>
          </p:nvSpPr>
          <p:spPr bwMode="auto">
            <a:xfrm>
              <a:off x="1766747" y="2890784"/>
              <a:ext cx="1433208" cy="246015"/>
            </a:xfrm>
            <a:custGeom>
              <a:avLst/>
              <a:gdLst>
                <a:gd name="T0" fmla="*/ 267 w 268"/>
                <a:gd name="T1" fmla="*/ 46 h 46"/>
                <a:gd name="T2" fmla="*/ 268 w 268"/>
                <a:gd name="T3" fmla="*/ 38 h 46"/>
                <a:gd name="T4" fmla="*/ 265 w 268"/>
                <a:gd name="T5" fmla="*/ 33 h 46"/>
                <a:gd name="T6" fmla="*/ 6 w 268"/>
                <a:gd name="T7" fmla="*/ 0 h 46"/>
                <a:gd name="T8" fmla="*/ 1 w 268"/>
                <a:gd name="T9" fmla="*/ 4 h 46"/>
                <a:gd name="T10" fmla="*/ 0 w 268"/>
                <a:gd name="T11" fmla="*/ 12 h 46"/>
                <a:gd name="T12" fmla="*/ 267 w 268"/>
                <a:gd name="T13" fmla="*/ 46 h 46"/>
              </a:gdLst>
              <a:ahLst/>
              <a:cxnLst>
                <a:cxn ang="0">
                  <a:pos x="T0" y="T1"/>
                </a:cxn>
                <a:cxn ang="0">
                  <a:pos x="T2" y="T3"/>
                </a:cxn>
                <a:cxn ang="0">
                  <a:pos x="T4" y="T5"/>
                </a:cxn>
                <a:cxn ang="0">
                  <a:pos x="T6" y="T7"/>
                </a:cxn>
                <a:cxn ang="0">
                  <a:pos x="T8" y="T9"/>
                </a:cxn>
                <a:cxn ang="0">
                  <a:pos x="T10" y="T11"/>
                </a:cxn>
                <a:cxn ang="0">
                  <a:pos x="T12" y="T13"/>
                </a:cxn>
              </a:cxnLst>
              <a:rect l="0" t="0" r="r" b="b"/>
              <a:pathLst>
                <a:path w="268" h="46">
                  <a:moveTo>
                    <a:pt x="267" y="46"/>
                  </a:moveTo>
                  <a:cubicBezTo>
                    <a:pt x="268" y="38"/>
                    <a:pt x="268" y="38"/>
                    <a:pt x="268" y="38"/>
                  </a:cubicBezTo>
                  <a:cubicBezTo>
                    <a:pt x="268" y="35"/>
                    <a:pt x="267" y="33"/>
                    <a:pt x="265" y="33"/>
                  </a:cubicBezTo>
                  <a:cubicBezTo>
                    <a:pt x="6" y="0"/>
                    <a:pt x="6" y="0"/>
                    <a:pt x="6" y="0"/>
                  </a:cubicBezTo>
                  <a:cubicBezTo>
                    <a:pt x="4" y="0"/>
                    <a:pt x="2" y="2"/>
                    <a:pt x="1" y="4"/>
                  </a:cubicBezTo>
                  <a:cubicBezTo>
                    <a:pt x="0" y="12"/>
                    <a:pt x="0" y="12"/>
                    <a:pt x="0" y="12"/>
                  </a:cubicBezTo>
                  <a:lnTo>
                    <a:pt x="267" y="46"/>
                  </a:lnTo>
                  <a:close/>
                </a:path>
              </a:pathLst>
            </a:custGeom>
            <a:solidFill>
              <a:srgbClr val="C8E6E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0" name="Freeform 51"/>
            <p:cNvSpPr/>
            <p:nvPr/>
          </p:nvSpPr>
          <p:spPr bwMode="auto">
            <a:xfrm>
              <a:off x="2033075" y="3039747"/>
              <a:ext cx="756102" cy="756102"/>
            </a:xfrm>
            <a:custGeom>
              <a:avLst/>
              <a:gdLst>
                <a:gd name="T0" fmla="*/ 137 w 141"/>
                <a:gd name="T1" fmla="*/ 79 h 141"/>
                <a:gd name="T2" fmla="*/ 62 w 141"/>
                <a:gd name="T3" fmla="*/ 137 h 141"/>
                <a:gd name="T4" fmla="*/ 4 w 141"/>
                <a:gd name="T5" fmla="*/ 62 h 141"/>
                <a:gd name="T6" fmla="*/ 79 w 141"/>
                <a:gd name="T7" fmla="*/ 4 h 141"/>
                <a:gd name="T8" fmla="*/ 137 w 141"/>
                <a:gd name="T9" fmla="*/ 79 h 141"/>
              </a:gdLst>
              <a:ahLst/>
              <a:cxnLst>
                <a:cxn ang="0">
                  <a:pos x="T0" y="T1"/>
                </a:cxn>
                <a:cxn ang="0">
                  <a:pos x="T2" y="T3"/>
                </a:cxn>
                <a:cxn ang="0">
                  <a:pos x="T4" y="T5"/>
                </a:cxn>
                <a:cxn ang="0">
                  <a:pos x="T6" y="T7"/>
                </a:cxn>
                <a:cxn ang="0">
                  <a:pos x="T8" y="T9"/>
                </a:cxn>
              </a:cxnLst>
              <a:rect l="0" t="0" r="r" b="b"/>
              <a:pathLst>
                <a:path w="141" h="141">
                  <a:moveTo>
                    <a:pt x="137" y="79"/>
                  </a:moveTo>
                  <a:cubicBezTo>
                    <a:pt x="132" y="115"/>
                    <a:pt x="99" y="141"/>
                    <a:pt x="62" y="137"/>
                  </a:cubicBezTo>
                  <a:cubicBezTo>
                    <a:pt x="26" y="132"/>
                    <a:pt x="0" y="99"/>
                    <a:pt x="4" y="62"/>
                  </a:cubicBezTo>
                  <a:cubicBezTo>
                    <a:pt x="9" y="26"/>
                    <a:pt x="42" y="0"/>
                    <a:pt x="79" y="4"/>
                  </a:cubicBezTo>
                  <a:cubicBezTo>
                    <a:pt x="115" y="9"/>
                    <a:pt x="141" y="42"/>
                    <a:pt x="137" y="79"/>
                  </a:cubicBezTo>
                  <a:close/>
                </a:path>
              </a:pathLst>
            </a:custGeom>
            <a:solidFill>
              <a:srgbClr val="5E5DBB"/>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1" name="Freeform 52"/>
            <p:cNvSpPr/>
            <p:nvPr/>
          </p:nvSpPr>
          <p:spPr bwMode="auto">
            <a:xfrm>
              <a:off x="2242978" y="3184196"/>
              <a:ext cx="367894" cy="444633"/>
            </a:xfrm>
            <a:custGeom>
              <a:avLst/>
              <a:gdLst>
                <a:gd name="T0" fmla="*/ 1 w 69"/>
                <a:gd name="T1" fmla="*/ 71 h 83"/>
                <a:gd name="T2" fmla="*/ 9 w 69"/>
                <a:gd name="T3" fmla="*/ 9 h 83"/>
                <a:gd name="T4" fmla="*/ 23 w 69"/>
                <a:gd name="T5" fmla="*/ 4 h 83"/>
                <a:gd name="T6" fmla="*/ 65 w 69"/>
                <a:gd name="T7" fmla="*/ 41 h 83"/>
                <a:gd name="T8" fmla="*/ 63 w 69"/>
                <a:gd name="T9" fmla="*/ 54 h 83"/>
                <a:gd name="T10" fmla="*/ 13 w 69"/>
                <a:gd name="T11" fmla="*/ 80 h 83"/>
                <a:gd name="T12" fmla="*/ 1 w 69"/>
                <a:gd name="T13" fmla="*/ 71 h 83"/>
              </a:gdLst>
              <a:ahLst/>
              <a:cxnLst>
                <a:cxn ang="0">
                  <a:pos x="T0" y="T1"/>
                </a:cxn>
                <a:cxn ang="0">
                  <a:pos x="T2" y="T3"/>
                </a:cxn>
                <a:cxn ang="0">
                  <a:pos x="T4" y="T5"/>
                </a:cxn>
                <a:cxn ang="0">
                  <a:pos x="T6" y="T7"/>
                </a:cxn>
                <a:cxn ang="0">
                  <a:pos x="T8" y="T9"/>
                </a:cxn>
                <a:cxn ang="0">
                  <a:pos x="T10" y="T11"/>
                </a:cxn>
                <a:cxn ang="0">
                  <a:pos x="T12" y="T13"/>
                </a:cxn>
              </a:cxnLst>
              <a:rect l="0" t="0" r="r" b="b"/>
              <a:pathLst>
                <a:path w="69" h="83">
                  <a:moveTo>
                    <a:pt x="1" y="71"/>
                  </a:moveTo>
                  <a:cubicBezTo>
                    <a:pt x="9" y="9"/>
                    <a:pt x="9" y="9"/>
                    <a:pt x="9" y="9"/>
                  </a:cubicBezTo>
                  <a:cubicBezTo>
                    <a:pt x="10" y="3"/>
                    <a:pt x="18" y="0"/>
                    <a:pt x="23" y="4"/>
                  </a:cubicBezTo>
                  <a:cubicBezTo>
                    <a:pt x="65" y="41"/>
                    <a:pt x="65" y="41"/>
                    <a:pt x="65" y="41"/>
                  </a:cubicBezTo>
                  <a:cubicBezTo>
                    <a:pt x="69" y="45"/>
                    <a:pt x="69" y="52"/>
                    <a:pt x="63" y="54"/>
                  </a:cubicBezTo>
                  <a:cubicBezTo>
                    <a:pt x="13" y="80"/>
                    <a:pt x="13" y="80"/>
                    <a:pt x="13" y="80"/>
                  </a:cubicBezTo>
                  <a:cubicBezTo>
                    <a:pt x="7" y="83"/>
                    <a:pt x="0" y="78"/>
                    <a:pt x="1" y="71"/>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2" name="Freeform 53"/>
            <p:cNvSpPr/>
            <p:nvPr/>
          </p:nvSpPr>
          <p:spPr bwMode="auto">
            <a:xfrm>
              <a:off x="1852514" y="5100406"/>
              <a:ext cx="309212" cy="309212"/>
            </a:xfrm>
            <a:custGeom>
              <a:avLst/>
              <a:gdLst>
                <a:gd name="T0" fmla="*/ 5 w 58"/>
                <a:gd name="T1" fmla="*/ 6 h 58"/>
                <a:gd name="T2" fmla="*/ 5 w 58"/>
                <a:gd name="T3" fmla="*/ 28 h 58"/>
                <a:gd name="T4" fmla="*/ 4 w 58"/>
                <a:gd name="T5" fmla="*/ 41 h 58"/>
                <a:gd name="T6" fmla="*/ 2 w 58"/>
                <a:gd name="T7" fmla="*/ 47 h 58"/>
                <a:gd name="T8" fmla="*/ 10 w 58"/>
                <a:gd name="T9" fmla="*/ 58 h 58"/>
                <a:gd name="T10" fmla="*/ 56 w 58"/>
                <a:gd name="T11" fmla="*/ 58 h 58"/>
                <a:gd name="T12" fmla="*/ 58 w 58"/>
                <a:gd name="T13" fmla="*/ 56 h 58"/>
                <a:gd name="T14" fmla="*/ 27 w 58"/>
                <a:gd name="T15" fmla="*/ 41 h 58"/>
                <a:gd name="T16" fmla="*/ 18 w 58"/>
                <a:gd name="T17" fmla="*/ 7 h 58"/>
                <a:gd name="T18" fmla="*/ 11 w 58"/>
                <a:gd name="T19" fmla="*/ 0 h 58"/>
                <a:gd name="T20" fmla="*/ 5 w 58"/>
                <a:gd name="T21" fmla="*/ 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 h="58">
                  <a:moveTo>
                    <a:pt x="5" y="6"/>
                  </a:moveTo>
                  <a:cubicBezTo>
                    <a:pt x="5" y="28"/>
                    <a:pt x="5" y="28"/>
                    <a:pt x="5" y="28"/>
                  </a:cubicBezTo>
                  <a:cubicBezTo>
                    <a:pt x="5" y="32"/>
                    <a:pt x="5" y="37"/>
                    <a:pt x="4" y="41"/>
                  </a:cubicBezTo>
                  <a:cubicBezTo>
                    <a:pt x="2" y="47"/>
                    <a:pt x="2" y="47"/>
                    <a:pt x="2" y="47"/>
                  </a:cubicBezTo>
                  <a:cubicBezTo>
                    <a:pt x="0" y="53"/>
                    <a:pt x="4" y="58"/>
                    <a:pt x="10" y="58"/>
                  </a:cubicBezTo>
                  <a:cubicBezTo>
                    <a:pt x="24" y="58"/>
                    <a:pt x="49" y="58"/>
                    <a:pt x="56" y="58"/>
                  </a:cubicBezTo>
                  <a:cubicBezTo>
                    <a:pt x="57" y="58"/>
                    <a:pt x="58" y="57"/>
                    <a:pt x="58" y="56"/>
                  </a:cubicBezTo>
                  <a:cubicBezTo>
                    <a:pt x="58" y="50"/>
                    <a:pt x="40" y="46"/>
                    <a:pt x="27" y="41"/>
                  </a:cubicBezTo>
                  <a:cubicBezTo>
                    <a:pt x="16" y="37"/>
                    <a:pt x="17" y="18"/>
                    <a:pt x="18" y="7"/>
                  </a:cubicBezTo>
                  <a:cubicBezTo>
                    <a:pt x="19" y="3"/>
                    <a:pt x="15" y="0"/>
                    <a:pt x="11" y="0"/>
                  </a:cubicBezTo>
                  <a:cubicBezTo>
                    <a:pt x="8" y="0"/>
                    <a:pt x="5" y="3"/>
                    <a:pt x="5" y="6"/>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3" name="Freeform 55"/>
            <p:cNvSpPr/>
            <p:nvPr/>
          </p:nvSpPr>
          <p:spPr bwMode="auto">
            <a:xfrm>
              <a:off x="1504932" y="1800643"/>
              <a:ext cx="577797" cy="406264"/>
            </a:xfrm>
            <a:custGeom>
              <a:avLst/>
              <a:gdLst>
                <a:gd name="T0" fmla="*/ 2 w 108"/>
                <a:gd name="T1" fmla="*/ 11 h 76"/>
                <a:gd name="T2" fmla="*/ 26 w 108"/>
                <a:gd name="T3" fmla="*/ 3 h 76"/>
                <a:gd name="T4" fmla="*/ 35 w 108"/>
                <a:gd name="T5" fmla="*/ 6 h 76"/>
                <a:gd name="T6" fmla="*/ 57 w 108"/>
                <a:gd name="T7" fmla="*/ 6 h 76"/>
                <a:gd name="T8" fmla="*/ 68 w 108"/>
                <a:gd name="T9" fmla="*/ 4 h 76"/>
                <a:gd name="T10" fmla="*/ 106 w 108"/>
                <a:gd name="T11" fmla="*/ 28 h 76"/>
                <a:gd name="T12" fmla="*/ 106 w 108"/>
                <a:gd name="T13" fmla="*/ 38 h 76"/>
                <a:gd name="T14" fmla="*/ 68 w 108"/>
                <a:gd name="T15" fmla="*/ 71 h 76"/>
                <a:gd name="T16" fmla="*/ 32 w 108"/>
                <a:gd name="T17" fmla="*/ 42 h 76"/>
                <a:gd name="T18" fmla="*/ 32 w 108"/>
                <a:gd name="T19" fmla="*/ 40 h 76"/>
                <a:gd name="T20" fmla="*/ 25 w 108"/>
                <a:gd name="T21" fmla="*/ 31 h 76"/>
                <a:gd name="T22" fmla="*/ 19 w 108"/>
                <a:gd name="T23" fmla="*/ 30 h 76"/>
                <a:gd name="T24" fmla="*/ 2 w 108"/>
                <a:gd name="T25" fmla="*/ 11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8" h="76">
                  <a:moveTo>
                    <a:pt x="2" y="11"/>
                  </a:moveTo>
                  <a:cubicBezTo>
                    <a:pt x="4" y="3"/>
                    <a:pt x="15" y="0"/>
                    <a:pt x="26" y="3"/>
                  </a:cubicBezTo>
                  <a:cubicBezTo>
                    <a:pt x="29" y="3"/>
                    <a:pt x="32" y="4"/>
                    <a:pt x="35" y="6"/>
                  </a:cubicBezTo>
                  <a:cubicBezTo>
                    <a:pt x="42" y="9"/>
                    <a:pt x="50" y="9"/>
                    <a:pt x="57" y="6"/>
                  </a:cubicBezTo>
                  <a:cubicBezTo>
                    <a:pt x="61" y="4"/>
                    <a:pt x="65" y="4"/>
                    <a:pt x="68" y="4"/>
                  </a:cubicBezTo>
                  <a:cubicBezTo>
                    <a:pt x="85" y="4"/>
                    <a:pt x="100" y="16"/>
                    <a:pt x="106" y="28"/>
                  </a:cubicBezTo>
                  <a:cubicBezTo>
                    <a:pt x="108" y="32"/>
                    <a:pt x="106" y="35"/>
                    <a:pt x="106" y="38"/>
                  </a:cubicBezTo>
                  <a:cubicBezTo>
                    <a:pt x="107" y="76"/>
                    <a:pt x="88" y="71"/>
                    <a:pt x="68" y="71"/>
                  </a:cubicBezTo>
                  <a:cubicBezTo>
                    <a:pt x="47" y="71"/>
                    <a:pt x="32" y="59"/>
                    <a:pt x="32" y="42"/>
                  </a:cubicBezTo>
                  <a:cubicBezTo>
                    <a:pt x="32" y="41"/>
                    <a:pt x="32" y="41"/>
                    <a:pt x="32" y="40"/>
                  </a:cubicBezTo>
                  <a:cubicBezTo>
                    <a:pt x="33" y="35"/>
                    <a:pt x="30" y="31"/>
                    <a:pt x="25" y="31"/>
                  </a:cubicBezTo>
                  <a:cubicBezTo>
                    <a:pt x="23" y="31"/>
                    <a:pt x="21" y="30"/>
                    <a:pt x="19" y="30"/>
                  </a:cubicBezTo>
                  <a:cubicBezTo>
                    <a:pt x="8" y="27"/>
                    <a:pt x="0" y="19"/>
                    <a:pt x="2" y="11"/>
                  </a:cubicBezTo>
                  <a:close/>
                </a:path>
              </a:pathLst>
            </a:custGeom>
            <a:solidFill>
              <a:srgbClr val="3B3B8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4" name="Freeform 56"/>
            <p:cNvSpPr/>
            <p:nvPr/>
          </p:nvSpPr>
          <p:spPr bwMode="auto">
            <a:xfrm>
              <a:off x="1419166" y="2335557"/>
              <a:ext cx="780929" cy="1133024"/>
            </a:xfrm>
            <a:custGeom>
              <a:avLst/>
              <a:gdLst>
                <a:gd name="T0" fmla="*/ 346 w 346"/>
                <a:gd name="T1" fmla="*/ 502 h 502"/>
                <a:gd name="T2" fmla="*/ 277 w 346"/>
                <a:gd name="T3" fmla="*/ 26 h 502"/>
                <a:gd name="T4" fmla="*/ 95 w 346"/>
                <a:gd name="T5" fmla="*/ 0 h 502"/>
                <a:gd name="T6" fmla="*/ 0 w 346"/>
                <a:gd name="T7" fmla="*/ 497 h 502"/>
                <a:gd name="T8" fmla="*/ 346 w 346"/>
                <a:gd name="T9" fmla="*/ 502 h 502"/>
              </a:gdLst>
              <a:ahLst/>
              <a:cxnLst>
                <a:cxn ang="0">
                  <a:pos x="T0" y="T1"/>
                </a:cxn>
                <a:cxn ang="0">
                  <a:pos x="T2" y="T3"/>
                </a:cxn>
                <a:cxn ang="0">
                  <a:pos x="T4" y="T5"/>
                </a:cxn>
                <a:cxn ang="0">
                  <a:pos x="T6" y="T7"/>
                </a:cxn>
                <a:cxn ang="0">
                  <a:pos x="T8" y="T9"/>
                </a:cxn>
              </a:cxnLst>
              <a:rect l="0" t="0" r="r" b="b"/>
              <a:pathLst>
                <a:path w="346" h="502">
                  <a:moveTo>
                    <a:pt x="346" y="502"/>
                  </a:moveTo>
                  <a:lnTo>
                    <a:pt x="277" y="26"/>
                  </a:lnTo>
                  <a:lnTo>
                    <a:pt x="95" y="0"/>
                  </a:lnTo>
                  <a:lnTo>
                    <a:pt x="0" y="497"/>
                  </a:lnTo>
                  <a:lnTo>
                    <a:pt x="346" y="502"/>
                  </a:ln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5" name="Freeform 57"/>
            <p:cNvSpPr/>
            <p:nvPr/>
          </p:nvSpPr>
          <p:spPr bwMode="auto">
            <a:xfrm>
              <a:off x="1739663" y="3441497"/>
              <a:ext cx="503316" cy="1771761"/>
            </a:xfrm>
            <a:custGeom>
              <a:avLst/>
              <a:gdLst>
                <a:gd name="T0" fmla="*/ 0 w 94"/>
                <a:gd name="T1" fmla="*/ 7 h 331"/>
                <a:gd name="T2" fmla="*/ 85 w 94"/>
                <a:gd name="T3" fmla="*/ 0 h 331"/>
                <a:gd name="T4" fmla="*/ 72 w 94"/>
                <a:gd name="T5" fmla="*/ 175 h 331"/>
                <a:gd name="T6" fmla="*/ 41 w 94"/>
                <a:gd name="T7" fmla="*/ 328 h 331"/>
                <a:gd name="T8" fmla="*/ 25 w 94"/>
                <a:gd name="T9" fmla="*/ 330 h 331"/>
                <a:gd name="T10" fmla="*/ 22 w 94"/>
                <a:gd name="T11" fmla="*/ 237 h 331"/>
                <a:gd name="T12" fmla="*/ 18 w 94"/>
                <a:gd name="T13" fmla="*/ 126 h 331"/>
                <a:gd name="T14" fmla="*/ 0 w 94"/>
                <a:gd name="T15" fmla="*/ 7 h 3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331">
                  <a:moveTo>
                    <a:pt x="0" y="7"/>
                  </a:moveTo>
                  <a:cubicBezTo>
                    <a:pt x="85" y="0"/>
                    <a:pt x="85" y="0"/>
                    <a:pt x="85" y="0"/>
                  </a:cubicBezTo>
                  <a:cubicBezTo>
                    <a:pt x="85" y="0"/>
                    <a:pt x="94" y="62"/>
                    <a:pt x="72" y="175"/>
                  </a:cubicBezTo>
                  <a:cubicBezTo>
                    <a:pt x="62" y="227"/>
                    <a:pt x="41" y="328"/>
                    <a:pt x="41" y="328"/>
                  </a:cubicBezTo>
                  <a:cubicBezTo>
                    <a:pt x="36" y="331"/>
                    <a:pt x="30" y="331"/>
                    <a:pt x="25" y="330"/>
                  </a:cubicBezTo>
                  <a:cubicBezTo>
                    <a:pt x="25" y="330"/>
                    <a:pt x="23" y="285"/>
                    <a:pt x="22" y="237"/>
                  </a:cubicBezTo>
                  <a:cubicBezTo>
                    <a:pt x="21" y="191"/>
                    <a:pt x="21" y="142"/>
                    <a:pt x="18" y="126"/>
                  </a:cubicBezTo>
                  <a:cubicBezTo>
                    <a:pt x="12" y="93"/>
                    <a:pt x="0" y="7"/>
                    <a:pt x="0" y="7"/>
                  </a:cubicBezTo>
                  <a:close/>
                </a:path>
              </a:pathLst>
            </a:custGeom>
            <a:solidFill>
              <a:srgbClr val="4D4C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6" name="Freeform 58"/>
            <p:cNvSpPr/>
            <p:nvPr/>
          </p:nvSpPr>
          <p:spPr bwMode="auto">
            <a:xfrm>
              <a:off x="1739663" y="3479866"/>
              <a:ext cx="288899" cy="801242"/>
            </a:xfrm>
            <a:custGeom>
              <a:avLst/>
              <a:gdLst>
                <a:gd name="T0" fmla="*/ 54 w 54"/>
                <a:gd name="T1" fmla="*/ 6 h 150"/>
                <a:gd name="T2" fmla="*/ 33 w 54"/>
                <a:gd name="T3" fmla="*/ 39 h 150"/>
                <a:gd name="T4" fmla="*/ 25 w 54"/>
                <a:gd name="T5" fmla="*/ 143 h 150"/>
                <a:gd name="T6" fmla="*/ 18 w 54"/>
                <a:gd name="T7" fmla="*/ 119 h 150"/>
                <a:gd name="T8" fmla="*/ 0 w 54"/>
                <a:gd name="T9" fmla="*/ 0 h 150"/>
                <a:gd name="T10" fmla="*/ 54 w 54"/>
                <a:gd name="T11" fmla="*/ 6 h 150"/>
              </a:gdLst>
              <a:ahLst/>
              <a:cxnLst>
                <a:cxn ang="0">
                  <a:pos x="T0" y="T1"/>
                </a:cxn>
                <a:cxn ang="0">
                  <a:pos x="T2" y="T3"/>
                </a:cxn>
                <a:cxn ang="0">
                  <a:pos x="T4" y="T5"/>
                </a:cxn>
                <a:cxn ang="0">
                  <a:pos x="T6" y="T7"/>
                </a:cxn>
                <a:cxn ang="0">
                  <a:pos x="T8" y="T9"/>
                </a:cxn>
                <a:cxn ang="0">
                  <a:pos x="T10" y="T11"/>
                </a:cxn>
              </a:cxnLst>
              <a:rect l="0" t="0" r="r" b="b"/>
              <a:pathLst>
                <a:path w="54" h="150">
                  <a:moveTo>
                    <a:pt x="54" y="6"/>
                  </a:moveTo>
                  <a:cubicBezTo>
                    <a:pt x="43" y="10"/>
                    <a:pt x="31" y="21"/>
                    <a:pt x="33" y="39"/>
                  </a:cubicBezTo>
                  <a:cubicBezTo>
                    <a:pt x="36" y="73"/>
                    <a:pt x="39" y="121"/>
                    <a:pt x="25" y="143"/>
                  </a:cubicBezTo>
                  <a:cubicBezTo>
                    <a:pt x="20" y="150"/>
                    <a:pt x="21" y="135"/>
                    <a:pt x="18" y="119"/>
                  </a:cubicBezTo>
                  <a:cubicBezTo>
                    <a:pt x="12" y="86"/>
                    <a:pt x="0" y="0"/>
                    <a:pt x="0" y="0"/>
                  </a:cubicBezTo>
                  <a:lnTo>
                    <a:pt x="54" y="6"/>
                  </a:lnTo>
                  <a:close/>
                </a:path>
              </a:pathLst>
            </a:custGeom>
            <a:solidFill>
              <a:srgbClr val="3B3B8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7" name="Freeform 59"/>
            <p:cNvSpPr/>
            <p:nvPr/>
          </p:nvSpPr>
          <p:spPr bwMode="auto">
            <a:xfrm>
              <a:off x="1290515" y="3324132"/>
              <a:ext cx="695162" cy="1877841"/>
            </a:xfrm>
            <a:custGeom>
              <a:avLst/>
              <a:gdLst>
                <a:gd name="T0" fmla="*/ 101 w 130"/>
                <a:gd name="T1" fmla="*/ 30 h 351"/>
                <a:gd name="T2" fmla="*/ 92 w 130"/>
                <a:gd name="T3" fmla="*/ 215 h 351"/>
                <a:gd name="T4" fmla="*/ 14 w 130"/>
                <a:gd name="T5" fmla="*/ 350 h 351"/>
                <a:gd name="T6" fmla="*/ 0 w 130"/>
                <a:gd name="T7" fmla="*/ 346 h 351"/>
                <a:gd name="T8" fmla="*/ 16 w 130"/>
                <a:gd name="T9" fmla="*/ 280 h 351"/>
                <a:gd name="T10" fmla="*/ 37 w 130"/>
                <a:gd name="T11" fmla="*/ 168 h 351"/>
                <a:gd name="T12" fmla="*/ 24 w 130"/>
                <a:gd name="T13" fmla="*/ 30 h 351"/>
                <a:gd name="T14" fmla="*/ 101 w 130"/>
                <a:gd name="T15" fmla="*/ 30 h 3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0" h="351">
                  <a:moveTo>
                    <a:pt x="101" y="30"/>
                  </a:moveTo>
                  <a:cubicBezTo>
                    <a:pt x="110" y="77"/>
                    <a:pt x="130" y="148"/>
                    <a:pt x="92" y="215"/>
                  </a:cubicBezTo>
                  <a:cubicBezTo>
                    <a:pt x="54" y="281"/>
                    <a:pt x="14" y="350"/>
                    <a:pt x="14" y="350"/>
                  </a:cubicBezTo>
                  <a:cubicBezTo>
                    <a:pt x="9" y="351"/>
                    <a:pt x="4" y="349"/>
                    <a:pt x="0" y="346"/>
                  </a:cubicBezTo>
                  <a:cubicBezTo>
                    <a:pt x="0" y="346"/>
                    <a:pt x="7" y="315"/>
                    <a:pt x="16" y="280"/>
                  </a:cubicBezTo>
                  <a:cubicBezTo>
                    <a:pt x="27" y="240"/>
                    <a:pt x="41" y="192"/>
                    <a:pt x="37" y="168"/>
                  </a:cubicBezTo>
                  <a:cubicBezTo>
                    <a:pt x="30" y="121"/>
                    <a:pt x="21" y="60"/>
                    <a:pt x="24" y="30"/>
                  </a:cubicBezTo>
                  <a:cubicBezTo>
                    <a:pt x="26" y="0"/>
                    <a:pt x="97" y="5"/>
                    <a:pt x="101" y="30"/>
                  </a:cubicBezTo>
                  <a:close/>
                </a:path>
              </a:pathLst>
            </a:custGeom>
            <a:solidFill>
              <a:srgbClr val="4D4C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8" name="Freeform 60"/>
            <p:cNvSpPr/>
            <p:nvPr/>
          </p:nvSpPr>
          <p:spPr bwMode="auto">
            <a:xfrm>
              <a:off x="1407881" y="2335557"/>
              <a:ext cx="808014" cy="1196221"/>
            </a:xfrm>
            <a:custGeom>
              <a:avLst/>
              <a:gdLst>
                <a:gd name="T0" fmla="*/ 147 w 151"/>
                <a:gd name="T1" fmla="*/ 215 h 224"/>
                <a:gd name="T2" fmla="*/ 151 w 151"/>
                <a:gd name="T3" fmla="*/ 207 h 224"/>
                <a:gd name="T4" fmla="*/ 119 w 151"/>
                <a:gd name="T5" fmla="*/ 11 h 224"/>
                <a:gd name="T6" fmla="*/ 42 w 151"/>
                <a:gd name="T7" fmla="*/ 0 h 224"/>
                <a:gd name="T8" fmla="*/ 0 w 151"/>
                <a:gd name="T9" fmla="*/ 207 h 224"/>
                <a:gd name="T10" fmla="*/ 6 w 151"/>
                <a:gd name="T11" fmla="*/ 216 h 224"/>
                <a:gd name="T12" fmla="*/ 94 w 151"/>
                <a:gd name="T13" fmla="*/ 224 h 224"/>
                <a:gd name="T14" fmla="*/ 147 w 151"/>
                <a:gd name="T15" fmla="*/ 215 h 2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1" h="224">
                  <a:moveTo>
                    <a:pt x="147" y="215"/>
                  </a:moveTo>
                  <a:cubicBezTo>
                    <a:pt x="150" y="213"/>
                    <a:pt x="151" y="210"/>
                    <a:pt x="151" y="207"/>
                  </a:cubicBezTo>
                  <a:cubicBezTo>
                    <a:pt x="119" y="11"/>
                    <a:pt x="119" y="11"/>
                    <a:pt x="119" y="11"/>
                  </a:cubicBezTo>
                  <a:cubicBezTo>
                    <a:pt x="42" y="0"/>
                    <a:pt x="42" y="0"/>
                    <a:pt x="42" y="0"/>
                  </a:cubicBezTo>
                  <a:cubicBezTo>
                    <a:pt x="0" y="207"/>
                    <a:pt x="0" y="207"/>
                    <a:pt x="0" y="207"/>
                  </a:cubicBezTo>
                  <a:cubicBezTo>
                    <a:pt x="0" y="211"/>
                    <a:pt x="2" y="215"/>
                    <a:pt x="6" y="216"/>
                  </a:cubicBezTo>
                  <a:cubicBezTo>
                    <a:pt x="20" y="218"/>
                    <a:pt x="55" y="224"/>
                    <a:pt x="94" y="224"/>
                  </a:cubicBezTo>
                  <a:cubicBezTo>
                    <a:pt x="123" y="224"/>
                    <a:pt x="139" y="218"/>
                    <a:pt x="147" y="215"/>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39" name="Freeform 61"/>
            <p:cNvSpPr/>
            <p:nvPr/>
          </p:nvSpPr>
          <p:spPr bwMode="auto">
            <a:xfrm>
              <a:off x="1355969" y="2335557"/>
              <a:ext cx="458175" cy="1534774"/>
            </a:xfrm>
            <a:custGeom>
              <a:avLst/>
              <a:gdLst>
                <a:gd name="T0" fmla="*/ 76 w 86"/>
                <a:gd name="T1" fmla="*/ 11 h 287"/>
                <a:gd name="T2" fmla="*/ 80 w 86"/>
                <a:gd name="T3" fmla="*/ 51 h 287"/>
                <a:gd name="T4" fmla="*/ 84 w 86"/>
                <a:gd name="T5" fmla="*/ 162 h 287"/>
                <a:gd name="T6" fmla="*/ 61 w 86"/>
                <a:gd name="T7" fmla="*/ 273 h 287"/>
                <a:gd name="T8" fmla="*/ 1 w 86"/>
                <a:gd name="T9" fmla="*/ 255 h 287"/>
                <a:gd name="T10" fmla="*/ 18 w 86"/>
                <a:gd name="T11" fmla="*/ 105 h 287"/>
                <a:gd name="T12" fmla="*/ 55 w 86"/>
                <a:gd name="T13" fmla="*/ 0 h 287"/>
                <a:gd name="T14" fmla="*/ 67 w 86"/>
                <a:gd name="T15" fmla="*/ 1 h 287"/>
                <a:gd name="T16" fmla="*/ 76 w 86"/>
                <a:gd name="T17" fmla="*/ 1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6" h="287">
                  <a:moveTo>
                    <a:pt x="76" y="11"/>
                  </a:moveTo>
                  <a:cubicBezTo>
                    <a:pt x="76" y="25"/>
                    <a:pt x="79" y="37"/>
                    <a:pt x="80" y="51"/>
                  </a:cubicBezTo>
                  <a:cubicBezTo>
                    <a:pt x="83" y="80"/>
                    <a:pt x="83" y="118"/>
                    <a:pt x="84" y="162"/>
                  </a:cubicBezTo>
                  <a:cubicBezTo>
                    <a:pt x="86" y="238"/>
                    <a:pt x="81" y="258"/>
                    <a:pt x="61" y="273"/>
                  </a:cubicBezTo>
                  <a:cubicBezTo>
                    <a:pt x="41" y="287"/>
                    <a:pt x="2" y="263"/>
                    <a:pt x="1" y="255"/>
                  </a:cubicBezTo>
                  <a:cubicBezTo>
                    <a:pt x="0" y="247"/>
                    <a:pt x="8" y="148"/>
                    <a:pt x="18" y="105"/>
                  </a:cubicBezTo>
                  <a:cubicBezTo>
                    <a:pt x="28" y="62"/>
                    <a:pt x="55" y="0"/>
                    <a:pt x="55" y="0"/>
                  </a:cubicBezTo>
                  <a:cubicBezTo>
                    <a:pt x="67" y="1"/>
                    <a:pt x="67" y="1"/>
                    <a:pt x="67" y="1"/>
                  </a:cubicBezTo>
                  <a:cubicBezTo>
                    <a:pt x="72" y="2"/>
                    <a:pt x="76" y="6"/>
                    <a:pt x="76" y="11"/>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0" name="Freeform 62"/>
            <p:cNvSpPr/>
            <p:nvPr/>
          </p:nvSpPr>
          <p:spPr bwMode="auto">
            <a:xfrm>
              <a:off x="1403366" y="2335557"/>
              <a:ext cx="320497" cy="796728"/>
            </a:xfrm>
            <a:custGeom>
              <a:avLst/>
              <a:gdLst>
                <a:gd name="T0" fmla="*/ 29 w 60"/>
                <a:gd name="T1" fmla="*/ 102 h 149"/>
                <a:gd name="T2" fmla="*/ 60 w 60"/>
                <a:gd name="T3" fmla="*/ 24 h 149"/>
                <a:gd name="T4" fmla="*/ 46 w 60"/>
                <a:gd name="T5" fmla="*/ 0 h 149"/>
                <a:gd name="T6" fmla="*/ 9 w 60"/>
                <a:gd name="T7" fmla="*/ 106 h 149"/>
                <a:gd name="T8" fmla="*/ 29 w 60"/>
                <a:gd name="T9" fmla="*/ 102 h 149"/>
              </a:gdLst>
              <a:ahLst/>
              <a:cxnLst>
                <a:cxn ang="0">
                  <a:pos x="T0" y="T1"/>
                </a:cxn>
                <a:cxn ang="0">
                  <a:pos x="T2" y="T3"/>
                </a:cxn>
                <a:cxn ang="0">
                  <a:pos x="T4" y="T5"/>
                </a:cxn>
                <a:cxn ang="0">
                  <a:pos x="T6" y="T7"/>
                </a:cxn>
                <a:cxn ang="0">
                  <a:pos x="T8" y="T9"/>
                </a:cxn>
              </a:cxnLst>
              <a:rect l="0" t="0" r="r" b="b"/>
              <a:pathLst>
                <a:path w="60" h="149">
                  <a:moveTo>
                    <a:pt x="29" y="102"/>
                  </a:moveTo>
                  <a:cubicBezTo>
                    <a:pt x="39" y="87"/>
                    <a:pt x="60" y="38"/>
                    <a:pt x="60" y="24"/>
                  </a:cubicBezTo>
                  <a:cubicBezTo>
                    <a:pt x="46" y="0"/>
                    <a:pt x="46" y="0"/>
                    <a:pt x="46" y="0"/>
                  </a:cubicBezTo>
                  <a:cubicBezTo>
                    <a:pt x="46" y="0"/>
                    <a:pt x="19" y="63"/>
                    <a:pt x="9" y="106"/>
                  </a:cubicBezTo>
                  <a:cubicBezTo>
                    <a:pt x="0" y="149"/>
                    <a:pt x="19" y="119"/>
                    <a:pt x="29" y="102"/>
                  </a:cubicBezTo>
                  <a:close/>
                </a:path>
              </a:pathLst>
            </a:custGeom>
            <a:solidFill>
              <a:srgbClr val="9797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1" name="Freeform 63"/>
            <p:cNvSpPr/>
            <p:nvPr/>
          </p:nvSpPr>
          <p:spPr bwMode="auto">
            <a:xfrm>
              <a:off x="1931509" y="2378440"/>
              <a:ext cx="381437" cy="1442236"/>
            </a:xfrm>
            <a:custGeom>
              <a:avLst/>
              <a:gdLst>
                <a:gd name="T0" fmla="*/ 0 w 71"/>
                <a:gd name="T1" fmla="*/ 0 h 270"/>
                <a:gd name="T2" fmla="*/ 11 w 71"/>
                <a:gd name="T3" fmla="*/ 75 h 270"/>
                <a:gd name="T4" fmla="*/ 31 w 71"/>
                <a:gd name="T5" fmla="*/ 258 h 270"/>
                <a:gd name="T6" fmla="*/ 71 w 71"/>
                <a:gd name="T7" fmla="*/ 227 h 270"/>
                <a:gd name="T8" fmla="*/ 53 w 71"/>
                <a:gd name="T9" fmla="*/ 154 h 270"/>
                <a:gd name="T10" fmla="*/ 33 w 71"/>
                <a:gd name="T11" fmla="*/ 16 h 270"/>
                <a:gd name="T12" fmla="*/ 24 w 71"/>
                <a:gd name="T13" fmla="*/ 3 h 270"/>
                <a:gd name="T14" fmla="*/ 0 w 71"/>
                <a:gd name="T15" fmla="*/ 0 h 2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1" h="270">
                  <a:moveTo>
                    <a:pt x="0" y="0"/>
                  </a:moveTo>
                  <a:cubicBezTo>
                    <a:pt x="0" y="0"/>
                    <a:pt x="10" y="33"/>
                    <a:pt x="11" y="75"/>
                  </a:cubicBezTo>
                  <a:cubicBezTo>
                    <a:pt x="12" y="119"/>
                    <a:pt x="16" y="218"/>
                    <a:pt x="31" y="258"/>
                  </a:cubicBezTo>
                  <a:cubicBezTo>
                    <a:pt x="36" y="270"/>
                    <a:pt x="71" y="237"/>
                    <a:pt x="71" y="227"/>
                  </a:cubicBezTo>
                  <a:cubicBezTo>
                    <a:pt x="71" y="217"/>
                    <a:pt x="61" y="184"/>
                    <a:pt x="53" y="154"/>
                  </a:cubicBezTo>
                  <a:cubicBezTo>
                    <a:pt x="46" y="129"/>
                    <a:pt x="36" y="47"/>
                    <a:pt x="33" y="16"/>
                  </a:cubicBezTo>
                  <a:cubicBezTo>
                    <a:pt x="32" y="9"/>
                    <a:pt x="31" y="4"/>
                    <a:pt x="24" y="3"/>
                  </a:cubicBezTo>
                  <a:lnTo>
                    <a:pt x="0" y="0"/>
                  </a:ln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2" name="Freeform 64"/>
            <p:cNvSpPr/>
            <p:nvPr/>
          </p:nvSpPr>
          <p:spPr bwMode="auto">
            <a:xfrm>
              <a:off x="1649382" y="1954120"/>
              <a:ext cx="250529" cy="257300"/>
            </a:xfrm>
            <a:custGeom>
              <a:avLst/>
              <a:gdLst>
                <a:gd name="T0" fmla="*/ 10 w 47"/>
                <a:gd name="T1" fmla="*/ 1 h 48"/>
                <a:gd name="T2" fmla="*/ 2 w 47"/>
                <a:gd name="T3" fmla="*/ 9 h 48"/>
                <a:gd name="T4" fmla="*/ 2 w 47"/>
                <a:gd name="T5" fmla="*/ 20 h 48"/>
                <a:gd name="T6" fmla="*/ 14 w 47"/>
                <a:gd name="T7" fmla="*/ 35 h 48"/>
                <a:gd name="T8" fmla="*/ 25 w 47"/>
                <a:gd name="T9" fmla="*/ 47 h 48"/>
                <a:gd name="T10" fmla="*/ 47 w 47"/>
                <a:gd name="T11" fmla="*/ 36 h 48"/>
                <a:gd name="T12" fmla="*/ 10 w 47"/>
                <a:gd name="T13" fmla="*/ 1 h 48"/>
              </a:gdLst>
              <a:ahLst/>
              <a:cxnLst>
                <a:cxn ang="0">
                  <a:pos x="T0" y="T1"/>
                </a:cxn>
                <a:cxn ang="0">
                  <a:pos x="T2" y="T3"/>
                </a:cxn>
                <a:cxn ang="0">
                  <a:pos x="T4" y="T5"/>
                </a:cxn>
                <a:cxn ang="0">
                  <a:pos x="T6" y="T7"/>
                </a:cxn>
                <a:cxn ang="0">
                  <a:pos x="T8" y="T9"/>
                </a:cxn>
                <a:cxn ang="0">
                  <a:pos x="T10" y="T11"/>
                </a:cxn>
                <a:cxn ang="0">
                  <a:pos x="T12" y="T13"/>
                </a:cxn>
              </a:cxnLst>
              <a:rect l="0" t="0" r="r" b="b"/>
              <a:pathLst>
                <a:path w="47" h="48">
                  <a:moveTo>
                    <a:pt x="10" y="1"/>
                  </a:moveTo>
                  <a:cubicBezTo>
                    <a:pt x="5" y="0"/>
                    <a:pt x="1" y="4"/>
                    <a:pt x="2" y="9"/>
                  </a:cubicBezTo>
                  <a:cubicBezTo>
                    <a:pt x="3" y="12"/>
                    <a:pt x="3" y="16"/>
                    <a:pt x="2" y="20"/>
                  </a:cubicBezTo>
                  <a:cubicBezTo>
                    <a:pt x="0" y="29"/>
                    <a:pt x="10" y="32"/>
                    <a:pt x="14" y="35"/>
                  </a:cubicBezTo>
                  <a:cubicBezTo>
                    <a:pt x="18" y="39"/>
                    <a:pt x="19" y="47"/>
                    <a:pt x="25" y="47"/>
                  </a:cubicBezTo>
                  <a:cubicBezTo>
                    <a:pt x="32" y="48"/>
                    <a:pt x="47" y="42"/>
                    <a:pt x="47" y="36"/>
                  </a:cubicBezTo>
                  <a:cubicBezTo>
                    <a:pt x="47" y="31"/>
                    <a:pt x="26" y="5"/>
                    <a:pt x="10" y="1"/>
                  </a:cubicBezTo>
                  <a:close/>
                </a:path>
              </a:pathLst>
            </a:custGeom>
            <a:solidFill>
              <a:srgbClr val="3B3B8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3" name="Freeform 65"/>
            <p:cNvSpPr/>
            <p:nvPr/>
          </p:nvSpPr>
          <p:spPr bwMode="auto">
            <a:xfrm>
              <a:off x="1746434" y="1895438"/>
              <a:ext cx="325011" cy="561998"/>
            </a:xfrm>
            <a:custGeom>
              <a:avLst/>
              <a:gdLst>
                <a:gd name="T0" fmla="*/ 24 w 61"/>
                <a:gd name="T1" fmla="*/ 0 h 105"/>
                <a:gd name="T2" fmla="*/ 0 w 61"/>
                <a:gd name="T3" fmla="*/ 35 h 105"/>
                <a:gd name="T4" fmla="*/ 7 w 61"/>
                <a:gd name="T5" fmla="*/ 58 h 105"/>
                <a:gd name="T6" fmla="*/ 9 w 61"/>
                <a:gd name="T7" fmla="*/ 71 h 105"/>
                <a:gd name="T8" fmla="*/ 5 w 61"/>
                <a:gd name="T9" fmla="*/ 84 h 105"/>
                <a:gd name="T10" fmla="*/ 16 w 61"/>
                <a:gd name="T11" fmla="*/ 104 h 105"/>
                <a:gd name="T12" fmla="*/ 29 w 61"/>
                <a:gd name="T13" fmla="*/ 102 h 105"/>
                <a:gd name="T14" fmla="*/ 33 w 61"/>
                <a:gd name="T15" fmla="*/ 88 h 105"/>
                <a:gd name="T16" fmla="*/ 32 w 61"/>
                <a:gd name="T17" fmla="*/ 85 h 105"/>
                <a:gd name="T18" fmla="*/ 38 w 61"/>
                <a:gd name="T19" fmla="*/ 74 h 105"/>
                <a:gd name="T20" fmla="*/ 57 w 61"/>
                <a:gd name="T21" fmla="*/ 35 h 105"/>
                <a:gd name="T22" fmla="*/ 24 w 61"/>
                <a:gd name="T23"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1" h="105">
                  <a:moveTo>
                    <a:pt x="24" y="0"/>
                  </a:moveTo>
                  <a:cubicBezTo>
                    <a:pt x="7" y="0"/>
                    <a:pt x="1" y="13"/>
                    <a:pt x="0" y="35"/>
                  </a:cubicBezTo>
                  <a:cubicBezTo>
                    <a:pt x="0" y="44"/>
                    <a:pt x="4" y="52"/>
                    <a:pt x="7" y="58"/>
                  </a:cubicBezTo>
                  <a:cubicBezTo>
                    <a:pt x="9" y="62"/>
                    <a:pt x="10" y="66"/>
                    <a:pt x="9" y="71"/>
                  </a:cubicBezTo>
                  <a:cubicBezTo>
                    <a:pt x="5" y="84"/>
                    <a:pt x="5" y="84"/>
                    <a:pt x="5" y="84"/>
                  </a:cubicBezTo>
                  <a:cubicBezTo>
                    <a:pt x="2" y="95"/>
                    <a:pt x="8" y="102"/>
                    <a:pt x="16" y="104"/>
                  </a:cubicBezTo>
                  <a:cubicBezTo>
                    <a:pt x="21" y="105"/>
                    <a:pt x="25" y="105"/>
                    <a:pt x="29" y="102"/>
                  </a:cubicBezTo>
                  <a:cubicBezTo>
                    <a:pt x="33" y="99"/>
                    <a:pt x="34" y="93"/>
                    <a:pt x="33" y="88"/>
                  </a:cubicBezTo>
                  <a:cubicBezTo>
                    <a:pt x="32" y="85"/>
                    <a:pt x="32" y="85"/>
                    <a:pt x="32" y="85"/>
                  </a:cubicBezTo>
                  <a:cubicBezTo>
                    <a:pt x="31" y="80"/>
                    <a:pt x="33" y="75"/>
                    <a:pt x="38" y="74"/>
                  </a:cubicBezTo>
                  <a:cubicBezTo>
                    <a:pt x="52" y="71"/>
                    <a:pt x="54" y="57"/>
                    <a:pt x="57" y="35"/>
                  </a:cubicBezTo>
                  <a:cubicBezTo>
                    <a:pt x="61" y="13"/>
                    <a:pt x="42" y="0"/>
                    <a:pt x="24" y="0"/>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4" name="Freeform 66"/>
            <p:cNvSpPr/>
            <p:nvPr/>
          </p:nvSpPr>
          <p:spPr bwMode="auto">
            <a:xfrm>
              <a:off x="1703550" y="1832241"/>
              <a:ext cx="363380" cy="282128"/>
            </a:xfrm>
            <a:custGeom>
              <a:avLst/>
              <a:gdLst>
                <a:gd name="T0" fmla="*/ 68 w 68"/>
                <a:gd name="T1" fmla="*/ 16 h 53"/>
                <a:gd name="T2" fmla="*/ 57 w 68"/>
                <a:gd name="T3" fmla="*/ 4 h 53"/>
                <a:gd name="T4" fmla="*/ 50 w 68"/>
                <a:gd name="T5" fmla="*/ 3 h 53"/>
                <a:gd name="T6" fmla="*/ 32 w 68"/>
                <a:gd name="T7" fmla="*/ 0 h 53"/>
                <a:gd name="T8" fmla="*/ 3 w 68"/>
                <a:gd name="T9" fmla="*/ 24 h 53"/>
                <a:gd name="T10" fmla="*/ 5 w 68"/>
                <a:gd name="T11" fmla="*/ 35 h 53"/>
                <a:gd name="T12" fmla="*/ 15 w 68"/>
                <a:gd name="T13" fmla="*/ 45 h 53"/>
                <a:gd name="T14" fmla="*/ 17 w 68"/>
                <a:gd name="T15" fmla="*/ 45 h 53"/>
                <a:gd name="T16" fmla="*/ 18 w 68"/>
                <a:gd name="T17" fmla="*/ 47 h 53"/>
                <a:gd name="T18" fmla="*/ 20 w 68"/>
                <a:gd name="T19" fmla="*/ 53 h 53"/>
                <a:gd name="T20" fmla="*/ 22 w 68"/>
                <a:gd name="T21" fmla="*/ 44 h 53"/>
                <a:gd name="T22" fmla="*/ 31 w 68"/>
                <a:gd name="T23" fmla="*/ 32 h 53"/>
                <a:gd name="T24" fmla="*/ 47 w 68"/>
                <a:gd name="T25" fmla="*/ 28 h 53"/>
                <a:gd name="T26" fmla="*/ 52 w 68"/>
                <a:gd name="T27" fmla="*/ 30 h 53"/>
                <a:gd name="T28" fmla="*/ 67 w 68"/>
                <a:gd name="T29" fmla="*/ 20 h 53"/>
                <a:gd name="T30" fmla="*/ 68 w 68"/>
                <a:gd name="T31" fmla="*/ 16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8" h="53">
                  <a:moveTo>
                    <a:pt x="68" y="16"/>
                  </a:moveTo>
                  <a:cubicBezTo>
                    <a:pt x="68" y="10"/>
                    <a:pt x="63" y="5"/>
                    <a:pt x="57" y="4"/>
                  </a:cubicBezTo>
                  <a:cubicBezTo>
                    <a:pt x="56" y="4"/>
                    <a:pt x="52" y="4"/>
                    <a:pt x="50" y="3"/>
                  </a:cubicBezTo>
                  <a:cubicBezTo>
                    <a:pt x="32" y="0"/>
                    <a:pt x="32" y="0"/>
                    <a:pt x="32" y="0"/>
                  </a:cubicBezTo>
                  <a:cubicBezTo>
                    <a:pt x="20" y="0"/>
                    <a:pt x="0" y="7"/>
                    <a:pt x="3" y="24"/>
                  </a:cubicBezTo>
                  <a:cubicBezTo>
                    <a:pt x="5" y="35"/>
                    <a:pt x="5" y="35"/>
                    <a:pt x="5" y="35"/>
                  </a:cubicBezTo>
                  <a:cubicBezTo>
                    <a:pt x="6" y="40"/>
                    <a:pt x="10" y="44"/>
                    <a:pt x="15" y="45"/>
                  </a:cubicBezTo>
                  <a:cubicBezTo>
                    <a:pt x="15" y="45"/>
                    <a:pt x="16" y="45"/>
                    <a:pt x="17" y="45"/>
                  </a:cubicBezTo>
                  <a:cubicBezTo>
                    <a:pt x="17" y="45"/>
                    <a:pt x="18" y="46"/>
                    <a:pt x="18" y="47"/>
                  </a:cubicBezTo>
                  <a:cubicBezTo>
                    <a:pt x="20" y="53"/>
                    <a:pt x="20" y="53"/>
                    <a:pt x="20" y="53"/>
                  </a:cubicBezTo>
                  <a:cubicBezTo>
                    <a:pt x="22" y="53"/>
                    <a:pt x="22" y="46"/>
                    <a:pt x="22" y="44"/>
                  </a:cubicBezTo>
                  <a:cubicBezTo>
                    <a:pt x="22" y="38"/>
                    <a:pt x="26" y="34"/>
                    <a:pt x="31" y="32"/>
                  </a:cubicBezTo>
                  <a:cubicBezTo>
                    <a:pt x="38" y="31"/>
                    <a:pt x="40" y="26"/>
                    <a:pt x="47" y="28"/>
                  </a:cubicBezTo>
                  <a:cubicBezTo>
                    <a:pt x="52" y="30"/>
                    <a:pt x="52" y="30"/>
                    <a:pt x="52" y="30"/>
                  </a:cubicBezTo>
                  <a:cubicBezTo>
                    <a:pt x="59" y="31"/>
                    <a:pt x="67" y="27"/>
                    <a:pt x="67" y="20"/>
                  </a:cubicBezTo>
                  <a:cubicBezTo>
                    <a:pt x="67" y="19"/>
                    <a:pt x="68" y="17"/>
                    <a:pt x="68" y="16"/>
                  </a:cubicBezTo>
                  <a:close/>
                </a:path>
              </a:pathLst>
            </a:custGeom>
            <a:solidFill>
              <a:srgbClr val="3B3B8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5" name="Freeform 67"/>
            <p:cNvSpPr/>
            <p:nvPr/>
          </p:nvSpPr>
          <p:spPr bwMode="auto">
            <a:xfrm>
              <a:off x="1719349" y="2035373"/>
              <a:ext cx="78996" cy="101566"/>
            </a:xfrm>
            <a:custGeom>
              <a:avLst/>
              <a:gdLst>
                <a:gd name="T0" fmla="*/ 15 w 15"/>
                <a:gd name="T1" fmla="*/ 10 h 19"/>
                <a:gd name="T2" fmla="*/ 8 w 15"/>
                <a:gd name="T3" fmla="*/ 19 h 19"/>
                <a:gd name="T4" fmla="*/ 0 w 15"/>
                <a:gd name="T5" fmla="*/ 7 h 19"/>
                <a:gd name="T6" fmla="*/ 8 w 15"/>
                <a:gd name="T7" fmla="*/ 0 h 19"/>
                <a:gd name="T8" fmla="*/ 15 w 15"/>
                <a:gd name="T9" fmla="*/ 10 h 19"/>
              </a:gdLst>
              <a:ahLst/>
              <a:cxnLst>
                <a:cxn ang="0">
                  <a:pos x="T0" y="T1"/>
                </a:cxn>
                <a:cxn ang="0">
                  <a:pos x="T2" y="T3"/>
                </a:cxn>
                <a:cxn ang="0">
                  <a:pos x="T4" y="T5"/>
                </a:cxn>
                <a:cxn ang="0">
                  <a:pos x="T6" y="T7"/>
                </a:cxn>
                <a:cxn ang="0">
                  <a:pos x="T8" y="T9"/>
                </a:cxn>
              </a:cxnLst>
              <a:rect l="0" t="0" r="r" b="b"/>
              <a:pathLst>
                <a:path w="15" h="19">
                  <a:moveTo>
                    <a:pt x="15" y="10"/>
                  </a:moveTo>
                  <a:cubicBezTo>
                    <a:pt x="15" y="15"/>
                    <a:pt x="13" y="19"/>
                    <a:pt x="8" y="19"/>
                  </a:cubicBezTo>
                  <a:cubicBezTo>
                    <a:pt x="3" y="19"/>
                    <a:pt x="0" y="12"/>
                    <a:pt x="0" y="7"/>
                  </a:cubicBezTo>
                  <a:cubicBezTo>
                    <a:pt x="0" y="1"/>
                    <a:pt x="3" y="0"/>
                    <a:pt x="8" y="0"/>
                  </a:cubicBezTo>
                  <a:cubicBezTo>
                    <a:pt x="13" y="0"/>
                    <a:pt x="15" y="4"/>
                    <a:pt x="15" y="10"/>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6" name="Freeform 68"/>
            <p:cNvSpPr/>
            <p:nvPr/>
          </p:nvSpPr>
          <p:spPr bwMode="auto">
            <a:xfrm>
              <a:off x="1981164" y="2073742"/>
              <a:ext cx="47397" cy="121879"/>
            </a:xfrm>
            <a:custGeom>
              <a:avLst/>
              <a:gdLst>
                <a:gd name="T0" fmla="*/ 8 w 9"/>
                <a:gd name="T1" fmla="*/ 18 h 23"/>
                <a:gd name="T2" fmla="*/ 4 w 9"/>
                <a:gd name="T3" fmla="*/ 23 h 23"/>
                <a:gd name="T4" fmla="*/ 0 w 9"/>
                <a:gd name="T5" fmla="*/ 20 h 23"/>
                <a:gd name="T6" fmla="*/ 0 w 9"/>
                <a:gd name="T7" fmla="*/ 3 h 23"/>
                <a:gd name="T8" fmla="*/ 1 w 9"/>
                <a:gd name="T9" fmla="*/ 1 h 23"/>
                <a:gd name="T10" fmla="*/ 3 w 9"/>
                <a:gd name="T11" fmla="*/ 0 h 23"/>
                <a:gd name="T12" fmla="*/ 4 w 9"/>
                <a:gd name="T13" fmla="*/ 2 h 23"/>
                <a:gd name="T14" fmla="*/ 8 w 9"/>
                <a:gd name="T15" fmla="*/ 18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23">
                  <a:moveTo>
                    <a:pt x="8" y="18"/>
                  </a:moveTo>
                  <a:cubicBezTo>
                    <a:pt x="9" y="21"/>
                    <a:pt x="7" y="23"/>
                    <a:pt x="4" y="23"/>
                  </a:cubicBezTo>
                  <a:cubicBezTo>
                    <a:pt x="2" y="23"/>
                    <a:pt x="0" y="22"/>
                    <a:pt x="0" y="20"/>
                  </a:cubicBezTo>
                  <a:cubicBezTo>
                    <a:pt x="0" y="3"/>
                    <a:pt x="0" y="3"/>
                    <a:pt x="0" y="3"/>
                  </a:cubicBezTo>
                  <a:cubicBezTo>
                    <a:pt x="0" y="2"/>
                    <a:pt x="1" y="2"/>
                    <a:pt x="1" y="1"/>
                  </a:cubicBezTo>
                  <a:cubicBezTo>
                    <a:pt x="1" y="1"/>
                    <a:pt x="2" y="0"/>
                    <a:pt x="3" y="0"/>
                  </a:cubicBezTo>
                  <a:cubicBezTo>
                    <a:pt x="4" y="0"/>
                    <a:pt x="4" y="1"/>
                    <a:pt x="4" y="2"/>
                  </a:cubicBezTo>
                  <a:lnTo>
                    <a:pt x="8" y="18"/>
                  </a:lnTo>
                  <a:close/>
                </a:path>
              </a:pathLst>
            </a:custGeom>
            <a:solidFill>
              <a:srgbClr val="FA96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7" name="Freeform 69"/>
            <p:cNvSpPr/>
            <p:nvPr/>
          </p:nvSpPr>
          <p:spPr bwMode="auto">
            <a:xfrm>
              <a:off x="1996963" y="1965405"/>
              <a:ext cx="69968" cy="101566"/>
            </a:xfrm>
            <a:custGeom>
              <a:avLst/>
              <a:gdLst>
                <a:gd name="T0" fmla="*/ 0 w 13"/>
                <a:gd name="T1" fmla="*/ 2 h 19"/>
                <a:gd name="T2" fmla="*/ 11 w 13"/>
                <a:gd name="T3" fmla="*/ 19 h 19"/>
                <a:gd name="T4" fmla="*/ 11 w 13"/>
                <a:gd name="T5" fmla="*/ 19 h 19"/>
                <a:gd name="T6" fmla="*/ 13 w 13"/>
                <a:gd name="T7" fmla="*/ 17 h 19"/>
                <a:gd name="T8" fmla="*/ 13 w 13"/>
                <a:gd name="T9" fmla="*/ 10 h 19"/>
                <a:gd name="T10" fmla="*/ 8 w 13"/>
                <a:gd name="T11" fmla="*/ 0 h 19"/>
                <a:gd name="T12" fmla="*/ 0 w 13"/>
                <a:gd name="T13" fmla="*/ 2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2"/>
                  </a:moveTo>
                  <a:cubicBezTo>
                    <a:pt x="6" y="4"/>
                    <a:pt x="10" y="15"/>
                    <a:pt x="11" y="19"/>
                  </a:cubicBezTo>
                  <a:cubicBezTo>
                    <a:pt x="11" y="19"/>
                    <a:pt x="11" y="19"/>
                    <a:pt x="11" y="19"/>
                  </a:cubicBezTo>
                  <a:cubicBezTo>
                    <a:pt x="12" y="19"/>
                    <a:pt x="13" y="18"/>
                    <a:pt x="13" y="17"/>
                  </a:cubicBezTo>
                  <a:cubicBezTo>
                    <a:pt x="13" y="10"/>
                    <a:pt x="13" y="10"/>
                    <a:pt x="13" y="10"/>
                  </a:cubicBezTo>
                  <a:cubicBezTo>
                    <a:pt x="13" y="8"/>
                    <a:pt x="9" y="0"/>
                    <a:pt x="8" y="0"/>
                  </a:cubicBezTo>
                  <a:lnTo>
                    <a:pt x="0" y="2"/>
                  </a:lnTo>
                  <a:close/>
                </a:path>
              </a:pathLst>
            </a:custGeom>
            <a:solidFill>
              <a:srgbClr val="3B3B8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8" name="Freeform 70"/>
            <p:cNvSpPr/>
            <p:nvPr/>
          </p:nvSpPr>
          <p:spPr bwMode="auto">
            <a:xfrm>
              <a:off x="1270202" y="3644628"/>
              <a:ext cx="144449" cy="315983"/>
            </a:xfrm>
            <a:custGeom>
              <a:avLst/>
              <a:gdLst>
                <a:gd name="T0" fmla="*/ 24 w 27"/>
                <a:gd name="T1" fmla="*/ 38 h 59"/>
                <a:gd name="T2" fmla="*/ 21 w 27"/>
                <a:gd name="T3" fmla="*/ 25 h 59"/>
                <a:gd name="T4" fmla="*/ 19 w 27"/>
                <a:gd name="T5" fmla="*/ 22 h 59"/>
                <a:gd name="T6" fmla="*/ 16 w 27"/>
                <a:gd name="T7" fmla="*/ 16 h 59"/>
                <a:gd name="T8" fmla="*/ 16 w 27"/>
                <a:gd name="T9" fmla="*/ 7 h 59"/>
                <a:gd name="T10" fmla="*/ 10 w 27"/>
                <a:gd name="T11" fmla="*/ 0 h 59"/>
                <a:gd name="T12" fmla="*/ 4 w 27"/>
                <a:gd name="T13" fmla="*/ 8 h 59"/>
                <a:gd name="T14" fmla="*/ 4 w 27"/>
                <a:gd name="T15" fmla="*/ 14 h 59"/>
                <a:gd name="T16" fmla="*/ 2 w 27"/>
                <a:gd name="T17" fmla="*/ 25 h 59"/>
                <a:gd name="T18" fmla="*/ 4 w 27"/>
                <a:gd name="T19" fmla="*/ 47 h 59"/>
                <a:gd name="T20" fmla="*/ 17 w 27"/>
                <a:gd name="T21" fmla="*/ 56 h 59"/>
                <a:gd name="T22" fmla="*/ 25 w 27"/>
                <a:gd name="T23" fmla="*/ 55 h 59"/>
                <a:gd name="T24" fmla="*/ 15 w 27"/>
                <a:gd name="T25" fmla="*/ 35 h 59"/>
                <a:gd name="T26" fmla="*/ 17 w 27"/>
                <a:gd name="T27" fmla="*/ 33 h 59"/>
                <a:gd name="T28" fmla="*/ 20 w 27"/>
                <a:gd name="T29" fmla="*/ 40 h 59"/>
                <a:gd name="T30" fmla="*/ 25 w 27"/>
                <a:gd name="T31" fmla="*/ 44 h 59"/>
                <a:gd name="T32" fmla="*/ 24 w 27"/>
                <a:gd name="T33" fmla="*/ 3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 h="59">
                  <a:moveTo>
                    <a:pt x="24" y="38"/>
                  </a:moveTo>
                  <a:cubicBezTo>
                    <a:pt x="23" y="33"/>
                    <a:pt x="22" y="27"/>
                    <a:pt x="21" y="25"/>
                  </a:cubicBezTo>
                  <a:cubicBezTo>
                    <a:pt x="21" y="25"/>
                    <a:pt x="20" y="23"/>
                    <a:pt x="19" y="22"/>
                  </a:cubicBezTo>
                  <a:cubicBezTo>
                    <a:pt x="18" y="20"/>
                    <a:pt x="16" y="18"/>
                    <a:pt x="16" y="16"/>
                  </a:cubicBezTo>
                  <a:cubicBezTo>
                    <a:pt x="16" y="7"/>
                    <a:pt x="16" y="7"/>
                    <a:pt x="16" y="7"/>
                  </a:cubicBezTo>
                  <a:cubicBezTo>
                    <a:pt x="16" y="3"/>
                    <a:pt x="14" y="0"/>
                    <a:pt x="10" y="0"/>
                  </a:cubicBezTo>
                  <a:cubicBezTo>
                    <a:pt x="5" y="0"/>
                    <a:pt x="3" y="4"/>
                    <a:pt x="4" y="8"/>
                  </a:cubicBezTo>
                  <a:cubicBezTo>
                    <a:pt x="4" y="14"/>
                    <a:pt x="4" y="14"/>
                    <a:pt x="4" y="14"/>
                  </a:cubicBezTo>
                  <a:cubicBezTo>
                    <a:pt x="4" y="18"/>
                    <a:pt x="3" y="21"/>
                    <a:pt x="2" y="25"/>
                  </a:cubicBezTo>
                  <a:cubicBezTo>
                    <a:pt x="0" y="32"/>
                    <a:pt x="2" y="40"/>
                    <a:pt x="4" y="47"/>
                  </a:cubicBezTo>
                  <a:cubicBezTo>
                    <a:pt x="5" y="51"/>
                    <a:pt x="10" y="53"/>
                    <a:pt x="17" y="56"/>
                  </a:cubicBezTo>
                  <a:cubicBezTo>
                    <a:pt x="21" y="58"/>
                    <a:pt x="27" y="59"/>
                    <a:pt x="25" y="55"/>
                  </a:cubicBezTo>
                  <a:cubicBezTo>
                    <a:pt x="23" y="51"/>
                    <a:pt x="12" y="46"/>
                    <a:pt x="15" y="35"/>
                  </a:cubicBezTo>
                  <a:cubicBezTo>
                    <a:pt x="15" y="34"/>
                    <a:pt x="16" y="33"/>
                    <a:pt x="17" y="33"/>
                  </a:cubicBezTo>
                  <a:cubicBezTo>
                    <a:pt x="19" y="33"/>
                    <a:pt x="19" y="37"/>
                    <a:pt x="20" y="40"/>
                  </a:cubicBezTo>
                  <a:cubicBezTo>
                    <a:pt x="21" y="43"/>
                    <a:pt x="24" y="44"/>
                    <a:pt x="25" y="44"/>
                  </a:cubicBezTo>
                  <a:cubicBezTo>
                    <a:pt x="26" y="43"/>
                    <a:pt x="25" y="41"/>
                    <a:pt x="24" y="38"/>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49" name="Freeform 71"/>
            <p:cNvSpPr/>
            <p:nvPr/>
          </p:nvSpPr>
          <p:spPr bwMode="auto">
            <a:xfrm>
              <a:off x="1211520" y="2285902"/>
              <a:ext cx="528143" cy="1424180"/>
            </a:xfrm>
            <a:custGeom>
              <a:avLst/>
              <a:gdLst>
                <a:gd name="T0" fmla="*/ 67 w 99"/>
                <a:gd name="T1" fmla="*/ 15 h 266"/>
                <a:gd name="T2" fmla="*/ 0 w 99"/>
                <a:gd name="T3" fmla="*/ 156 h 266"/>
                <a:gd name="T4" fmla="*/ 14 w 99"/>
                <a:gd name="T5" fmla="*/ 265 h 266"/>
                <a:gd name="T6" fmla="*/ 21 w 99"/>
                <a:gd name="T7" fmla="*/ 266 h 266"/>
                <a:gd name="T8" fmla="*/ 28 w 99"/>
                <a:gd name="T9" fmla="*/ 265 h 266"/>
                <a:gd name="T10" fmla="*/ 33 w 99"/>
                <a:gd name="T11" fmla="*/ 152 h 266"/>
                <a:gd name="T12" fmla="*/ 96 w 99"/>
                <a:gd name="T13" fmla="*/ 35 h 266"/>
                <a:gd name="T14" fmla="*/ 67 w 99"/>
                <a:gd name="T15" fmla="*/ 15 h 2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9" h="266">
                  <a:moveTo>
                    <a:pt x="67" y="15"/>
                  </a:moveTo>
                  <a:cubicBezTo>
                    <a:pt x="67" y="15"/>
                    <a:pt x="0" y="105"/>
                    <a:pt x="0" y="156"/>
                  </a:cubicBezTo>
                  <a:cubicBezTo>
                    <a:pt x="0" y="190"/>
                    <a:pt x="14" y="265"/>
                    <a:pt x="14" y="265"/>
                  </a:cubicBezTo>
                  <a:cubicBezTo>
                    <a:pt x="14" y="265"/>
                    <a:pt x="18" y="266"/>
                    <a:pt x="21" y="266"/>
                  </a:cubicBezTo>
                  <a:cubicBezTo>
                    <a:pt x="24" y="266"/>
                    <a:pt x="28" y="265"/>
                    <a:pt x="28" y="265"/>
                  </a:cubicBezTo>
                  <a:cubicBezTo>
                    <a:pt x="28" y="265"/>
                    <a:pt x="28" y="169"/>
                    <a:pt x="33" y="152"/>
                  </a:cubicBezTo>
                  <a:cubicBezTo>
                    <a:pt x="39" y="135"/>
                    <a:pt x="93" y="53"/>
                    <a:pt x="96" y="35"/>
                  </a:cubicBezTo>
                  <a:cubicBezTo>
                    <a:pt x="99" y="16"/>
                    <a:pt x="83" y="0"/>
                    <a:pt x="67" y="15"/>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0" name="Freeform 72"/>
            <p:cNvSpPr/>
            <p:nvPr/>
          </p:nvSpPr>
          <p:spPr bwMode="auto">
            <a:xfrm>
              <a:off x="4114049" y="3425698"/>
              <a:ext cx="932150" cy="920864"/>
            </a:xfrm>
            <a:custGeom>
              <a:avLst/>
              <a:gdLst>
                <a:gd name="T0" fmla="*/ 151 w 174"/>
                <a:gd name="T1" fmla="*/ 135 h 172"/>
                <a:gd name="T2" fmla="*/ 144 w 174"/>
                <a:gd name="T3" fmla="*/ 135 h 172"/>
                <a:gd name="T4" fmla="*/ 133 w 174"/>
                <a:gd name="T5" fmla="*/ 132 h 172"/>
                <a:gd name="T6" fmla="*/ 116 w 174"/>
                <a:gd name="T7" fmla="*/ 123 h 172"/>
                <a:gd name="T8" fmla="*/ 107 w 174"/>
                <a:gd name="T9" fmla="*/ 118 h 172"/>
                <a:gd name="T10" fmla="*/ 93 w 174"/>
                <a:gd name="T11" fmla="*/ 104 h 172"/>
                <a:gd name="T12" fmla="*/ 83 w 174"/>
                <a:gd name="T13" fmla="*/ 88 h 172"/>
                <a:gd name="T14" fmla="*/ 73 w 174"/>
                <a:gd name="T15" fmla="*/ 64 h 172"/>
                <a:gd name="T16" fmla="*/ 67 w 174"/>
                <a:gd name="T17" fmla="*/ 44 h 172"/>
                <a:gd name="T18" fmla="*/ 68 w 174"/>
                <a:gd name="T19" fmla="*/ 30 h 172"/>
                <a:gd name="T20" fmla="*/ 38 w 174"/>
                <a:gd name="T21" fmla="*/ 2 h 172"/>
                <a:gd name="T22" fmla="*/ 0 w 174"/>
                <a:gd name="T23" fmla="*/ 36 h 172"/>
                <a:gd name="T24" fmla="*/ 22 w 174"/>
                <a:gd name="T25" fmla="*/ 67 h 172"/>
                <a:gd name="T26" fmla="*/ 15 w 174"/>
                <a:gd name="T27" fmla="*/ 88 h 172"/>
                <a:gd name="T28" fmla="*/ 49 w 174"/>
                <a:gd name="T29" fmla="*/ 122 h 172"/>
                <a:gd name="T30" fmla="*/ 53 w 174"/>
                <a:gd name="T31" fmla="*/ 122 h 172"/>
                <a:gd name="T32" fmla="*/ 51 w 174"/>
                <a:gd name="T33" fmla="*/ 130 h 172"/>
                <a:gd name="T34" fmla="*/ 84 w 174"/>
                <a:gd name="T35" fmla="*/ 160 h 172"/>
                <a:gd name="T36" fmla="*/ 99 w 174"/>
                <a:gd name="T37" fmla="*/ 164 h 172"/>
                <a:gd name="T38" fmla="*/ 126 w 174"/>
                <a:gd name="T39" fmla="*/ 167 h 172"/>
                <a:gd name="T40" fmla="*/ 141 w 174"/>
                <a:gd name="T41" fmla="*/ 166 h 172"/>
                <a:gd name="T42" fmla="*/ 174 w 174"/>
                <a:gd name="T43" fmla="*/ 151 h 172"/>
                <a:gd name="T44" fmla="*/ 151 w 174"/>
                <a:gd name="T45" fmla="*/ 135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74" h="172">
                  <a:moveTo>
                    <a:pt x="151" y="135"/>
                  </a:moveTo>
                  <a:cubicBezTo>
                    <a:pt x="149" y="135"/>
                    <a:pt x="146" y="135"/>
                    <a:pt x="144" y="135"/>
                  </a:cubicBezTo>
                  <a:cubicBezTo>
                    <a:pt x="140" y="136"/>
                    <a:pt x="136" y="135"/>
                    <a:pt x="133" y="132"/>
                  </a:cubicBezTo>
                  <a:cubicBezTo>
                    <a:pt x="129" y="127"/>
                    <a:pt x="123" y="123"/>
                    <a:pt x="116" y="123"/>
                  </a:cubicBezTo>
                  <a:cubicBezTo>
                    <a:pt x="112" y="123"/>
                    <a:pt x="109" y="121"/>
                    <a:pt x="107" y="118"/>
                  </a:cubicBezTo>
                  <a:cubicBezTo>
                    <a:pt x="104" y="112"/>
                    <a:pt x="99" y="107"/>
                    <a:pt x="93" y="104"/>
                  </a:cubicBezTo>
                  <a:cubicBezTo>
                    <a:pt x="87" y="101"/>
                    <a:pt x="83" y="95"/>
                    <a:pt x="83" y="88"/>
                  </a:cubicBezTo>
                  <a:cubicBezTo>
                    <a:pt x="83" y="79"/>
                    <a:pt x="80" y="70"/>
                    <a:pt x="73" y="64"/>
                  </a:cubicBezTo>
                  <a:cubicBezTo>
                    <a:pt x="68" y="58"/>
                    <a:pt x="65" y="51"/>
                    <a:pt x="67" y="44"/>
                  </a:cubicBezTo>
                  <a:cubicBezTo>
                    <a:pt x="68" y="40"/>
                    <a:pt x="68" y="35"/>
                    <a:pt x="68" y="30"/>
                  </a:cubicBezTo>
                  <a:cubicBezTo>
                    <a:pt x="65" y="15"/>
                    <a:pt x="53" y="4"/>
                    <a:pt x="38" y="2"/>
                  </a:cubicBezTo>
                  <a:cubicBezTo>
                    <a:pt x="17" y="0"/>
                    <a:pt x="0" y="16"/>
                    <a:pt x="0" y="36"/>
                  </a:cubicBezTo>
                  <a:cubicBezTo>
                    <a:pt x="0" y="50"/>
                    <a:pt x="9" y="63"/>
                    <a:pt x="22" y="67"/>
                  </a:cubicBezTo>
                  <a:cubicBezTo>
                    <a:pt x="18" y="73"/>
                    <a:pt x="15" y="80"/>
                    <a:pt x="15" y="88"/>
                  </a:cubicBezTo>
                  <a:cubicBezTo>
                    <a:pt x="15" y="107"/>
                    <a:pt x="30" y="122"/>
                    <a:pt x="49" y="122"/>
                  </a:cubicBezTo>
                  <a:cubicBezTo>
                    <a:pt x="50" y="122"/>
                    <a:pt x="51" y="122"/>
                    <a:pt x="53" y="122"/>
                  </a:cubicBezTo>
                  <a:cubicBezTo>
                    <a:pt x="52" y="124"/>
                    <a:pt x="51" y="127"/>
                    <a:pt x="51" y="130"/>
                  </a:cubicBezTo>
                  <a:cubicBezTo>
                    <a:pt x="51" y="149"/>
                    <a:pt x="67" y="161"/>
                    <a:pt x="84" y="160"/>
                  </a:cubicBezTo>
                  <a:cubicBezTo>
                    <a:pt x="89" y="159"/>
                    <a:pt x="95" y="160"/>
                    <a:pt x="99" y="164"/>
                  </a:cubicBezTo>
                  <a:cubicBezTo>
                    <a:pt x="107" y="171"/>
                    <a:pt x="117" y="172"/>
                    <a:pt x="126" y="167"/>
                  </a:cubicBezTo>
                  <a:cubicBezTo>
                    <a:pt x="130" y="165"/>
                    <a:pt x="136" y="164"/>
                    <a:pt x="141" y="166"/>
                  </a:cubicBezTo>
                  <a:cubicBezTo>
                    <a:pt x="155" y="171"/>
                    <a:pt x="174" y="164"/>
                    <a:pt x="174" y="151"/>
                  </a:cubicBezTo>
                  <a:cubicBezTo>
                    <a:pt x="174" y="142"/>
                    <a:pt x="163" y="135"/>
                    <a:pt x="151" y="135"/>
                  </a:cubicBezTo>
                  <a:close/>
                </a:path>
              </a:pathLst>
            </a:custGeom>
            <a:solidFill>
              <a:srgbClr val="4D4C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1" name="Freeform 73"/>
            <p:cNvSpPr/>
            <p:nvPr/>
          </p:nvSpPr>
          <p:spPr bwMode="auto">
            <a:xfrm>
              <a:off x="3269923" y="4746054"/>
              <a:ext cx="1828187" cy="573283"/>
            </a:xfrm>
            <a:custGeom>
              <a:avLst/>
              <a:gdLst>
                <a:gd name="T0" fmla="*/ 325 w 342"/>
                <a:gd name="T1" fmla="*/ 65 h 107"/>
                <a:gd name="T2" fmla="*/ 198 w 342"/>
                <a:gd name="T3" fmla="*/ 3 h 107"/>
                <a:gd name="T4" fmla="*/ 139 w 342"/>
                <a:gd name="T5" fmla="*/ 3 h 107"/>
                <a:gd name="T6" fmla="*/ 9 w 342"/>
                <a:gd name="T7" fmla="*/ 65 h 107"/>
                <a:gd name="T8" fmla="*/ 2 w 342"/>
                <a:gd name="T9" fmla="*/ 86 h 107"/>
                <a:gd name="T10" fmla="*/ 147 w 342"/>
                <a:gd name="T11" fmla="*/ 85 h 107"/>
                <a:gd name="T12" fmla="*/ 187 w 342"/>
                <a:gd name="T13" fmla="*/ 85 h 107"/>
                <a:gd name="T14" fmla="*/ 339 w 342"/>
                <a:gd name="T15" fmla="*/ 91 h 107"/>
                <a:gd name="T16" fmla="*/ 325 w 342"/>
                <a:gd name="T17" fmla="*/ 6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2" h="107">
                  <a:moveTo>
                    <a:pt x="325" y="65"/>
                  </a:moveTo>
                  <a:cubicBezTo>
                    <a:pt x="302" y="45"/>
                    <a:pt x="198" y="3"/>
                    <a:pt x="198" y="3"/>
                  </a:cubicBezTo>
                  <a:cubicBezTo>
                    <a:pt x="190" y="0"/>
                    <a:pt x="146" y="0"/>
                    <a:pt x="139" y="3"/>
                  </a:cubicBezTo>
                  <a:cubicBezTo>
                    <a:pt x="139" y="3"/>
                    <a:pt x="31" y="46"/>
                    <a:pt x="9" y="65"/>
                  </a:cubicBezTo>
                  <a:cubicBezTo>
                    <a:pt x="4" y="69"/>
                    <a:pt x="0" y="80"/>
                    <a:pt x="2" y="86"/>
                  </a:cubicBezTo>
                  <a:cubicBezTo>
                    <a:pt x="9" y="102"/>
                    <a:pt x="102" y="98"/>
                    <a:pt x="147" y="85"/>
                  </a:cubicBezTo>
                  <a:cubicBezTo>
                    <a:pt x="160" y="81"/>
                    <a:pt x="174" y="81"/>
                    <a:pt x="187" y="85"/>
                  </a:cubicBezTo>
                  <a:cubicBezTo>
                    <a:pt x="234" y="100"/>
                    <a:pt x="332" y="107"/>
                    <a:pt x="339" y="91"/>
                  </a:cubicBezTo>
                  <a:cubicBezTo>
                    <a:pt x="342" y="84"/>
                    <a:pt x="341" y="78"/>
                    <a:pt x="325" y="65"/>
                  </a:cubicBezTo>
                  <a:close/>
                </a:path>
              </a:pathLst>
            </a:custGeom>
            <a:solidFill>
              <a:srgbClr val="4D4C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2" name="Freeform 74"/>
            <p:cNvSpPr/>
            <p:nvPr/>
          </p:nvSpPr>
          <p:spPr bwMode="auto">
            <a:xfrm>
              <a:off x="3579135" y="5041724"/>
              <a:ext cx="1514461" cy="325011"/>
            </a:xfrm>
            <a:custGeom>
              <a:avLst/>
              <a:gdLst>
                <a:gd name="T0" fmla="*/ 31 w 283"/>
                <a:gd name="T1" fmla="*/ 28 h 61"/>
                <a:gd name="T2" fmla="*/ 50 w 283"/>
                <a:gd name="T3" fmla="*/ 21 h 61"/>
                <a:gd name="T4" fmla="*/ 67 w 283"/>
                <a:gd name="T5" fmla="*/ 26 h 61"/>
                <a:gd name="T6" fmla="*/ 106 w 283"/>
                <a:gd name="T7" fmla="*/ 36 h 61"/>
                <a:gd name="T8" fmla="*/ 174 w 283"/>
                <a:gd name="T9" fmla="*/ 24 h 61"/>
                <a:gd name="T10" fmla="*/ 252 w 283"/>
                <a:gd name="T11" fmla="*/ 4 h 61"/>
                <a:gd name="T12" fmla="*/ 283 w 283"/>
                <a:gd name="T13" fmla="*/ 32 h 61"/>
                <a:gd name="T14" fmla="*/ 202 w 283"/>
                <a:gd name="T15" fmla="*/ 61 h 61"/>
                <a:gd name="T16" fmla="*/ 72 w 283"/>
                <a:gd name="T17" fmla="*/ 48 h 61"/>
                <a:gd name="T18" fmla="*/ 1 w 283"/>
                <a:gd name="T19" fmla="*/ 27 h 61"/>
                <a:gd name="T20" fmla="*/ 31 w 283"/>
                <a:gd name="T21" fmla="*/ 2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3" h="61">
                  <a:moveTo>
                    <a:pt x="31" y="28"/>
                  </a:moveTo>
                  <a:cubicBezTo>
                    <a:pt x="39" y="29"/>
                    <a:pt x="45" y="23"/>
                    <a:pt x="50" y="21"/>
                  </a:cubicBezTo>
                  <a:cubicBezTo>
                    <a:pt x="54" y="20"/>
                    <a:pt x="61" y="20"/>
                    <a:pt x="67" y="26"/>
                  </a:cubicBezTo>
                  <a:cubicBezTo>
                    <a:pt x="80" y="37"/>
                    <a:pt x="92" y="36"/>
                    <a:pt x="106" y="36"/>
                  </a:cubicBezTo>
                  <a:cubicBezTo>
                    <a:pt x="174" y="24"/>
                    <a:pt x="174" y="24"/>
                    <a:pt x="174" y="24"/>
                  </a:cubicBezTo>
                  <a:cubicBezTo>
                    <a:pt x="174" y="24"/>
                    <a:pt x="233" y="0"/>
                    <a:pt x="252" y="4"/>
                  </a:cubicBezTo>
                  <a:cubicBezTo>
                    <a:pt x="274" y="9"/>
                    <a:pt x="283" y="21"/>
                    <a:pt x="283" y="32"/>
                  </a:cubicBezTo>
                  <a:cubicBezTo>
                    <a:pt x="283" y="42"/>
                    <a:pt x="246" y="61"/>
                    <a:pt x="202" y="61"/>
                  </a:cubicBezTo>
                  <a:cubicBezTo>
                    <a:pt x="150" y="60"/>
                    <a:pt x="89" y="52"/>
                    <a:pt x="72" y="48"/>
                  </a:cubicBezTo>
                  <a:cubicBezTo>
                    <a:pt x="72" y="48"/>
                    <a:pt x="1" y="30"/>
                    <a:pt x="1" y="27"/>
                  </a:cubicBezTo>
                  <a:cubicBezTo>
                    <a:pt x="0" y="24"/>
                    <a:pt x="22" y="26"/>
                    <a:pt x="31" y="28"/>
                  </a:cubicBezTo>
                  <a:close/>
                </a:path>
              </a:pathLst>
            </a:custGeom>
            <a:solidFill>
              <a:srgbClr val="FA96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3" name="Freeform 75"/>
            <p:cNvSpPr/>
            <p:nvPr/>
          </p:nvSpPr>
          <p:spPr bwMode="auto">
            <a:xfrm>
              <a:off x="4007969" y="3491151"/>
              <a:ext cx="469460" cy="528143"/>
            </a:xfrm>
            <a:custGeom>
              <a:avLst/>
              <a:gdLst>
                <a:gd name="T0" fmla="*/ 24 w 88"/>
                <a:gd name="T1" fmla="*/ 72 h 99"/>
                <a:gd name="T2" fmla="*/ 25 w 88"/>
                <a:gd name="T3" fmla="*/ 74 h 99"/>
                <a:gd name="T4" fmla="*/ 28 w 88"/>
                <a:gd name="T5" fmla="*/ 82 h 99"/>
                <a:gd name="T6" fmla="*/ 40 w 88"/>
                <a:gd name="T7" fmla="*/ 88 h 99"/>
                <a:gd name="T8" fmla="*/ 45 w 88"/>
                <a:gd name="T9" fmla="*/ 91 h 99"/>
                <a:gd name="T10" fmla="*/ 49 w 88"/>
                <a:gd name="T11" fmla="*/ 96 h 99"/>
                <a:gd name="T12" fmla="*/ 62 w 88"/>
                <a:gd name="T13" fmla="*/ 96 h 99"/>
                <a:gd name="T14" fmla="*/ 66 w 88"/>
                <a:gd name="T15" fmla="*/ 93 h 99"/>
                <a:gd name="T16" fmla="*/ 75 w 88"/>
                <a:gd name="T17" fmla="*/ 89 h 99"/>
                <a:gd name="T18" fmla="*/ 84 w 88"/>
                <a:gd name="T19" fmla="*/ 86 h 99"/>
                <a:gd name="T20" fmla="*/ 88 w 88"/>
                <a:gd name="T21" fmla="*/ 75 h 99"/>
                <a:gd name="T22" fmla="*/ 86 w 88"/>
                <a:gd name="T23" fmla="*/ 67 h 99"/>
                <a:gd name="T24" fmla="*/ 84 w 88"/>
                <a:gd name="T25" fmla="*/ 61 h 99"/>
                <a:gd name="T26" fmla="*/ 81 w 88"/>
                <a:gd name="T27" fmla="*/ 53 h 99"/>
                <a:gd name="T28" fmla="*/ 77 w 88"/>
                <a:gd name="T29" fmla="*/ 50 h 99"/>
                <a:gd name="T30" fmla="*/ 73 w 88"/>
                <a:gd name="T31" fmla="*/ 41 h 99"/>
                <a:gd name="T32" fmla="*/ 73 w 88"/>
                <a:gd name="T33" fmla="*/ 37 h 99"/>
                <a:gd name="T34" fmla="*/ 62 w 88"/>
                <a:gd name="T35" fmla="*/ 10 h 99"/>
                <a:gd name="T36" fmla="*/ 51 w 88"/>
                <a:gd name="T37" fmla="*/ 7 h 99"/>
                <a:gd name="T38" fmla="*/ 46 w 88"/>
                <a:gd name="T39" fmla="*/ 1 h 99"/>
                <a:gd name="T40" fmla="*/ 44 w 88"/>
                <a:gd name="T41" fmla="*/ 1 h 99"/>
                <a:gd name="T42" fmla="*/ 44 w 88"/>
                <a:gd name="T43" fmla="*/ 3 h 99"/>
                <a:gd name="T44" fmla="*/ 47 w 88"/>
                <a:gd name="T45" fmla="*/ 7 h 99"/>
                <a:gd name="T46" fmla="*/ 47 w 88"/>
                <a:gd name="T47" fmla="*/ 23 h 99"/>
                <a:gd name="T48" fmla="*/ 43 w 88"/>
                <a:gd name="T49" fmla="*/ 32 h 99"/>
                <a:gd name="T50" fmla="*/ 43 w 88"/>
                <a:gd name="T51" fmla="*/ 42 h 99"/>
                <a:gd name="T52" fmla="*/ 36 w 88"/>
                <a:gd name="T53" fmla="*/ 53 h 99"/>
                <a:gd name="T54" fmla="*/ 20 w 88"/>
                <a:gd name="T55" fmla="*/ 52 h 99"/>
                <a:gd name="T56" fmla="*/ 9 w 88"/>
                <a:gd name="T57" fmla="*/ 45 h 99"/>
                <a:gd name="T58" fmla="*/ 3 w 88"/>
                <a:gd name="T59" fmla="*/ 36 h 99"/>
                <a:gd name="T60" fmla="*/ 0 w 88"/>
                <a:gd name="T61" fmla="*/ 36 h 99"/>
                <a:gd name="T62" fmla="*/ 0 w 88"/>
                <a:gd name="T63" fmla="*/ 38 h 99"/>
                <a:gd name="T64" fmla="*/ 4 w 88"/>
                <a:gd name="T65" fmla="*/ 42 h 99"/>
                <a:gd name="T66" fmla="*/ 5 w 88"/>
                <a:gd name="T67" fmla="*/ 47 h 99"/>
                <a:gd name="T68" fmla="*/ 24 w 88"/>
                <a:gd name="T69" fmla="*/ 72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8" h="99">
                  <a:moveTo>
                    <a:pt x="24" y="72"/>
                  </a:moveTo>
                  <a:cubicBezTo>
                    <a:pt x="24" y="72"/>
                    <a:pt x="25" y="73"/>
                    <a:pt x="25" y="74"/>
                  </a:cubicBezTo>
                  <a:cubicBezTo>
                    <a:pt x="25" y="77"/>
                    <a:pt x="26" y="80"/>
                    <a:pt x="28" y="82"/>
                  </a:cubicBezTo>
                  <a:cubicBezTo>
                    <a:pt x="31" y="86"/>
                    <a:pt x="35" y="88"/>
                    <a:pt x="40" y="88"/>
                  </a:cubicBezTo>
                  <a:cubicBezTo>
                    <a:pt x="42" y="88"/>
                    <a:pt x="44" y="89"/>
                    <a:pt x="45" y="91"/>
                  </a:cubicBezTo>
                  <a:cubicBezTo>
                    <a:pt x="46" y="93"/>
                    <a:pt x="48" y="95"/>
                    <a:pt x="49" y="96"/>
                  </a:cubicBezTo>
                  <a:cubicBezTo>
                    <a:pt x="53" y="98"/>
                    <a:pt x="58" y="99"/>
                    <a:pt x="62" y="96"/>
                  </a:cubicBezTo>
                  <a:cubicBezTo>
                    <a:pt x="64" y="96"/>
                    <a:pt x="65" y="95"/>
                    <a:pt x="66" y="93"/>
                  </a:cubicBezTo>
                  <a:cubicBezTo>
                    <a:pt x="68" y="91"/>
                    <a:pt x="71" y="89"/>
                    <a:pt x="75" y="89"/>
                  </a:cubicBezTo>
                  <a:cubicBezTo>
                    <a:pt x="78" y="89"/>
                    <a:pt x="81" y="88"/>
                    <a:pt x="84" y="86"/>
                  </a:cubicBezTo>
                  <a:cubicBezTo>
                    <a:pt x="87" y="84"/>
                    <a:pt x="88" y="80"/>
                    <a:pt x="88" y="75"/>
                  </a:cubicBezTo>
                  <a:cubicBezTo>
                    <a:pt x="88" y="72"/>
                    <a:pt x="87" y="69"/>
                    <a:pt x="86" y="67"/>
                  </a:cubicBezTo>
                  <a:cubicBezTo>
                    <a:pt x="84" y="66"/>
                    <a:pt x="83" y="63"/>
                    <a:pt x="84" y="61"/>
                  </a:cubicBezTo>
                  <a:cubicBezTo>
                    <a:pt x="84" y="58"/>
                    <a:pt x="83" y="55"/>
                    <a:pt x="81" y="53"/>
                  </a:cubicBezTo>
                  <a:cubicBezTo>
                    <a:pt x="80" y="52"/>
                    <a:pt x="79" y="51"/>
                    <a:pt x="77" y="50"/>
                  </a:cubicBezTo>
                  <a:cubicBezTo>
                    <a:pt x="73" y="49"/>
                    <a:pt x="72" y="45"/>
                    <a:pt x="73" y="41"/>
                  </a:cubicBezTo>
                  <a:cubicBezTo>
                    <a:pt x="73" y="40"/>
                    <a:pt x="73" y="38"/>
                    <a:pt x="73" y="37"/>
                  </a:cubicBezTo>
                  <a:cubicBezTo>
                    <a:pt x="75" y="23"/>
                    <a:pt x="62" y="10"/>
                    <a:pt x="62" y="10"/>
                  </a:cubicBezTo>
                  <a:cubicBezTo>
                    <a:pt x="58" y="11"/>
                    <a:pt x="54" y="10"/>
                    <a:pt x="51" y="7"/>
                  </a:cubicBezTo>
                  <a:cubicBezTo>
                    <a:pt x="46" y="1"/>
                    <a:pt x="46" y="1"/>
                    <a:pt x="46" y="1"/>
                  </a:cubicBezTo>
                  <a:cubicBezTo>
                    <a:pt x="46" y="0"/>
                    <a:pt x="45" y="0"/>
                    <a:pt x="44" y="1"/>
                  </a:cubicBezTo>
                  <a:cubicBezTo>
                    <a:pt x="44" y="1"/>
                    <a:pt x="44" y="2"/>
                    <a:pt x="44" y="3"/>
                  </a:cubicBezTo>
                  <a:cubicBezTo>
                    <a:pt x="47" y="7"/>
                    <a:pt x="47" y="7"/>
                    <a:pt x="47" y="7"/>
                  </a:cubicBezTo>
                  <a:cubicBezTo>
                    <a:pt x="51" y="12"/>
                    <a:pt x="51" y="18"/>
                    <a:pt x="47" y="23"/>
                  </a:cubicBezTo>
                  <a:cubicBezTo>
                    <a:pt x="45" y="26"/>
                    <a:pt x="44" y="29"/>
                    <a:pt x="43" y="32"/>
                  </a:cubicBezTo>
                  <a:cubicBezTo>
                    <a:pt x="43" y="36"/>
                    <a:pt x="43" y="39"/>
                    <a:pt x="43" y="42"/>
                  </a:cubicBezTo>
                  <a:cubicBezTo>
                    <a:pt x="44" y="47"/>
                    <a:pt x="41" y="52"/>
                    <a:pt x="36" y="53"/>
                  </a:cubicBezTo>
                  <a:cubicBezTo>
                    <a:pt x="31" y="55"/>
                    <a:pt x="25" y="54"/>
                    <a:pt x="20" y="52"/>
                  </a:cubicBezTo>
                  <a:cubicBezTo>
                    <a:pt x="16" y="51"/>
                    <a:pt x="12" y="48"/>
                    <a:pt x="9" y="45"/>
                  </a:cubicBezTo>
                  <a:cubicBezTo>
                    <a:pt x="3" y="36"/>
                    <a:pt x="3" y="36"/>
                    <a:pt x="3" y="36"/>
                  </a:cubicBezTo>
                  <a:cubicBezTo>
                    <a:pt x="2" y="36"/>
                    <a:pt x="1" y="36"/>
                    <a:pt x="0" y="36"/>
                  </a:cubicBezTo>
                  <a:cubicBezTo>
                    <a:pt x="0" y="37"/>
                    <a:pt x="0" y="38"/>
                    <a:pt x="0" y="38"/>
                  </a:cubicBezTo>
                  <a:cubicBezTo>
                    <a:pt x="4" y="42"/>
                    <a:pt x="4" y="42"/>
                    <a:pt x="4" y="42"/>
                  </a:cubicBezTo>
                  <a:cubicBezTo>
                    <a:pt x="5" y="44"/>
                    <a:pt x="5" y="46"/>
                    <a:pt x="5" y="47"/>
                  </a:cubicBezTo>
                  <a:cubicBezTo>
                    <a:pt x="6" y="56"/>
                    <a:pt x="12" y="70"/>
                    <a:pt x="24" y="72"/>
                  </a:cubicBezTo>
                  <a:close/>
                </a:path>
              </a:pathLst>
            </a:custGeom>
            <a:solidFill>
              <a:srgbClr val="4D4C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4" name="Freeform 76"/>
            <p:cNvSpPr/>
            <p:nvPr/>
          </p:nvSpPr>
          <p:spPr bwMode="auto">
            <a:xfrm>
              <a:off x="3890604" y="3468581"/>
              <a:ext cx="534914" cy="530400"/>
            </a:xfrm>
            <a:custGeom>
              <a:avLst/>
              <a:gdLst>
                <a:gd name="T0" fmla="*/ 77 w 100"/>
                <a:gd name="T1" fmla="*/ 83 h 99"/>
                <a:gd name="T2" fmla="*/ 15 w 100"/>
                <a:gd name="T3" fmla="*/ 78 h 99"/>
                <a:gd name="T4" fmla="*/ 23 w 100"/>
                <a:gd name="T5" fmla="*/ 16 h 99"/>
                <a:gd name="T6" fmla="*/ 85 w 100"/>
                <a:gd name="T7" fmla="*/ 22 h 99"/>
                <a:gd name="T8" fmla="*/ 77 w 100"/>
                <a:gd name="T9" fmla="*/ 83 h 99"/>
              </a:gdLst>
              <a:ahLst/>
              <a:cxnLst>
                <a:cxn ang="0">
                  <a:pos x="T0" y="T1"/>
                </a:cxn>
                <a:cxn ang="0">
                  <a:pos x="T2" y="T3"/>
                </a:cxn>
                <a:cxn ang="0">
                  <a:pos x="T4" y="T5"/>
                </a:cxn>
                <a:cxn ang="0">
                  <a:pos x="T6" y="T7"/>
                </a:cxn>
                <a:cxn ang="0">
                  <a:pos x="T8" y="T9"/>
                </a:cxn>
              </a:cxnLst>
              <a:rect l="0" t="0" r="r" b="b"/>
              <a:pathLst>
                <a:path w="100" h="99">
                  <a:moveTo>
                    <a:pt x="77" y="83"/>
                  </a:moveTo>
                  <a:cubicBezTo>
                    <a:pt x="58" y="99"/>
                    <a:pt x="30" y="96"/>
                    <a:pt x="15" y="78"/>
                  </a:cubicBezTo>
                  <a:cubicBezTo>
                    <a:pt x="0" y="59"/>
                    <a:pt x="4" y="31"/>
                    <a:pt x="23" y="16"/>
                  </a:cubicBezTo>
                  <a:cubicBezTo>
                    <a:pt x="42" y="0"/>
                    <a:pt x="70" y="3"/>
                    <a:pt x="85" y="22"/>
                  </a:cubicBezTo>
                  <a:cubicBezTo>
                    <a:pt x="100" y="40"/>
                    <a:pt x="97" y="68"/>
                    <a:pt x="77" y="83"/>
                  </a:cubicBezTo>
                  <a:close/>
                </a:path>
              </a:pathLst>
            </a:custGeom>
            <a:solidFill>
              <a:srgbClr val="4D4C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5" name="Freeform 77"/>
            <p:cNvSpPr/>
            <p:nvPr/>
          </p:nvSpPr>
          <p:spPr bwMode="auto">
            <a:xfrm>
              <a:off x="3825150" y="3944812"/>
              <a:ext cx="670335" cy="941177"/>
            </a:xfrm>
            <a:custGeom>
              <a:avLst/>
              <a:gdLst>
                <a:gd name="T0" fmla="*/ 82 w 125"/>
                <a:gd name="T1" fmla="*/ 174 h 176"/>
                <a:gd name="T2" fmla="*/ 57 w 125"/>
                <a:gd name="T3" fmla="*/ 175 h 176"/>
                <a:gd name="T4" fmla="*/ 24 w 125"/>
                <a:gd name="T5" fmla="*/ 156 h 176"/>
                <a:gd name="T6" fmla="*/ 1 w 125"/>
                <a:gd name="T7" fmla="*/ 34 h 176"/>
                <a:gd name="T8" fmla="*/ 15 w 125"/>
                <a:gd name="T9" fmla="*/ 13 h 176"/>
                <a:gd name="T10" fmla="*/ 110 w 125"/>
                <a:gd name="T11" fmla="*/ 15 h 176"/>
                <a:gd name="T12" fmla="*/ 112 w 125"/>
                <a:gd name="T13" fmla="*/ 16 h 176"/>
                <a:gd name="T14" fmla="*/ 125 w 125"/>
                <a:gd name="T15" fmla="*/ 36 h 176"/>
                <a:gd name="T16" fmla="*/ 112 w 125"/>
                <a:gd name="T17" fmla="*/ 154 h 176"/>
                <a:gd name="T18" fmla="*/ 82 w 125"/>
                <a:gd name="T19" fmla="*/ 174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76">
                  <a:moveTo>
                    <a:pt x="82" y="174"/>
                  </a:moveTo>
                  <a:cubicBezTo>
                    <a:pt x="57" y="175"/>
                    <a:pt x="57" y="175"/>
                    <a:pt x="57" y="175"/>
                  </a:cubicBezTo>
                  <a:cubicBezTo>
                    <a:pt x="40" y="176"/>
                    <a:pt x="26" y="172"/>
                    <a:pt x="24" y="156"/>
                  </a:cubicBezTo>
                  <a:cubicBezTo>
                    <a:pt x="1" y="34"/>
                    <a:pt x="1" y="34"/>
                    <a:pt x="1" y="34"/>
                  </a:cubicBezTo>
                  <a:cubicBezTo>
                    <a:pt x="0" y="25"/>
                    <a:pt x="7" y="17"/>
                    <a:pt x="15" y="13"/>
                  </a:cubicBezTo>
                  <a:cubicBezTo>
                    <a:pt x="15" y="13"/>
                    <a:pt x="83" y="0"/>
                    <a:pt x="110" y="15"/>
                  </a:cubicBezTo>
                  <a:cubicBezTo>
                    <a:pt x="112" y="16"/>
                    <a:pt x="112" y="16"/>
                    <a:pt x="112" y="16"/>
                  </a:cubicBezTo>
                  <a:cubicBezTo>
                    <a:pt x="119" y="20"/>
                    <a:pt x="125" y="28"/>
                    <a:pt x="125" y="36"/>
                  </a:cubicBezTo>
                  <a:cubicBezTo>
                    <a:pt x="112" y="154"/>
                    <a:pt x="112" y="154"/>
                    <a:pt x="112" y="154"/>
                  </a:cubicBezTo>
                  <a:cubicBezTo>
                    <a:pt x="111" y="170"/>
                    <a:pt x="98" y="174"/>
                    <a:pt x="82" y="174"/>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6" name="Freeform 78"/>
            <p:cNvSpPr/>
            <p:nvPr/>
          </p:nvSpPr>
          <p:spPr bwMode="auto">
            <a:xfrm>
              <a:off x="3899632" y="4066691"/>
              <a:ext cx="595854" cy="819298"/>
            </a:xfrm>
            <a:custGeom>
              <a:avLst/>
              <a:gdLst>
                <a:gd name="T0" fmla="*/ 106 w 111"/>
                <a:gd name="T1" fmla="*/ 0 h 153"/>
                <a:gd name="T2" fmla="*/ 103 w 111"/>
                <a:gd name="T3" fmla="*/ 5 h 153"/>
                <a:gd name="T4" fmla="*/ 90 w 111"/>
                <a:gd name="T5" fmla="*/ 46 h 153"/>
                <a:gd name="T6" fmla="*/ 87 w 111"/>
                <a:gd name="T7" fmla="*/ 81 h 153"/>
                <a:gd name="T8" fmla="*/ 56 w 111"/>
                <a:gd name="T9" fmla="*/ 84 h 153"/>
                <a:gd name="T10" fmla="*/ 56 w 111"/>
                <a:gd name="T11" fmla="*/ 83 h 153"/>
                <a:gd name="T12" fmla="*/ 39 w 111"/>
                <a:gd name="T13" fmla="*/ 82 h 153"/>
                <a:gd name="T14" fmla="*/ 21 w 111"/>
                <a:gd name="T15" fmla="*/ 89 h 153"/>
                <a:gd name="T16" fmla="*/ 0 w 111"/>
                <a:gd name="T17" fmla="*/ 80 h 153"/>
                <a:gd name="T18" fmla="*/ 10 w 111"/>
                <a:gd name="T19" fmla="*/ 133 h 153"/>
                <a:gd name="T20" fmla="*/ 43 w 111"/>
                <a:gd name="T21" fmla="*/ 152 h 153"/>
                <a:gd name="T22" fmla="*/ 68 w 111"/>
                <a:gd name="T23" fmla="*/ 151 h 153"/>
                <a:gd name="T24" fmla="*/ 98 w 111"/>
                <a:gd name="T25" fmla="*/ 131 h 153"/>
                <a:gd name="T26" fmla="*/ 111 w 111"/>
                <a:gd name="T27" fmla="*/ 13 h 153"/>
                <a:gd name="T28" fmla="*/ 106 w 111"/>
                <a:gd name="T2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1" h="153">
                  <a:moveTo>
                    <a:pt x="106" y="0"/>
                  </a:moveTo>
                  <a:cubicBezTo>
                    <a:pt x="106" y="2"/>
                    <a:pt x="104" y="4"/>
                    <a:pt x="103" y="5"/>
                  </a:cubicBezTo>
                  <a:cubicBezTo>
                    <a:pt x="95" y="17"/>
                    <a:pt x="90" y="31"/>
                    <a:pt x="90" y="46"/>
                  </a:cubicBezTo>
                  <a:cubicBezTo>
                    <a:pt x="90" y="59"/>
                    <a:pt x="91" y="72"/>
                    <a:pt x="87" y="81"/>
                  </a:cubicBezTo>
                  <a:cubicBezTo>
                    <a:pt x="82" y="91"/>
                    <a:pt x="65" y="91"/>
                    <a:pt x="56" y="84"/>
                  </a:cubicBezTo>
                  <a:cubicBezTo>
                    <a:pt x="56" y="83"/>
                    <a:pt x="56" y="83"/>
                    <a:pt x="56" y="83"/>
                  </a:cubicBezTo>
                  <a:cubicBezTo>
                    <a:pt x="51" y="79"/>
                    <a:pt x="44" y="78"/>
                    <a:pt x="39" y="82"/>
                  </a:cubicBezTo>
                  <a:cubicBezTo>
                    <a:pt x="34" y="86"/>
                    <a:pt x="28" y="89"/>
                    <a:pt x="21" y="89"/>
                  </a:cubicBezTo>
                  <a:cubicBezTo>
                    <a:pt x="11" y="89"/>
                    <a:pt x="5" y="85"/>
                    <a:pt x="0" y="80"/>
                  </a:cubicBezTo>
                  <a:cubicBezTo>
                    <a:pt x="10" y="133"/>
                    <a:pt x="10" y="133"/>
                    <a:pt x="10" y="133"/>
                  </a:cubicBezTo>
                  <a:cubicBezTo>
                    <a:pt x="12" y="149"/>
                    <a:pt x="26" y="153"/>
                    <a:pt x="43" y="152"/>
                  </a:cubicBezTo>
                  <a:cubicBezTo>
                    <a:pt x="68" y="151"/>
                    <a:pt x="68" y="151"/>
                    <a:pt x="68" y="151"/>
                  </a:cubicBezTo>
                  <a:cubicBezTo>
                    <a:pt x="84" y="151"/>
                    <a:pt x="97" y="147"/>
                    <a:pt x="98" y="131"/>
                  </a:cubicBezTo>
                  <a:cubicBezTo>
                    <a:pt x="111" y="13"/>
                    <a:pt x="111" y="13"/>
                    <a:pt x="111" y="13"/>
                  </a:cubicBezTo>
                  <a:cubicBezTo>
                    <a:pt x="111" y="9"/>
                    <a:pt x="109" y="4"/>
                    <a:pt x="106" y="0"/>
                  </a:cubicBezTo>
                  <a:close/>
                </a:path>
              </a:pathLst>
            </a:custGeom>
            <a:solidFill>
              <a:srgbClr val="9797E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7" name="Freeform 79"/>
            <p:cNvSpPr/>
            <p:nvPr/>
          </p:nvSpPr>
          <p:spPr bwMode="auto">
            <a:xfrm>
              <a:off x="3633303" y="3992210"/>
              <a:ext cx="417549" cy="787700"/>
            </a:xfrm>
            <a:custGeom>
              <a:avLst/>
              <a:gdLst>
                <a:gd name="T0" fmla="*/ 71 w 78"/>
                <a:gd name="T1" fmla="*/ 43 h 147"/>
                <a:gd name="T2" fmla="*/ 12 w 78"/>
                <a:gd name="T3" fmla="*/ 143 h 147"/>
                <a:gd name="T4" fmla="*/ 29 w 78"/>
                <a:gd name="T5" fmla="*/ 35 h 147"/>
                <a:gd name="T6" fmla="*/ 59 w 78"/>
                <a:gd name="T7" fmla="*/ 4 h 147"/>
                <a:gd name="T8" fmla="*/ 71 w 78"/>
                <a:gd name="T9" fmla="*/ 43 h 147"/>
              </a:gdLst>
              <a:ahLst/>
              <a:cxnLst>
                <a:cxn ang="0">
                  <a:pos x="T0" y="T1"/>
                </a:cxn>
                <a:cxn ang="0">
                  <a:pos x="T2" y="T3"/>
                </a:cxn>
                <a:cxn ang="0">
                  <a:pos x="T4" y="T5"/>
                </a:cxn>
                <a:cxn ang="0">
                  <a:pos x="T6" y="T7"/>
                </a:cxn>
                <a:cxn ang="0">
                  <a:pos x="T8" y="T9"/>
                </a:cxn>
              </a:cxnLst>
              <a:rect l="0" t="0" r="r" b="b"/>
              <a:pathLst>
                <a:path w="78" h="147">
                  <a:moveTo>
                    <a:pt x="71" y="43"/>
                  </a:moveTo>
                  <a:cubicBezTo>
                    <a:pt x="64" y="64"/>
                    <a:pt x="25" y="147"/>
                    <a:pt x="12" y="143"/>
                  </a:cubicBezTo>
                  <a:cubicBezTo>
                    <a:pt x="0" y="139"/>
                    <a:pt x="22" y="57"/>
                    <a:pt x="29" y="35"/>
                  </a:cubicBezTo>
                  <a:cubicBezTo>
                    <a:pt x="36" y="14"/>
                    <a:pt x="47" y="0"/>
                    <a:pt x="59" y="4"/>
                  </a:cubicBezTo>
                  <a:cubicBezTo>
                    <a:pt x="72" y="8"/>
                    <a:pt x="78" y="21"/>
                    <a:pt x="71" y="43"/>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8" name="Freeform 80"/>
            <p:cNvSpPr/>
            <p:nvPr/>
          </p:nvSpPr>
          <p:spPr bwMode="auto">
            <a:xfrm>
              <a:off x="4281068" y="3998981"/>
              <a:ext cx="519115" cy="747074"/>
            </a:xfrm>
            <a:custGeom>
              <a:avLst/>
              <a:gdLst>
                <a:gd name="T0" fmla="*/ 10 w 97"/>
                <a:gd name="T1" fmla="*/ 46 h 140"/>
                <a:gd name="T2" fmla="*/ 85 w 97"/>
                <a:gd name="T3" fmla="*/ 135 h 140"/>
                <a:gd name="T4" fmla="*/ 51 w 97"/>
                <a:gd name="T5" fmla="*/ 33 h 140"/>
                <a:gd name="T6" fmla="*/ 16 w 97"/>
                <a:gd name="T7" fmla="*/ 6 h 140"/>
                <a:gd name="T8" fmla="*/ 10 w 97"/>
                <a:gd name="T9" fmla="*/ 46 h 140"/>
              </a:gdLst>
              <a:ahLst/>
              <a:cxnLst>
                <a:cxn ang="0">
                  <a:pos x="T0" y="T1"/>
                </a:cxn>
                <a:cxn ang="0">
                  <a:pos x="T2" y="T3"/>
                </a:cxn>
                <a:cxn ang="0">
                  <a:pos x="T4" y="T5"/>
                </a:cxn>
                <a:cxn ang="0">
                  <a:pos x="T6" y="T7"/>
                </a:cxn>
                <a:cxn ang="0">
                  <a:pos x="T8" y="T9"/>
                </a:cxn>
              </a:cxnLst>
              <a:rect l="0" t="0" r="r" b="b"/>
              <a:pathLst>
                <a:path w="97" h="140">
                  <a:moveTo>
                    <a:pt x="10" y="46"/>
                  </a:moveTo>
                  <a:cubicBezTo>
                    <a:pt x="20" y="66"/>
                    <a:pt x="74" y="140"/>
                    <a:pt x="85" y="135"/>
                  </a:cubicBezTo>
                  <a:cubicBezTo>
                    <a:pt x="97" y="129"/>
                    <a:pt x="61" y="53"/>
                    <a:pt x="51" y="33"/>
                  </a:cubicBezTo>
                  <a:cubicBezTo>
                    <a:pt x="41" y="13"/>
                    <a:pt x="28" y="0"/>
                    <a:pt x="16" y="6"/>
                  </a:cubicBezTo>
                  <a:cubicBezTo>
                    <a:pt x="5" y="12"/>
                    <a:pt x="0" y="26"/>
                    <a:pt x="10" y="46"/>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59" name="Freeform 81"/>
            <p:cNvSpPr/>
            <p:nvPr/>
          </p:nvSpPr>
          <p:spPr bwMode="auto">
            <a:xfrm>
              <a:off x="4062137" y="4608376"/>
              <a:ext cx="695162" cy="171534"/>
            </a:xfrm>
            <a:custGeom>
              <a:avLst/>
              <a:gdLst>
                <a:gd name="T0" fmla="*/ 107 w 130"/>
                <a:gd name="T1" fmla="*/ 2 h 32"/>
                <a:gd name="T2" fmla="*/ 1 w 130"/>
                <a:gd name="T3" fmla="*/ 24 h 32"/>
                <a:gd name="T4" fmla="*/ 109 w 130"/>
                <a:gd name="T5" fmla="*/ 31 h 32"/>
                <a:gd name="T6" fmla="*/ 129 w 130"/>
                <a:gd name="T7" fmla="*/ 14 h 32"/>
                <a:gd name="T8" fmla="*/ 107 w 130"/>
                <a:gd name="T9" fmla="*/ 2 h 32"/>
              </a:gdLst>
              <a:ahLst/>
              <a:cxnLst>
                <a:cxn ang="0">
                  <a:pos x="T0" y="T1"/>
                </a:cxn>
                <a:cxn ang="0">
                  <a:pos x="T2" y="T3"/>
                </a:cxn>
                <a:cxn ang="0">
                  <a:pos x="T4" y="T5"/>
                </a:cxn>
                <a:cxn ang="0">
                  <a:pos x="T6" y="T7"/>
                </a:cxn>
                <a:cxn ang="0">
                  <a:pos x="T8" y="T9"/>
                </a:cxn>
              </a:cxnLst>
              <a:rect l="0" t="0" r="r" b="b"/>
              <a:pathLst>
                <a:path w="130" h="32">
                  <a:moveTo>
                    <a:pt x="107" y="2"/>
                  </a:moveTo>
                  <a:cubicBezTo>
                    <a:pt x="92" y="3"/>
                    <a:pt x="0" y="16"/>
                    <a:pt x="1" y="24"/>
                  </a:cubicBezTo>
                  <a:cubicBezTo>
                    <a:pt x="2" y="32"/>
                    <a:pt x="95" y="32"/>
                    <a:pt x="109" y="31"/>
                  </a:cubicBezTo>
                  <a:cubicBezTo>
                    <a:pt x="124" y="29"/>
                    <a:pt x="130" y="22"/>
                    <a:pt x="129" y="14"/>
                  </a:cubicBezTo>
                  <a:cubicBezTo>
                    <a:pt x="129" y="6"/>
                    <a:pt x="121" y="0"/>
                    <a:pt x="107" y="2"/>
                  </a:cubicBezTo>
                  <a:close/>
                </a:path>
              </a:pathLst>
            </a:custGeom>
            <a:solidFill>
              <a:srgbClr val="FA96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0" name="Freeform 82"/>
            <p:cNvSpPr/>
            <p:nvPr/>
          </p:nvSpPr>
          <p:spPr bwMode="auto">
            <a:xfrm>
              <a:off x="4077936" y="3804877"/>
              <a:ext cx="187333" cy="311469"/>
            </a:xfrm>
            <a:custGeom>
              <a:avLst/>
              <a:gdLst>
                <a:gd name="T0" fmla="*/ 35 w 35"/>
                <a:gd name="T1" fmla="*/ 0 h 58"/>
                <a:gd name="T2" fmla="*/ 3 w 35"/>
                <a:gd name="T3" fmla="*/ 0 h 58"/>
                <a:gd name="T4" fmla="*/ 5 w 35"/>
                <a:gd name="T5" fmla="*/ 15 h 58"/>
                <a:gd name="T6" fmla="*/ 1 w 35"/>
                <a:gd name="T7" fmla="*/ 31 h 58"/>
                <a:gd name="T8" fmla="*/ 15 w 35"/>
                <a:gd name="T9" fmla="*/ 57 h 58"/>
                <a:gd name="T10" fmla="*/ 27 w 35"/>
                <a:gd name="T11" fmla="*/ 53 h 58"/>
                <a:gd name="T12" fmla="*/ 31 w 35"/>
                <a:gd name="T13" fmla="*/ 35 h 58"/>
                <a:gd name="T14" fmla="*/ 29 w 35"/>
                <a:gd name="T15" fmla="*/ 31 h 58"/>
                <a:gd name="T16" fmla="*/ 35 w 35"/>
                <a:gd name="T1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 h="58">
                  <a:moveTo>
                    <a:pt x="35" y="0"/>
                  </a:moveTo>
                  <a:cubicBezTo>
                    <a:pt x="3" y="0"/>
                    <a:pt x="3" y="0"/>
                    <a:pt x="3" y="0"/>
                  </a:cubicBezTo>
                  <a:cubicBezTo>
                    <a:pt x="5" y="5"/>
                    <a:pt x="5" y="10"/>
                    <a:pt x="5" y="15"/>
                  </a:cubicBezTo>
                  <a:cubicBezTo>
                    <a:pt x="1" y="31"/>
                    <a:pt x="1" y="31"/>
                    <a:pt x="1" y="31"/>
                  </a:cubicBezTo>
                  <a:cubicBezTo>
                    <a:pt x="0" y="46"/>
                    <a:pt x="6" y="54"/>
                    <a:pt x="15" y="57"/>
                  </a:cubicBezTo>
                  <a:cubicBezTo>
                    <a:pt x="19" y="58"/>
                    <a:pt x="24" y="56"/>
                    <a:pt x="27" y="53"/>
                  </a:cubicBezTo>
                  <a:cubicBezTo>
                    <a:pt x="32" y="49"/>
                    <a:pt x="32" y="42"/>
                    <a:pt x="31" y="35"/>
                  </a:cubicBezTo>
                  <a:cubicBezTo>
                    <a:pt x="29" y="31"/>
                    <a:pt x="29" y="31"/>
                    <a:pt x="29" y="31"/>
                  </a:cubicBezTo>
                  <a:cubicBezTo>
                    <a:pt x="28" y="25"/>
                    <a:pt x="35" y="0"/>
                    <a:pt x="35" y="0"/>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1" name="Freeform 83"/>
            <p:cNvSpPr/>
            <p:nvPr/>
          </p:nvSpPr>
          <p:spPr bwMode="auto">
            <a:xfrm>
              <a:off x="4093735" y="3804877"/>
              <a:ext cx="171534" cy="182819"/>
            </a:xfrm>
            <a:custGeom>
              <a:avLst/>
              <a:gdLst>
                <a:gd name="T0" fmla="*/ 32 w 32"/>
                <a:gd name="T1" fmla="*/ 0 h 34"/>
                <a:gd name="T2" fmla="*/ 0 w 32"/>
                <a:gd name="T3" fmla="*/ 0 h 34"/>
                <a:gd name="T4" fmla="*/ 2 w 32"/>
                <a:gd name="T5" fmla="*/ 15 h 34"/>
                <a:gd name="T6" fmla="*/ 0 w 32"/>
                <a:gd name="T7" fmla="*/ 21 h 34"/>
                <a:gd name="T8" fmla="*/ 11 w 32"/>
                <a:gd name="T9" fmla="*/ 31 h 34"/>
                <a:gd name="T10" fmla="*/ 24 w 32"/>
                <a:gd name="T11" fmla="*/ 31 h 34"/>
                <a:gd name="T12" fmla="*/ 26 w 32"/>
                <a:gd name="T13" fmla="*/ 29 h 34"/>
                <a:gd name="T14" fmla="*/ 32 w 32"/>
                <a:gd name="T15" fmla="*/ 0 h 3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34">
                  <a:moveTo>
                    <a:pt x="32" y="0"/>
                  </a:moveTo>
                  <a:cubicBezTo>
                    <a:pt x="0" y="0"/>
                    <a:pt x="0" y="0"/>
                    <a:pt x="0" y="0"/>
                  </a:cubicBezTo>
                  <a:cubicBezTo>
                    <a:pt x="2" y="5"/>
                    <a:pt x="2" y="10"/>
                    <a:pt x="2" y="15"/>
                  </a:cubicBezTo>
                  <a:cubicBezTo>
                    <a:pt x="0" y="21"/>
                    <a:pt x="0" y="21"/>
                    <a:pt x="0" y="21"/>
                  </a:cubicBezTo>
                  <a:cubicBezTo>
                    <a:pt x="4" y="25"/>
                    <a:pt x="8" y="29"/>
                    <a:pt x="11" y="31"/>
                  </a:cubicBezTo>
                  <a:cubicBezTo>
                    <a:pt x="15" y="34"/>
                    <a:pt x="20" y="34"/>
                    <a:pt x="24" y="31"/>
                  </a:cubicBezTo>
                  <a:cubicBezTo>
                    <a:pt x="24" y="30"/>
                    <a:pt x="25" y="29"/>
                    <a:pt x="26" y="29"/>
                  </a:cubicBezTo>
                  <a:cubicBezTo>
                    <a:pt x="26" y="20"/>
                    <a:pt x="32" y="0"/>
                    <a:pt x="32" y="0"/>
                  </a:cubicBezTo>
                  <a:close/>
                </a:path>
              </a:pathLst>
            </a:custGeom>
            <a:solidFill>
              <a:srgbClr val="FA96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2" name="Freeform 84"/>
            <p:cNvSpPr/>
            <p:nvPr/>
          </p:nvSpPr>
          <p:spPr bwMode="auto">
            <a:xfrm>
              <a:off x="3992170" y="3698797"/>
              <a:ext cx="78996" cy="112851"/>
            </a:xfrm>
            <a:custGeom>
              <a:avLst/>
              <a:gdLst>
                <a:gd name="T0" fmla="*/ 14 w 15"/>
                <a:gd name="T1" fmla="*/ 9 h 21"/>
                <a:gd name="T2" fmla="*/ 10 w 15"/>
                <a:gd name="T3" fmla="*/ 20 h 21"/>
                <a:gd name="T4" fmla="*/ 1 w 15"/>
                <a:gd name="T5" fmla="*/ 7 h 21"/>
                <a:gd name="T6" fmla="*/ 7 w 15"/>
                <a:gd name="T7" fmla="*/ 0 h 21"/>
                <a:gd name="T8" fmla="*/ 14 w 15"/>
                <a:gd name="T9" fmla="*/ 9 h 21"/>
              </a:gdLst>
              <a:ahLst/>
              <a:cxnLst>
                <a:cxn ang="0">
                  <a:pos x="T0" y="T1"/>
                </a:cxn>
                <a:cxn ang="0">
                  <a:pos x="T2" y="T3"/>
                </a:cxn>
                <a:cxn ang="0">
                  <a:pos x="T4" y="T5"/>
                </a:cxn>
                <a:cxn ang="0">
                  <a:pos x="T6" y="T7"/>
                </a:cxn>
                <a:cxn ang="0">
                  <a:pos x="T8" y="T9"/>
                </a:cxn>
              </a:cxnLst>
              <a:rect l="0" t="0" r="r" b="b"/>
              <a:pathLst>
                <a:path w="15" h="21">
                  <a:moveTo>
                    <a:pt x="14" y="9"/>
                  </a:moveTo>
                  <a:cubicBezTo>
                    <a:pt x="14" y="14"/>
                    <a:pt x="15" y="20"/>
                    <a:pt x="10" y="20"/>
                  </a:cubicBezTo>
                  <a:cubicBezTo>
                    <a:pt x="6" y="21"/>
                    <a:pt x="1" y="12"/>
                    <a:pt x="1" y="7"/>
                  </a:cubicBezTo>
                  <a:cubicBezTo>
                    <a:pt x="0" y="2"/>
                    <a:pt x="3" y="0"/>
                    <a:pt x="7" y="0"/>
                  </a:cubicBezTo>
                  <a:cubicBezTo>
                    <a:pt x="12" y="0"/>
                    <a:pt x="14" y="4"/>
                    <a:pt x="14" y="9"/>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3" name="Freeform 85"/>
            <p:cNvSpPr/>
            <p:nvPr/>
          </p:nvSpPr>
          <p:spPr bwMode="auto">
            <a:xfrm>
              <a:off x="4290096" y="3694283"/>
              <a:ext cx="81253" cy="110594"/>
            </a:xfrm>
            <a:custGeom>
              <a:avLst/>
              <a:gdLst>
                <a:gd name="T0" fmla="*/ 1 w 15"/>
                <a:gd name="T1" fmla="*/ 9 h 21"/>
                <a:gd name="T2" fmla="*/ 5 w 15"/>
                <a:gd name="T3" fmla="*/ 21 h 21"/>
                <a:gd name="T4" fmla="*/ 15 w 15"/>
                <a:gd name="T5" fmla="*/ 7 h 21"/>
                <a:gd name="T6" fmla="*/ 8 w 15"/>
                <a:gd name="T7" fmla="*/ 1 h 21"/>
                <a:gd name="T8" fmla="*/ 1 w 15"/>
                <a:gd name="T9" fmla="*/ 9 h 21"/>
              </a:gdLst>
              <a:ahLst/>
              <a:cxnLst>
                <a:cxn ang="0">
                  <a:pos x="T0" y="T1"/>
                </a:cxn>
                <a:cxn ang="0">
                  <a:pos x="T2" y="T3"/>
                </a:cxn>
                <a:cxn ang="0">
                  <a:pos x="T4" y="T5"/>
                </a:cxn>
                <a:cxn ang="0">
                  <a:pos x="T6" y="T7"/>
                </a:cxn>
                <a:cxn ang="0">
                  <a:pos x="T8" y="T9"/>
                </a:cxn>
              </a:cxnLst>
              <a:rect l="0" t="0" r="r" b="b"/>
              <a:pathLst>
                <a:path w="15" h="21">
                  <a:moveTo>
                    <a:pt x="1" y="9"/>
                  </a:moveTo>
                  <a:cubicBezTo>
                    <a:pt x="1" y="14"/>
                    <a:pt x="0" y="21"/>
                    <a:pt x="5" y="21"/>
                  </a:cubicBezTo>
                  <a:cubicBezTo>
                    <a:pt x="9" y="21"/>
                    <a:pt x="14" y="12"/>
                    <a:pt x="15" y="7"/>
                  </a:cubicBezTo>
                  <a:cubicBezTo>
                    <a:pt x="15" y="2"/>
                    <a:pt x="12" y="1"/>
                    <a:pt x="8" y="1"/>
                  </a:cubicBezTo>
                  <a:cubicBezTo>
                    <a:pt x="3" y="0"/>
                    <a:pt x="1" y="4"/>
                    <a:pt x="1" y="9"/>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4" name="Freeform 86"/>
            <p:cNvSpPr/>
            <p:nvPr/>
          </p:nvSpPr>
          <p:spPr bwMode="auto">
            <a:xfrm>
              <a:off x="4028282" y="3495665"/>
              <a:ext cx="315983" cy="449147"/>
            </a:xfrm>
            <a:custGeom>
              <a:avLst/>
              <a:gdLst>
                <a:gd name="T0" fmla="*/ 59 w 59"/>
                <a:gd name="T1" fmla="*/ 37 h 84"/>
                <a:gd name="T2" fmla="*/ 36 w 59"/>
                <a:gd name="T3" fmla="*/ 81 h 84"/>
                <a:gd name="T4" fmla="*/ 23 w 59"/>
                <a:gd name="T5" fmla="*/ 81 h 84"/>
                <a:gd name="T6" fmla="*/ 0 w 59"/>
                <a:gd name="T7" fmla="*/ 37 h 84"/>
                <a:gd name="T8" fmla="*/ 30 w 59"/>
                <a:gd name="T9" fmla="*/ 0 h 84"/>
                <a:gd name="T10" fmla="*/ 59 w 59"/>
                <a:gd name="T11" fmla="*/ 37 h 84"/>
              </a:gdLst>
              <a:ahLst/>
              <a:cxnLst>
                <a:cxn ang="0">
                  <a:pos x="T0" y="T1"/>
                </a:cxn>
                <a:cxn ang="0">
                  <a:pos x="T2" y="T3"/>
                </a:cxn>
                <a:cxn ang="0">
                  <a:pos x="T4" y="T5"/>
                </a:cxn>
                <a:cxn ang="0">
                  <a:pos x="T6" y="T7"/>
                </a:cxn>
                <a:cxn ang="0">
                  <a:pos x="T8" y="T9"/>
                </a:cxn>
                <a:cxn ang="0">
                  <a:pos x="T10" y="T11"/>
                </a:cxn>
              </a:cxnLst>
              <a:rect l="0" t="0" r="r" b="b"/>
              <a:pathLst>
                <a:path w="59" h="84">
                  <a:moveTo>
                    <a:pt x="59" y="37"/>
                  </a:moveTo>
                  <a:cubicBezTo>
                    <a:pt x="59" y="59"/>
                    <a:pt x="44" y="74"/>
                    <a:pt x="36" y="81"/>
                  </a:cubicBezTo>
                  <a:cubicBezTo>
                    <a:pt x="32" y="84"/>
                    <a:pt x="27" y="84"/>
                    <a:pt x="23" y="81"/>
                  </a:cubicBezTo>
                  <a:cubicBezTo>
                    <a:pt x="15" y="75"/>
                    <a:pt x="0" y="61"/>
                    <a:pt x="0" y="37"/>
                  </a:cubicBezTo>
                  <a:cubicBezTo>
                    <a:pt x="0" y="11"/>
                    <a:pt x="14" y="0"/>
                    <a:pt x="30" y="0"/>
                  </a:cubicBezTo>
                  <a:cubicBezTo>
                    <a:pt x="45" y="0"/>
                    <a:pt x="59" y="11"/>
                    <a:pt x="59" y="37"/>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5" name="Freeform 87"/>
            <p:cNvSpPr/>
            <p:nvPr/>
          </p:nvSpPr>
          <p:spPr bwMode="auto">
            <a:xfrm>
              <a:off x="4156932" y="3667199"/>
              <a:ext cx="54169" cy="144449"/>
            </a:xfrm>
            <a:custGeom>
              <a:avLst/>
              <a:gdLst>
                <a:gd name="T0" fmla="*/ 10 w 10"/>
                <a:gd name="T1" fmla="*/ 22 h 27"/>
                <a:gd name="T2" fmla="*/ 5 w 10"/>
                <a:gd name="T3" fmla="*/ 27 h 27"/>
                <a:gd name="T4" fmla="*/ 1 w 10"/>
                <a:gd name="T5" fmla="*/ 22 h 27"/>
                <a:gd name="T6" fmla="*/ 3 w 10"/>
                <a:gd name="T7" fmla="*/ 2 h 27"/>
                <a:gd name="T8" fmla="*/ 4 w 10"/>
                <a:gd name="T9" fmla="*/ 0 h 27"/>
                <a:gd name="T10" fmla="*/ 6 w 10"/>
                <a:gd name="T11" fmla="*/ 0 h 27"/>
                <a:gd name="T12" fmla="*/ 8 w 10"/>
                <a:gd name="T13" fmla="*/ 2 h 27"/>
                <a:gd name="T14" fmla="*/ 10 w 10"/>
                <a:gd name="T15" fmla="*/ 22 h 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7">
                  <a:moveTo>
                    <a:pt x="10" y="22"/>
                  </a:moveTo>
                  <a:cubicBezTo>
                    <a:pt x="10" y="25"/>
                    <a:pt x="8" y="27"/>
                    <a:pt x="5" y="27"/>
                  </a:cubicBezTo>
                  <a:cubicBezTo>
                    <a:pt x="2" y="27"/>
                    <a:pt x="0" y="24"/>
                    <a:pt x="1" y="22"/>
                  </a:cubicBezTo>
                  <a:cubicBezTo>
                    <a:pt x="3" y="2"/>
                    <a:pt x="3" y="2"/>
                    <a:pt x="3" y="2"/>
                  </a:cubicBezTo>
                  <a:cubicBezTo>
                    <a:pt x="3" y="1"/>
                    <a:pt x="3" y="1"/>
                    <a:pt x="4" y="0"/>
                  </a:cubicBezTo>
                  <a:cubicBezTo>
                    <a:pt x="4" y="0"/>
                    <a:pt x="5" y="0"/>
                    <a:pt x="6" y="0"/>
                  </a:cubicBezTo>
                  <a:cubicBezTo>
                    <a:pt x="7" y="0"/>
                    <a:pt x="8" y="1"/>
                    <a:pt x="8" y="2"/>
                  </a:cubicBezTo>
                  <a:lnTo>
                    <a:pt x="10" y="22"/>
                  </a:lnTo>
                  <a:close/>
                </a:path>
              </a:pathLst>
            </a:custGeom>
            <a:solidFill>
              <a:srgbClr val="FA968C"/>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6" name="Freeform 88"/>
            <p:cNvSpPr/>
            <p:nvPr/>
          </p:nvSpPr>
          <p:spPr bwMode="auto">
            <a:xfrm>
              <a:off x="3985398" y="3421183"/>
              <a:ext cx="417549" cy="320497"/>
            </a:xfrm>
            <a:custGeom>
              <a:avLst/>
              <a:gdLst>
                <a:gd name="T0" fmla="*/ 71 w 78"/>
                <a:gd name="T1" fmla="*/ 15 h 60"/>
                <a:gd name="T2" fmla="*/ 71 w 78"/>
                <a:gd name="T3" fmla="*/ 15 h 60"/>
                <a:gd name="T4" fmla="*/ 54 w 78"/>
                <a:gd name="T5" fmla="*/ 4 h 60"/>
                <a:gd name="T6" fmla="*/ 53 w 78"/>
                <a:gd name="T7" fmla="*/ 4 h 60"/>
                <a:gd name="T8" fmla="*/ 40 w 78"/>
                <a:gd name="T9" fmla="*/ 3 h 60"/>
                <a:gd name="T10" fmla="*/ 27 w 78"/>
                <a:gd name="T11" fmla="*/ 1 h 60"/>
                <a:gd name="T12" fmla="*/ 13 w 78"/>
                <a:gd name="T13" fmla="*/ 10 h 60"/>
                <a:gd name="T14" fmla="*/ 10 w 78"/>
                <a:gd name="T15" fmla="*/ 13 h 60"/>
                <a:gd name="T16" fmla="*/ 1 w 78"/>
                <a:gd name="T17" fmla="*/ 41 h 60"/>
                <a:gd name="T18" fmla="*/ 8 w 78"/>
                <a:gd name="T19" fmla="*/ 49 h 60"/>
                <a:gd name="T20" fmla="*/ 8 w 78"/>
                <a:gd name="T21" fmla="*/ 58 h 60"/>
                <a:gd name="T22" fmla="*/ 9 w 78"/>
                <a:gd name="T23" fmla="*/ 59 h 60"/>
                <a:gd name="T24" fmla="*/ 11 w 78"/>
                <a:gd name="T25" fmla="*/ 58 h 60"/>
                <a:gd name="T26" fmla="*/ 11 w 78"/>
                <a:gd name="T27" fmla="*/ 53 h 60"/>
                <a:gd name="T28" fmla="*/ 21 w 78"/>
                <a:gd name="T29" fmla="*/ 40 h 60"/>
                <a:gd name="T30" fmla="*/ 30 w 78"/>
                <a:gd name="T31" fmla="*/ 36 h 60"/>
                <a:gd name="T32" fmla="*/ 37 w 78"/>
                <a:gd name="T33" fmla="*/ 28 h 60"/>
                <a:gd name="T34" fmla="*/ 49 w 78"/>
                <a:gd name="T35" fmla="*/ 24 h 60"/>
                <a:gd name="T36" fmla="*/ 61 w 78"/>
                <a:gd name="T37" fmla="*/ 35 h 60"/>
                <a:gd name="T38" fmla="*/ 64 w 78"/>
                <a:gd name="T39" fmla="*/ 48 h 60"/>
                <a:gd name="T40" fmla="*/ 64 w 78"/>
                <a:gd name="T41" fmla="*/ 58 h 60"/>
                <a:gd name="T42" fmla="*/ 66 w 78"/>
                <a:gd name="T43" fmla="*/ 60 h 60"/>
                <a:gd name="T44" fmla="*/ 67 w 78"/>
                <a:gd name="T45" fmla="*/ 58 h 60"/>
                <a:gd name="T46" fmla="*/ 67 w 78"/>
                <a:gd name="T47" fmla="*/ 53 h 60"/>
                <a:gd name="T48" fmla="*/ 69 w 78"/>
                <a:gd name="T49" fmla="*/ 48 h 60"/>
                <a:gd name="T50" fmla="*/ 71 w 78"/>
                <a:gd name="T51" fmla="*/ 17 h 60"/>
                <a:gd name="T52" fmla="*/ 71 w 78"/>
                <a:gd name="T5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8" h="60">
                  <a:moveTo>
                    <a:pt x="71" y="15"/>
                  </a:moveTo>
                  <a:cubicBezTo>
                    <a:pt x="71" y="15"/>
                    <a:pt x="71" y="15"/>
                    <a:pt x="71" y="15"/>
                  </a:cubicBezTo>
                  <a:cubicBezTo>
                    <a:pt x="73" y="12"/>
                    <a:pt x="66" y="0"/>
                    <a:pt x="54" y="4"/>
                  </a:cubicBezTo>
                  <a:cubicBezTo>
                    <a:pt x="53" y="4"/>
                    <a:pt x="53" y="4"/>
                    <a:pt x="53" y="4"/>
                  </a:cubicBezTo>
                  <a:cubicBezTo>
                    <a:pt x="49" y="5"/>
                    <a:pt x="44" y="4"/>
                    <a:pt x="40" y="3"/>
                  </a:cubicBezTo>
                  <a:cubicBezTo>
                    <a:pt x="37" y="2"/>
                    <a:pt x="33" y="1"/>
                    <a:pt x="27" y="1"/>
                  </a:cubicBezTo>
                  <a:cubicBezTo>
                    <a:pt x="17" y="2"/>
                    <a:pt x="13" y="10"/>
                    <a:pt x="13" y="10"/>
                  </a:cubicBezTo>
                  <a:cubicBezTo>
                    <a:pt x="12" y="11"/>
                    <a:pt x="11" y="12"/>
                    <a:pt x="10" y="13"/>
                  </a:cubicBezTo>
                  <a:cubicBezTo>
                    <a:pt x="0" y="22"/>
                    <a:pt x="1" y="41"/>
                    <a:pt x="1" y="41"/>
                  </a:cubicBezTo>
                  <a:cubicBezTo>
                    <a:pt x="5" y="42"/>
                    <a:pt x="8" y="45"/>
                    <a:pt x="8" y="49"/>
                  </a:cubicBezTo>
                  <a:cubicBezTo>
                    <a:pt x="8" y="58"/>
                    <a:pt x="8" y="58"/>
                    <a:pt x="8" y="58"/>
                  </a:cubicBezTo>
                  <a:cubicBezTo>
                    <a:pt x="8" y="59"/>
                    <a:pt x="9" y="59"/>
                    <a:pt x="9" y="59"/>
                  </a:cubicBezTo>
                  <a:cubicBezTo>
                    <a:pt x="10" y="59"/>
                    <a:pt x="11" y="59"/>
                    <a:pt x="11" y="58"/>
                  </a:cubicBezTo>
                  <a:cubicBezTo>
                    <a:pt x="11" y="53"/>
                    <a:pt x="11" y="53"/>
                    <a:pt x="11" y="53"/>
                  </a:cubicBezTo>
                  <a:cubicBezTo>
                    <a:pt x="11" y="47"/>
                    <a:pt x="15" y="42"/>
                    <a:pt x="21" y="40"/>
                  </a:cubicBezTo>
                  <a:cubicBezTo>
                    <a:pt x="24" y="40"/>
                    <a:pt x="28" y="38"/>
                    <a:pt x="30" y="36"/>
                  </a:cubicBezTo>
                  <a:cubicBezTo>
                    <a:pt x="33" y="33"/>
                    <a:pt x="35" y="31"/>
                    <a:pt x="37" y="28"/>
                  </a:cubicBezTo>
                  <a:cubicBezTo>
                    <a:pt x="39" y="24"/>
                    <a:pt x="45" y="22"/>
                    <a:pt x="49" y="24"/>
                  </a:cubicBezTo>
                  <a:cubicBezTo>
                    <a:pt x="54" y="26"/>
                    <a:pt x="58" y="31"/>
                    <a:pt x="61" y="35"/>
                  </a:cubicBezTo>
                  <a:cubicBezTo>
                    <a:pt x="63" y="39"/>
                    <a:pt x="64" y="44"/>
                    <a:pt x="64" y="48"/>
                  </a:cubicBezTo>
                  <a:cubicBezTo>
                    <a:pt x="64" y="58"/>
                    <a:pt x="64" y="58"/>
                    <a:pt x="64" y="58"/>
                  </a:cubicBezTo>
                  <a:cubicBezTo>
                    <a:pt x="64" y="59"/>
                    <a:pt x="65" y="60"/>
                    <a:pt x="66" y="60"/>
                  </a:cubicBezTo>
                  <a:cubicBezTo>
                    <a:pt x="67" y="60"/>
                    <a:pt x="67" y="59"/>
                    <a:pt x="67" y="58"/>
                  </a:cubicBezTo>
                  <a:cubicBezTo>
                    <a:pt x="67" y="53"/>
                    <a:pt x="67" y="53"/>
                    <a:pt x="67" y="53"/>
                  </a:cubicBezTo>
                  <a:cubicBezTo>
                    <a:pt x="67" y="51"/>
                    <a:pt x="68" y="50"/>
                    <a:pt x="69" y="48"/>
                  </a:cubicBezTo>
                  <a:cubicBezTo>
                    <a:pt x="74" y="41"/>
                    <a:pt x="78" y="27"/>
                    <a:pt x="71" y="17"/>
                  </a:cubicBezTo>
                  <a:cubicBezTo>
                    <a:pt x="70" y="17"/>
                    <a:pt x="70" y="16"/>
                    <a:pt x="71" y="15"/>
                  </a:cubicBezTo>
                  <a:close/>
                </a:path>
              </a:pathLst>
            </a:custGeom>
            <a:solidFill>
              <a:srgbClr val="4D4C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7" name="Freeform 89"/>
            <p:cNvSpPr/>
            <p:nvPr/>
          </p:nvSpPr>
          <p:spPr bwMode="auto">
            <a:xfrm>
              <a:off x="3671673" y="4565493"/>
              <a:ext cx="731275" cy="241501"/>
            </a:xfrm>
            <a:custGeom>
              <a:avLst/>
              <a:gdLst>
                <a:gd name="T0" fmla="*/ 137 w 137"/>
                <a:gd name="T1" fmla="*/ 15 h 45"/>
                <a:gd name="T2" fmla="*/ 131 w 137"/>
                <a:gd name="T3" fmla="*/ 3 h 45"/>
                <a:gd name="T4" fmla="*/ 111 w 137"/>
                <a:gd name="T5" fmla="*/ 4 h 45"/>
                <a:gd name="T6" fmla="*/ 102 w 137"/>
                <a:gd name="T7" fmla="*/ 6 h 45"/>
                <a:gd name="T8" fmla="*/ 21 w 137"/>
                <a:gd name="T9" fmla="*/ 7 h 45"/>
                <a:gd name="T10" fmla="*/ 1 w 137"/>
                <a:gd name="T11" fmla="*/ 29 h 45"/>
                <a:gd name="T12" fmla="*/ 26 w 137"/>
                <a:gd name="T13" fmla="*/ 42 h 45"/>
                <a:gd name="T14" fmla="*/ 102 w 137"/>
                <a:gd name="T15" fmla="*/ 16 h 45"/>
                <a:gd name="T16" fmla="*/ 121 w 137"/>
                <a:gd name="T17" fmla="*/ 13 h 45"/>
                <a:gd name="T18" fmla="*/ 137 w 137"/>
                <a:gd name="T19" fmla="*/ 1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45">
                  <a:moveTo>
                    <a:pt x="137" y="15"/>
                  </a:moveTo>
                  <a:cubicBezTo>
                    <a:pt x="137" y="15"/>
                    <a:pt x="135" y="7"/>
                    <a:pt x="131" y="3"/>
                  </a:cubicBezTo>
                  <a:cubicBezTo>
                    <a:pt x="129" y="0"/>
                    <a:pt x="118" y="3"/>
                    <a:pt x="111" y="4"/>
                  </a:cubicBezTo>
                  <a:cubicBezTo>
                    <a:pt x="108" y="5"/>
                    <a:pt x="105" y="6"/>
                    <a:pt x="102" y="6"/>
                  </a:cubicBezTo>
                  <a:cubicBezTo>
                    <a:pt x="78" y="4"/>
                    <a:pt x="32" y="5"/>
                    <a:pt x="21" y="7"/>
                  </a:cubicBezTo>
                  <a:cubicBezTo>
                    <a:pt x="7" y="10"/>
                    <a:pt x="0" y="21"/>
                    <a:pt x="1" y="29"/>
                  </a:cubicBezTo>
                  <a:cubicBezTo>
                    <a:pt x="4" y="42"/>
                    <a:pt x="12" y="45"/>
                    <a:pt x="26" y="42"/>
                  </a:cubicBezTo>
                  <a:cubicBezTo>
                    <a:pt x="36" y="40"/>
                    <a:pt x="79" y="27"/>
                    <a:pt x="102" y="16"/>
                  </a:cubicBezTo>
                  <a:cubicBezTo>
                    <a:pt x="108" y="13"/>
                    <a:pt x="114" y="12"/>
                    <a:pt x="121" y="13"/>
                  </a:cubicBezTo>
                  <a:lnTo>
                    <a:pt x="137" y="15"/>
                  </a:ln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8" name="Freeform 90"/>
            <p:cNvSpPr/>
            <p:nvPr/>
          </p:nvSpPr>
          <p:spPr bwMode="auto">
            <a:xfrm>
              <a:off x="3258638" y="5041724"/>
              <a:ext cx="1374526" cy="379179"/>
            </a:xfrm>
            <a:custGeom>
              <a:avLst/>
              <a:gdLst>
                <a:gd name="T0" fmla="*/ 250 w 257"/>
                <a:gd name="T1" fmla="*/ 60 h 71"/>
                <a:gd name="T2" fmla="*/ 223 w 257"/>
                <a:gd name="T3" fmla="*/ 58 h 71"/>
                <a:gd name="T4" fmla="*/ 205 w 257"/>
                <a:gd name="T5" fmla="*/ 48 h 71"/>
                <a:gd name="T6" fmla="*/ 187 w 257"/>
                <a:gd name="T7" fmla="*/ 49 h 71"/>
                <a:gd name="T8" fmla="*/ 147 w 257"/>
                <a:gd name="T9" fmla="*/ 51 h 71"/>
                <a:gd name="T10" fmla="*/ 39 w 257"/>
                <a:gd name="T11" fmla="*/ 1 h 71"/>
                <a:gd name="T12" fmla="*/ 4 w 257"/>
                <a:gd name="T13" fmla="*/ 22 h 71"/>
                <a:gd name="T14" fmla="*/ 24 w 257"/>
                <a:gd name="T15" fmla="*/ 49 h 71"/>
                <a:gd name="T16" fmla="*/ 178 w 257"/>
                <a:gd name="T17" fmla="*/ 70 h 71"/>
                <a:gd name="T18" fmla="*/ 244 w 257"/>
                <a:gd name="T19" fmla="*/ 70 h 71"/>
                <a:gd name="T20" fmla="*/ 256 w 257"/>
                <a:gd name="T21" fmla="*/ 66 h 71"/>
                <a:gd name="T22" fmla="*/ 250 w 257"/>
                <a:gd name="T23"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7" h="71">
                  <a:moveTo>
                    <a:pt x="250" y="60"/>
                  </a:moveTo>
                  <a:cubicBezTo>
                    <a:pt x="245" y="58"/>
                    <a:pt x="231" y="59"/>
                    <a:pt x="223" y="58"/>
                  </a:cubicBezTo>
                  <a:cubicBezTo>
                    <a:pt x="214" y="58"/>
                    <a:pt x="210" y="51"/>
                    <a:pt x="205" y="48"/>
                  </a:cubicBezTo>
                  <a:cubicBezTo>
                    <a:pt x="201" y="47"/>
                    <a:pt x="195" y="45"/>
                    <a:pt x="187" y="49"/>
                  </a:cubicBezTo>
                  <a:cubicBezTo>
                    <a:pt x="172" y="57"/>
                    <a:pt x="161" y="54"/>
                    <a:pt x="147" y="51"/>
                  </a:cubicBezTo>
                  <a:cubicBezTo>
                    <a:pt x="147" y="51"/>
                    <a:pt x="65" y="3"/>
                    <a:pt x="39" y="1"/>
                  </a:cubicBezTo>
                  <a:cubicBezTo>
                    <a:pt x="18" y="0"/>
                    <a:pt x="7" y="11"/>
                    <a:pt x="4" y="22"/>
                  </a:cubicBezTo>
                  <a:cubicBezTo>
                    <a:pt x="0" y="35"/>
                    <a:pt x="10" y="44"/>
                    <a:pt x="24" y="49"/>
                  </a:cubicBezTo>
                  <a:cubicBezTo>
                    <a:pt x="70" y="65"/>
                    <a:pt x="145" y="70"/>
                    <a:pt x="178" y="70"/>
                  </a:cubicBezTo>
                  <a:cubicBezTo>
                    <a:pt x="178" y="70"/>
                    <a:pt x="221" y="66"/>
                    <a:pt x="244" y="70"/>
                  </a:cubicBezTo>
                  <a:cubicBezTo>
                    <a:pt x="252" y="71"/>
                    <a:pt x="255" y="69"/>
                    <a:pt x="256" y="66"/>
                  </a:cubicBezTo>
                  <a:cubicBezTo>
                    <a:pt x="257" y="63"/>
                    <a:pt x="255" y="61"/>
                    <a:pt x="250" y="60"/>
                  </a:cubicBezTo>
                  <a:close/>
                </a:path>
              </a:pathLst>
            </a:custGeom>
            <a:solidFill>
              <a:srgbClr val="FAB9A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69" name="Freeform 91"/>
            <p:cNvSpPr/>
            <p:nvPr/>
          </p:nvSpPr>
          <p:spPr bwMode="auto">
            <a:xfrm>
              <a:off x="3750668" y="4576778"/>
              <a:ext cx="808014" cy="559741"/>
            </a:xfrm>
            <a:custGeom>
              <a:avLst/>
              <a:gdLst>
                <a:gd name="T0" fmla="*/ 137 w 151"/>
                <a:gd name="T1" fmla="*/ 105 h 105"/>
                <a:gd name="T2" fmla="*/ 13 w 151"/>
                <a:gd name="T3" fmla="*/ 105 h 105"/>
                <a:gd name="T4" fmla="*/ 0 w 151"/>
                <a:gd name="T5" fmla="*/ 92 h 105"/>
                <a:gd name="T6" fmla="*/ 0 w 151"/>
                <a:gd name="T7" fmla="*/ 13 h 105"/>
                <a:gd name="T8" fmla="*/ 13 w 151"/>
                <a:gd name="T9" fmla="*/ 0 h 105"/>
                <a:gd name="T10" fmla="*/ 137 w 151"/>
                <a:gd name="T11" fmla="*/ 0 h 105"/>
                <a:gd name="T12" fmla="*/ 151 w 151"/>
                <a:gd name="T13" fmla="*/ 13 h 105"/>
                <a:gd name="T14" fmla="*/ 151 w 151"/>
                <a:gd name="T15" fmla="*/ 92 h 105"/>
                <a:gd name="T16" fmla="*/ 137 w 151"/>
                <a:gd name="T17"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05">
                  <a:moveTo>
                    <a:pt x="137" y="105"/>
                  </a:moveTo>
                  <a:cubicBezTo>
                    <a:pt x="13" y="105"/>
                    <a:pt x="13" y="105"/>
                    <a:pt x="13" y="105"/>
                  </a:cubicBezTo>
                  <a:cubicBezTo>
                    <a:pt x="6" y="105"/>
                    <a:pt x="0" y="99"/>
                    <a:pt x="0" y="92"/>
                  </a:cubicBezTo>
                  <a:cubicBezTo>
                    <a:pt x="0" y="13"/>
                    <a:pt x="0" y="13"/>
                    <a:pt x="0" y="13"/>
                  </a:cubicBezTo>
                  <a:cubicBezTo>
                    <a:pt x="0" y="6"/>
                    <a:pt x="6" y="0"/>
                    <a:pt x="13" y="0"/>
                  </a:cubicBezTo>
                  <a:cubicBezTo>
                    <a:pt x="137" y="0"/>
                    <a:pt x="137" y="0"/>
                    <a:pt x="137" y="0"/>
                  </a:cubicBezTo>
                  <a:cubicBezTo>
                    <a:pt x="145" y="0"/>
                    <a:pt x="151" y="6"/>
                    <a:pt x="151" y="13"/>
                  </a:cubicBezTo>
                  <a:cubicBezTo>
                    <a:pt x="151" y="92"/>
                    <a:pt x="151" y="92"/>
                    <a:pt x="151" y="92"/>
                  </a:cubicBezTo>
                  <a:cubicBezTo>
                    <a:pt x="151" y="99"/>
                    <a:pt x="145" y="105"/>
                    <a:pt x="137" y="105"/>
                  </a:cubicBezTo>
                  <a:close/>
                </a:path>
              </a:pathLst>
            </a:custGeom>
            <a:solidFill>
              <a:srgbClr val="E1E1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0" name="Freeform 92"/>
            <p:cNvSpPr/>
            <p:nvPr/>
          </p:nvSpPr>
          <p:spPr bwMode="auto">
            <a:xfrm>
              <a:off x="3750668" y="4576778"/>
              <a:ext cx="808014" cy="74482"/>
            </a:xfrm>
            <a:custGeom>
              <a:avLst/>
              <a:gdLst>
                <a:gd name="T0" fmla="*/ 140 w 151"/>
                <a:gd name="T1" fmla="*/ 0 h 14"/>
                <a:gd name="T2" fmla="*/ 11 w 151"/>
                <a:gd name="T3" fmla="*/ 0 h 14"/>
                <a:gd name="T4" fmla="*/ 0 w 151"/>
                <a:gd name="T5" fmla="*/ 11 h 14"/>
                <a:gd name="T6" fmla="*/ 0 w 151"/>
                <a:gd name="T7" fmla="*/ 14 h 14"/>
                <a:gd name="T8" fmla="*/ 11 w 151"/>
                <a:gd name="T9" fmla="*/ 3 h 14"/>
                <a:gd name="T10" fmla="*/ 140 w 151"/>
                <a:gd name="T11" fmla="*/ 3 h 14"/>
                <a:gd name="T12" fmla="*/ 151 w 151"/>
                <a:gd name="T13" fmla="*/ 14 h 14"/>
                <a:gd name="T14" fmla="*/ 151 w 151"/>
                <a:gd name="T15" fmla="*/ 11 h 14"/>
                <a:gd name="T16" fmla="*/ 140 w 151"/>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1" h="14">
                  <a:moveTo>
                    <a:pt x="140" y="0"/>
                  </a:moveTo>
                  <a:cubicBezTo>
                    <a:pt x="11" y="0"/>
                    <a:pt x="11" y="0"/>
                    <a:pt x="11" y="0"/>
                  </a:cubicBezTo>
                  <a:cubicBezTo>
                    <a:pt x="5" y="0"/>
                    <a:pt x="0" y="5"/>
                    <a:pt x="0" y="11"/>
                  </a:cubicBezTo>
                  <a:cubicBezTo>
                    <a:pt x="0" y="14"/>
                    <a:pt x="0" y="14"/>
                    <a:pt x="0" y="14"/>
                  </a:cubicBezTo>
                  <a:cubicBezTo>
                    <a:pt x="0" y="8"/>
                    <a:pt x="5" y="3"/>
                    <a:pt x="11" y="3"/>
                  </a:cubicBezTo>
                  <a:cubicBezTo>
                    <a:pt x="140" y="3"/>
                    <a:pt x="140" y="3"/>
                    <a:pt x="140" y="3"/>
                  </a:cubicBezTo>
                  <a:cubicBezTo>
                    <a:pt x="146" y="3"/>
                    <a:pt x="151" y="8"/>
                    <a:pt x="151" y="14"/>
                  </a:cubicBezTo>
                  <a:cubicBezTo>
                    <a:pt x="151" y="11"/>
                    <a:pt x="151" y="11"/>
                    <a:pt x="151" y="11"/>
                  </a:cubicBezTo>
                  <a:cubicBezTo>
                    <a:pt x="151" y="5"/>
                    <a:pt x="146" y="0"/>
                    <a:pt x="140" y="0"/>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1" name="Freeform 93"/>
            <p:cNvSpPr/>
            <p:nvPr/>
          </p:nvSpPr>
          <p:spPr bwMode="auto">
            <a:xfrm>
              <a:off x="4048595" y="4696400"/>
              <a:ext cx="203132" cy="327268"/>
            </a:xfrm>
            <a:custGeom>
              <a:avLst/>
              <a:gdLst>
                <a:gd name="T0" fmla="*/ 27 w 30"/>
                <a:gd name="T1" fmla="*/ 26 h 48"/>
                <a:gd name="T2" fmla="*/ 23 w 30"/>
                <a:gd name="T3" fmla="*/ 15 h 48"/>
                <a:gd name="T4" fmla="*/ 23 w 30"/>
                <a:gd name="T5" fmla="*/ 13 h 48"/>
                <a:gd name="T6" fmla="*/ 18 w 30"/>
                <a:gd name="T7" fmla="*/ 6 h 48"/>
                <a:gd name="T8" fmla="*/ 16 w 30"/>
                <a:gd name="T9" fmla="*/ 5 h 48"/>
                <a:gd name="T10" fmla="*/ 16 w 30"/>
                <a:gd name="T11" fmla="*/ 2 h 48"/>
                <a:gd name="T12" fmla="*/ 15 w 30"/>
                <a:gd name="T13" fmla="*/ 0 h 48"/>
                <a:gd name="T14" fmla="*/ 13 w 30"/>
                <a:gd name="T15" fmla="*/ 1 h 48"/>
                <a:gd name="T16" fmla="*/ 13 w 30"/>
                <a:gd name="T17" fmla="*/ 2 h 48"/>
                <a:gd name="T18" fmla="*/ 14 w 30"/>
                <a:gd name="T19" fmla="*/ 4 h 48"/>
                <a:gd name="T20" fmla="*/ 12 w 30"/>
                <a:gd name="T21" fmla="*/ 7 h 48"/>
                <a:gd name="T22" fmla="*/ 8 w 30"/>
                <a:gd name="T23" fmla="*/ 13 h 48"/>
                <a:gd name="T24" fmla="*/ 8 w 30"/>
                <a:gd name="T25" fmla="*/ 14 h 48"/>
                <a:gd name="T26" fmla="*/ 4 w 30"/>
                <a:gd name="T27" fmla="*/ 25 h 48"/>
                <a:gd name="T28" fmla="*/ 1 w 30"/>
                <a:gd name="T29" fmla="*/ 36 h 48"/>
                <a:gd name="T30" fmla="*/ 12 w 30"/>
                <a:gd name="T31" fmla="*/ 46 h 48"/>
                <a:gd name="T32" fmla="*/ 30 w 30"/>
                <a:gd name="T33" fmla="*/ 34 h 48"/>
                <a:gd name="T34" fmla="*/ 27 w 30"/>
                <a:gd name="T35" fmla="*/ 2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48">
                  <a:moveTo>
                    <a:pt x="27" y="26"/>
                  </a:moveTo>
                  <a:cubicBezTo>
                    <a:pt x="24" y="23"/>
                    <a:pt x="23" y="19"/>
                    <a:pt x="23" y="15"/>
                  </a:cubicBezTo>
                  <a:cubicBezTo>
                    <a:pt x="23" y="13"/>
                    <a:pt x="23" y="13"/>
                    <a:pt x="23" y="13"/>
                  </a:cubicBezTo>
                  <a:cubicBezTo>
                    <a:pt x="23" y="10"/>
                    <a:pt x="21" y="7"/>
                    <a:pt x="18" y="6"/>
                  </a:cubicBezTo>
                  <a:cubicBezTo>
                    <a:pt x="17" y="6"/>
                    <a:pt x="16" y="5"/>
                    <a:pt x="16" y="5"/>
                  </a:cubicBezTo>
                  <a:cubicBezTo>
                    <a:pt x="16" y="2"/>
                    <a:pt x="16" y="2"/>
                    <a:pt x="16" y="2"/>
                  </a:cubicBezTo>
                  <a:cubicBezTo>
                    <a:pt x="16" y="1"/>
                    <a:pt x="15" y="0"/>
                    <a:pt x="15" y="0"/>
                  </a:cubicBezTo>
                  <a:cubicBezTo>
                    <a:pt x="14" y="0"/>
                    <a:pt x="14" y="1"/>
                    <a:pt x="13" y="1"/>
                  </a:cubicBezTo>
                  <a:cubicBezTo>
                    <a:pt x="13" y="1"/>
                    <a:pt x="13" y="2"/>
                    <a:pt x="13" y="2"/>
                  </a:cubicBezTo>
                  <a:cubicBezTo>
                    <a:pt x="14" y="4"/>
                    <a:pt x="14" y="4"/>
                    <a:pt x="14" y="4"/>
                  </a:cubicBezTo>
                  <a:cubicBezTo>
                    <a:pt x="14" y="5"/>
                    <a:pt x="14" y="6"/>
                    <a:pt x="12" y="7"/>
                  </a:cubicBezTo>
                  <a:cubicBezTo>
                    <a:pt x="10" y="8"/>
                    <a:pt x="8" y="10"/>
                    <a:pt x="8" y="13"/>
                  </a:cubicBezTo>
                  <a:cubicBezTo>
                    <a:pt x="8" y="14"/>
                    <a:pt x="8" y="14"/>
                    <a:pt x="8" y="14"/>
                  </a:cubicBezTo>
                  <a:cubicBezTo>
                    <a:pt x="8" y="18"/>
                    <a:pt x="7" y="22"/>
                    <a:pt x="4" y="25"/>
                  </a:cubicBezTo>
                  <a:cubicBezTo>
                    <a:pt x="1" y="28"/>
                    <a:pt x="0" y="32"/>
                    <a:pt x="1" y="36"/>
                  </a:cubicBezTo>
                  <a:cubicBezTo>
                    <a:pt x="2" y="41"/>
                    <a:pt x="7" y="45"/>
                    <a:pt x="12" y="46"/>
                  </a:cubicBezTo>
                  <a:cubicBezTo>
                    <a:pt x="22" y="48"/>
                    <a:pt x="30" y="42"/>
                    <a:pt x="30" y="34"/>
                  </a:cubicBezTo>
                  <a:cubicBezTo>
                    <a:pt x="30" y="31"/>
                    <a:pt x="29" y="28"/>
                    <a:pt x="27" y="26"/>
                  </a:cubicBezTo>
                  <a:close/>
                </a:path>
              </a:pathLst>
            </a:custGeom>
            <a:solidFill>
              <a:srgbClr val="FDFE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2" name="Freeform 94"/>
            <p:cNvSpPr/>
            <p:nvPr/>
          </p:nvSpPr>
          <p:spPr bwMode="auto">
            <a:xfrm>
              <a:off x="2879458" y="3854531"/>
              <a:ext cx="2744537" cy="1749191"/>
            </a:xfrm>
            <a:custGeom>
              <a:avLst/>
              <a:gdLst>
                <a:gd name="T0" fmla="*/ 450 w 513"/>
                <a:gd name="T1" fmla="*/ 327 h 327"/>
                <a:gd name="T2" fmla="*/ 63 w 513"/>
                <a:gd name="T3" fmla="*/ 327 h 327"/>
                <a:gd name="T4" fmla="*/ 0 w 513"/>
                <a:gd name="T5" fmla="*/ 264 h 327"/>
                <a:gd name="T6" fmla="*/ 63 w 513"/>
                <a:gd name="T7" fmla="*/ 200 h 327"/>
                <a:gd name="T8" fmla="*/ 163 w 513"/>
                <a:gd name="T9" fmla="*/ 200 h 327"/>
                <a:gd name="T10" fmla="*/ 163 w 513"/>
                <a:gd name="T11" fmla="*/ 204 h 327"/>
                <a:gd name="T12" fmla="*/ 63 w 513"/>
                <a:gd name="T13" fmla="*/ 204 h 327"/>
                <a:gd name="T14" fmla="*/ 4 w 513"/>
                <a:gd name="T15" fmla="*/ 264 h 327"/>
                <a:gd name="T16" fmla="*/ 63 w 513"/>
                <a:gd name="T17" fmla="*/ 323 h 327"/>
                <a:gd name="T18" fmla="*/ 450 w 513"/>
                <a:gd name="T19" fmla="*/ 323 h 327"/>
                <a:gd name="T20" fmla="*/ 509 w 513"/>
                <a:gd name="T21" fmla="*/ 264 h 327"/>
                <a:gd name="T22" fmla="*/ 509 w 513"/>
                <a:gd name="T23" fmla="*/ 63 h 327"/>
                <a:gd name="T24" fmla="*/ 450 w 513"/>
                <a:gd name="T25" fmla="*/ 4 h 327"/>
                <a:gd name="T26" fmla="*/ 423 w 513"/>
                <a:gd name="T27" fmla="*/ 4 h 327"/>
                <a:gd name="T28" fmla="*/ 423 w 513"/>
                <a:gd name="T29" fmla="*/ 0 h 327"/>
                <a:gd name="T30" fmla="*/ 450 w 513"/>
                <a:gd name="T31" fmla="*/ 0 h 327"/>
                <a:gd name="T32" fmla="*/ 513 w 513"/>
                <a:gd name="T33" fmla="*/ 63 h 327"/>
                <a:gd name="T34" fmla="*/ 513 w 513"/>
                <a:gd name="T35" fmla="*/ 264 h 327"/>
                <a:gd name="T36" fmla="*/ 450 w 513"/>
                <a:gd name="T37"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3" h="327">
                  <a:moveTo>
                    <a:pt x="450" y="327"/>
                  </a:moveTo>
                  <a:cubicBezTo>
                    <a:pt x="63" y="327"/>
                    <a:pt x="63" y="327"/>
                    <a:pt x="63" y="327"/>
                  </a:cubicBezTo>
                  <a:cubicBezTo>
                    <a:pt x="28" y="327"/>
                    <a:pt x="0" y="298"/>
                    <a:pt x="0" y="264"/>
                  </a:cubicBezTo>
                  <a:cubicBezTo>
                    <a:pt x="0" y="229"/>
                    <a:pt x="28" y="200"/>
                    <a:pt x="63" y="200"/>
                  </a:cubicBezTo>
                  <a:cubicBezTo>
                    <a:pt x="163" y="200"/>
                    <a:pt x="163" y="200"/>
                    <a:pt x="163" y="200"/>
                  </a:cubicBezTo>
                  <a:cubicBezTo>
                    <a:pt x="163" y="204"/>
                    <a:pt x="163" y="204"/>
                    <a:pt x="163" y="204"/>
                  </a:cubicBezTo>
                  <a:cubicBezTo>
                    <a:pt x="63" y="204"/>
                    <a:pt x="63" y="204"/>
                    <a:pt x="63" y="204"/>
                  </a:cubicBezTo>
                  <a:cubicBezTo>
                    <a:pt x="31" y="204"/>
                    <a:pt x="4" y="231"/>
                    <a:pt x="4" y="264"/>
                  </a:cubicBezTo>
                  <a:cubicBezTo>
                    <a:pt x="4" y="296"/>
                    <a:pt x="31" y="323"/>
                    <a:pt x="63" y="323"/>
                  </a:cubicBezTo>
                  <a:cubicBezTo>
                    <a:pt x="450" y="323"/>
                    <a:pt x="450" y="323"/>
                    <a:pt x="450" y="323"/>
                  </a:cubicBezTo>
                  <a:cubicBezTo>
                    <a:pt x="483" y="323"/>
                    <a:pt x="509" y="296"/>
                    <a:pt x="509" y="264"/>
                  </a:cubicBezTo>
                  <a:cubicBezTo>
                    <a:pt x="509" y="63"/>
                    <a:pt x="509" y="63"/>
                    <a:pt x="509" y="63"/>
                  </a:cubicBezTo>
                  <a:cubicBezTo>
                    <a:pt x="509" y="30"/>
                    <a:pt x="483" y="4"/>
                    <a:pt x="450" y="4"/>
                  </a:cubicBezTo>
                  <a:cubicBezTo>
                    <a:pt x="423" y="4"/>
                    <a:pt x="423" y="4"/>
                    <a:pt x="423" y="4"/>
                  </a:cubicBezTo>
                  <a:cubicBezTo>
                    <a:pt x="423" y="0"/>
                    <a:pt x="423" y="0"/>
                    <a:pt x="423" y="0"/>
                  </a:cubicBezTo>
                  <a:cubicBezTo>
                    <a:pt x="450" y="0"/>
                    <a:pt x="450" y="0"/>
                    <a:pt x="450" y="0"/>
                  </a:cubicBezTo>
                  <a:cubicBezTo>
                    <a:pt x="485" y="0"/>
                    <a:pt x="513" y="28"/>
                    <a:pt x="513" y="63"/>
                  </a:cubicBezTo>
                  <a:cubicBezTo>
                    <a:pt x="513" y="264"/>
                    <a:pt x="513" y="264"/>
                    <a:pt x="513" y="264"/>
                  </a:cubicBezTo>
                  <a:cubicBezTo>
                    <a:pt x="513" y="298"/>
                    <a:pt x="485" y="327"/>
                    <a:pt x="450" y="327"/>
                  </a:cubicBezTo>
                  <a:close/>
                </a:path>
              </a:pathLst>
            </a:custGeom>
            <a:gradFill>
              <a:gsLst>
                <a:gs pos="0">
                  <a:schemeClr val="accent3"/>
                </a:gs>
                <a:gs pos="100000">
                  <a:schemeClr val="accent4"/>
                </a:gs>
              </a:gsLst>
              <a:lin ang="5400000" scaled="1"/>
            </a:gradFill>
            <a:ln w="34925">
              <a:noFill/>
            </a:ln>
            <a:effectLst>
              <a:outerShdw blurRad="190500" dist="38100" dir="5400000" algn="t"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lstStyle/>
            <a:p>
              <a:endParaRPr lang="id-ID">
                <a:solidFill>
                  <a:schemeClr val="lt1"/>
                </a:solidFill>
                <a:latin typeface="Calibri"/>
                <a:ea typeface="微软雅黑"/>
                <a:cs typeface="+mn-ea"/>
                <a:sym typeface="Calibri"/>
              </a:endParaRPr>
            </a:p>
          </p:txBody>
        </p:sp>
        <p:sp>
          <p:nvSpPr>
            <p:cNvPr id="73" name="Freeform 95"/>
            <p:cNvSpPr/>
            <p:nvPr/>
          </p:nvSpPr>
          <p:spPr bwMode="auto">
            <a:xfrm>
              <a:off x="2227179" y="4249510"/>
              <a:ext cx="503316" cy="769644"/>
            </a:xfrm>
            <a:custGeom>
              <a:avLst/>
              <a:gdLst>
                <a:gd name="T0" fmla="*/ 0 w 94"/>
                <a:gd name="T1" fmla="*/ 6 h 144"/>
                <a:gd name="T2" fmla="*/ 40 w 94"/>
                <a:gd name="T3" fmla="*/ 85 h 144"/>
                <a:gd name="T4" fmla="*/ 50 w 94"/>
                <a:gd name="T5" fmla="*/ 131 h 144"/>
                <a:gd name="T6" fmla="*/ 86 w 94"/>
                <a:gd name="T7" fmla="*/ 124 h 144"/>
                <a:gd name="T8" fmla="*/ 78 w 94"/>
                <a:gd name="T9" fmla="*/ 53 h 144"/>
                <a:gd name="T10" fmla="*/ 0 w 94"/>
                <a:gd name="T11" fmla="*/ 6 h 144"/>
              </a:gdLst>
              <a:ahLst/>
              <a:cxnLst>
                <a:cxn ang="0">
                  <a:pos x="T0" y="T1"/>
                </a:cxn>
                <a:cxn ang="0">
                  <a:pos x="T2" y="T3"/>
                </a:cxn>
                <a:cxn ang="0">
                  <a:pos x="T4" y="T5"/>
                </a:cxn>
                <a:cxn ang="0">
                  <a:pos x="T6" y="T7"/>
                </a:cxn>
                <a:cxn ang="0">
                  <a:pos x="T8" y="T9"/>
                </a:cxn>
                <a:cxn ang="0">
                  <a:pos x="T10" y="T11"/>
                </a:cxn>
              </a:cxnLst>
              <a:rect l="0" t="0" r="r" b="b"/>
              <a:pathLst>
                <a:path w="94" h="144">
                  <a:moveTo>
                    <a:pt x="0" y="6"/>
                  </a:moveTo>
                  <a:cubicBezTo>
                    <a:pt x="0" y="6"/>
                    <a:pt x="45" y="56"/>
                    <a:pt x="40" y="85"/>
                  </a:cubicBezTo>
                  <a:cubicBezTo>
                    <a:pt x="36" y="102"/>
                    <a:pt x="41" y="119"/>
                    <a:pt x="50" y="131"/>
                  </a:cubicBezTo>
                  <a:cubicBezTo>
                    <a:pt x="60" y="144"/>
                    <a:pt x="81" y="140"/>
                    <a:pt x="86" y="124"/>
                  </a:cubicBezTo>
                  <a:cubicBezTo>
                    <a:pt x="92" y="108"/>
                    <a:pt x="94" y="83"/>
                    <a:pt x="78" y="53"/>
                  </a:cubicBezTo>
                  <a:cubicBezTo>
                    <a:pt x="50" y="0"/>
                    <a:pt x="0" y="6"/>
                    <a:pt x="0" y="6"/>
                  </a:cubicBezTo>
                  <a:close/>
                </a:path>
              </a:pathLst>
            </a:custGeom>
            <a:solidFill>
              <a:srgbClr val="1C95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4" name="Freeform 96"/>
            <p:cNvSpPr/>
            <p:nvPr/>
          </p:nvSpPr>
          <p:spPr bwMode="auto">
            <a:xfrm>
              <a:off x="2227179" y="4249510"/>
              <a:ext cx="503316" cy="769644"/>
            </a:xfrm>
            <a:custGeom>
              <a:avLst/>
              <a:gdLst>
                <a:gd name="T0" fmla="*/ 0 w 94"/>
                <a:gd name="T1" fmla="*/ 6 h 144"/>
                <a:gd name="T2" fmla="*/ 40 w 94"/>
                <a:gd name="T3" fmla="*/ 85 h 144"/>
                <a:gd name="T4" fmla="*/ 50 w 94"/>
                <a:gd name="T5" fmla="*/ 131 h 144"/>
                <a:gd name="T6" fmla="*/ 86 w 94"/>
                <a:gd name="T7" fmla="*/ 124 h 144"/>
                <a:gd name="T8" fmla="*/ 78 w 94"/>
                <a:gd name="T9" fmla="*/ 53 h 144"/>
                <a:gd name="T10" fmla="*/ 0 w 94"/>
                <a:gd name="T11" fmla="*/ 6 h 144"/>
              </a:gdLst>
              <a:ahLst/>
              <a:cxnLst>
                <a:cxn ang="0">
                  <a:pos x="T0" y="T1"/>
                </a:cxn>
                <a:cxn ang="0">
                  <a:pos x="T2" y="T3"/>
                </a:cxn>
                <a:cxn ang="0">
                  <a:pos x="T4" y="T5"/>
                </a:cxn>
                <a:cxn ang="0">
                  <a:pos x="T6" y="T7"/>
                </a:cxn>
                <a:cxn ang="0">
                  <a:pos x="T8" y="T9"/>
                </a:cxn>
                <a:cxn ang="0">
                  <a:pos x="T10" y="T11"/>
                </a:cxn>
              </a:cxnLst>
              <a:rect l="0" t="0" r="r" b="b"/>
              <a:pathLst>
                <a:path w="94" h="144">
                  <a:moveTo>
                    <a:pt x="0" y="6"/>
                  </a:moveTo>
                  <a:cubicBezTo>
                    <a:pt x="0" y="6"/>
                    <a:pt x="45" y="56"/>
                    <a:pt x="40" y="85"/>
                  </a:cubicBezTo>
                  <a:cubicBezTo>
                    <a:pt x="36" y="102"/>
                    <a:pt x="41" y="119"/>
                    <a:pt x="50" y="131"/>
                  </a:cubicBezTo>
                  <a:cubicBezTo>
                    <a:pt x="60" y="144"/>
                    <a:pt x="81" y="140"/>
                    <a:pt x="86" y="124"/>
                  </a:cubicBezTo>
                  <a:cubicBezTo>
                    <a:pt x="92" y="108"/>
                    <a:pt x="94" y="83"/>
                    <a:pt x="78" y="53"/>
                  </a:cubicBezTo>
                  <a:cubicBezTo>
                    <a:pt x="50" y="0"/>
                    <a:pt x="0" y="6"/>
                    <a:pt x="0" y="6"/>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5" name="Freeform 97"/>
            <p:cNvSpPr/>
            <p:nvPr/>
          </p:nvSpPr>
          <p:spPr bwMode="auto">
            <a:xfrm>
              <a:off x="2227179" y="4281108"/>
              <a:ext cx="363380" cy="749331"/>
            </a:xfrm>
            <a:custGeom>
              <a:avLst/>
              <a:gdLst>
                <a:gd name="T0" fmla="*/ 40 w 68"/>
                <a:gd name="T1" fmla="*/ 79 h 140"/>
                <a:gd name="T2" fmla="*/ 50 w 68"/>
                <a:gd name="T3" fmla="*/ 125 h 140"/>
                <a:gd name="T4" fmla="*/ 51 w 68"/>
                <a:gd name="T5" fmla="*/ 126 h 140"/>
                <a:gd name="T6" fmla="*/ 57 w 68"/>
                <a:gd name="T7" fmla="*/ 138 h 140"/>
                <a:gd name="T8" fmla="*/ 57 w 68"/>
                <a:gd name="T9" fmla="*/ 140 h 140"/>
                <a:gd name="T10" fmla="*/ 68 w 68"/>
                <a:gd name="T11" fmla="*/ 140 h 140"/>
                <a:gd name="T12" fmla="*/ 65 w 68"/>
                <a:gd name="T13" fmla="*/ 103 h 140"/>
                <a:gd name="T14" fmla="*/ 65 w 68"/>
                <a:gd name="T15" fmla="*/ 97 h 140"/>
                <a:gd name="T16" fmla="*/ 65 w 68"/>
                <a:gd name="T17" fmla="*/ 97 h 140"/>
                <a:gd name="T18" fmla="*/ 65 w 68"/>
                <a:gd name="T19" fmla="*/ 97 h 140"/>
                <a:gd name="T20" fmla="*/ 52 w 68"/>
                <a:gd name="T21" fmla="*/ 47 h 140"/>
                <a:gd name="T22" fmla="*/ 1 w 68"/>
                <a:gd name="T23" fmla="*/ 0 h 140"/>
                <a:gd name="T24" fmla="*/ 0 w 68"/>
                <a:gd name="T25" fmla="*/ 0 h 140"/>
                <a:gd name="T26" fmla="*/ 40 w 68"/>
                <a:gd name="T27" fmla="*/ 79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8" h="140">
                  <a:moveTo>
                    <a:pt x="40" y="79"/>
                  </a:moveTo>
                  <a:cubicBezTo>
                    <a:pt x="36" y="96"/>
                    <a:pt x="41" y="113"/>
                    <a:pt x="50" y="125"/>
                  </a:cubicBezTo>
                  <a:cubicBezTo>
                    <a:pt x="50" y="125"/>
                    <a:pt x="51" y="126"/>
                    <a:pt x="51" y="126"/>
                  </a:cubicBezTo>
                  <a:cubicBezTo>
                    <a:pt x="54" y="129"/>
                    <a:pt x="56" y="134"/>
                    <a:pt x="57" y="138"/>
                  </a:cubicBezTo>
                  <a:cubicBezTo>
                    <a:pt x="57" y="139"/>
                    <a:pt x="57" y="140"/>
                    <a:pt x="57" y="140"/>
                  </a:cubicBezTo>
                  <a:cubicBezTo>
                    <a:pt x="68" y="140"/>
                    <a:pt x="68" y="140"/>
                    <a:pt x="68" y="140"/>
                  </a:cubicBezTo>
                  <a:cubicBezTo>
                    <a:pt x="65" y="125"/>
                    <a:pt x="65" y="111"/>
                    <a:pt x="65" y="103"/>
                  </a:cubicBezTo>
                  <a:cubicBezTo>
                    <a:pt x="65" y="101"/>
                    <a:pt x="65" y="99"/>
                    <a:pt x="65" y="97"/>
                  </a:cubicBezTo>
                  <a:cubicBezTo>
                    <a:pt x="65" y="97"/>
                    <a:pt x="65" y="97"/>
                    <a:pt x="65" y="97"/>
                  </a:cubicBezTo>
                  <a:cubicBezTo>
                    <a:pt x="65" y="97"/>
                    <a:pt x="65" y="97"/>
                    <a:pt x="65" y="97"/>
                  </a:cubicBezTo>
                  <a:cubicBezTo>
                    <a:pt x="65" y="83"/>
                    <a:pt x="62" y="66"/>
                    <a:pt x="52" y="47"/>
                  </a:cubicBezTo>
                  <a:cubicBezTo>
                    <a:pt x="37" y="19"/>
                    <a:pt x="18" y="6"/>
                    <a:pt x="1" y="0"/>
                  </a:cubicBezTo>
                  <a:cubicBezTo>
                    <a:pt x="1" y="0"/>
                    <a:pt x="0" y="0"/>
                    <a:pt x="0" y="0"/>
                  </a:cubicBezTo>
                  <a:cubicBezTo>
                    <a:pt x="0" y="0"/>
                    <a:pt x="45" y="50"/>
                    <a:pt x="40" y="79"/>
                  </a:cubicBezTo>
                  <a:close/>
                </a:path>
              </a:pathLst>
            </a:custGeom>
            <a:solidFill>
              <a:srgbClr val="8888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6" name="Freeform 98"/>
            <p:cNvSpPr/>
            <p:nvPr/>
          </p:nvSpPr>
          <p:spPr bwMode="auto">
            <a:xfrm>
              <a:off x="2595074" y="4398473"/>
              <a:ext cx="455918" cy="636480"/>
            </a:xfrm>
            <a:custGeom>
              <a:avLst/>
              <a:gdLst>
                <a:gd name="T0" fmla="*/ 85 w 85"/>
                <a:gd name="T1" fmla="*/ 9 h 119"/>
                <a:gd name="T2" fmla="*/ 46 w 85"/>
                <a:gd name="T3" fmla="*/ 72 h 119"/>
                <a:gd name="T4" fmla="*/ 33 w 85"/>
                <a:gd name="T5" fmla="*/ 109 h 119"/>
                <a:gd name="T6" fmla="*/ 4 w 85"/>
                <a:gd name="T7" fmla="*/ 100 h 119"/>
                <a:gd name="T8" fmla="*/ 16 w 85"/>
                <a:gd name="T9" fmla="*/ 42 h 119"/>
                <a:gd name="T10" fmla="*/ 85 w 85"/>
                <a:gd name="T11" fmla="*/ 9 h 119"/>
              </a:gdLst>
              <a:ahLst/>
              <a:cxnLst>
                <a:cxn ang="0">
                  <a:pos x="T0" y="T1"/>
                </a:cxn>
                <a:cxn ang="0">
                  <a:pos x="T2" y="T3"/>
                </a:cxn>
                <a:cxn ang="0">
                  <a:pos x="T4" y="T5"/>
                </a:cxn>
                <a:cxn ang="0">
                  <a:pos x="T6" y="T7"/>
                </a:cxn>
                <a:cxn ang="0">
                  <a:pos x="T8" y="T9"/>
                </a:cxn>
                <a:cxn ang="0">
                  <a:pos x="T10" y="T11"/>
                </a:cxn>
              </a:cxnLst>
              <a:rect l="0" t="0" r="r" b="b"/>
              <a:pathLst>
                <a:path w="85" h="119">
                  <a:moveTo>
                    <a:pt x="85" y="9"/>
                  </a:moveTo>
                  <a:cubicBezTo>
                    <a:pt x="85" y="9"/>
                    <a:pt x="43" y="47"/>
                    <a:pt x="46" y="72"/>
                  </a:cubicBezTo>
                  <a:cubicBezTo>
                    <a:pt x="47" y="86"/>
                    <a:pt x="42" y="100"/>
                    <a:pt x="33" y="109"/>
                  </a:cubicBezTo>
                  <a:cubicBezTo>
                    <a:pt x="24" y="119"/>
                    <a:pt x="7" y="114"/>
                    <a:pt x="4" y="100"/>
                  </a:cubicBezTo>
                  <a:cubicBezTo>
                    <a:pt x="0" y="86"/>
                    <a:pt x="0" y="66"/>
                    <a:pt x="16" y="42"/>
                  </a:cubicBezTo>
                  <a:cubicBezTo>
                    <a:pt x="44" y="0"/>
                    <a:pt x="85" y="9"/>
                    <a:pt x="85" y="9"/>
                  </a:cubicBezTo>
                  <a:close/>
                </a:path>
              </a:pathLst>
            </a:custGeom>
            <a:solidFill>
              <a:srgbClr val="1C9585"/>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7" name="Freeform 99"/>
            <p:cNvSpPr/>
            <p:nvPr/>
          </p:nvSpPr>
          <p:spPr bwMode="auto">
            <a:xfrm>
              <a:off x="2595074" y="4398473"/>
              <a:ext cx="455918" cy="636480"/>
            </a:xfrm>
            <a:custGeom>
              <a:avLst/>
              <a:gdLst>
                <a:gd name="T0" fmla="*/ 85 w 85"/>
                <a:gd name="T1" fmla="*/ 9 h 119"/>
                <a:gd name="T2" fmla="*/ 46 w 85"/>
                <a:gd name="T3" fmla="*/ 72 h 119"/>
                <a:gd name="T4" fmla="*/ 33 w 85"/>
                <a:gd name="T5" fmla="*/ 109 h 119"/>
                <a:gd name="T6" fmla="*/ 4 w 85"/>
                <a:gd name="T7" fmla="*/ 100 h 119"/>
                <a:gd name="T8" fmla="*/ 16 w 85"/>
                <a:gd name="T9" fmla="*/ 42 h 119"/>
                <a:gd name="T10" fmla="*/ 85 w 85"/>
                <a:gd name="T11" fmla="*/ 9 h 119"/>
              </a:gdLst>
              <a:ahLst/>
              <a:cxnLst>
                <a:cxn ang="0">
                  <a:pos x="T0" y="T1"/>
                </a:cxn>
                <a:cxn ang="0">
                  <a:pos x="T2" y="T3"/>
                </a:cxn>
                <a:cxn ang="0">
                  <a:pos x="T4" y="T5"/>
                </a:cxn>
                <a:cxn ang="0">
                  <a:pos x="T6" y="T7"/>
                </a:cxn>
                <a:cxn ang="0">
                  <a:pos x="T8" y="T9"/>
                </a:cxn>
                <a:cxn ang="0">
                  <a:pos x="T10" y="T11"/>
                </a:cxn>
              </a:cxnLst>
              <a:rect l="0" t="0" r="r" b="b"/>
              <a:pathLst>
                <a:path w="85" h="119">
                  <a:moveTo>
                    <a:pt x="85" y="9"/>
                  </a:moveTo>
                  <a:cubicBezTo>
                    <a:pt x="85" y="9"/>
                    <a:pt x="43" y="47"/>
                    <a:pt x="46" y="72"/>
                  </a:cubicBezTo>
                  <a:cubicBezTo>
                    <a:pt x="47" y="86"/>
                    <a:pt x="42" y="100"/>
                    <a:pt x="33" y="109"/>
                  </a:cubicBezTo>
                  <a:cubicBezTo>
                    <a:pt x="24" y="119"/>
                    <a:pt x="7" y="114"/>
                    <a:pt x="4" y="100"/>
                  </a:cubicBezTo>
                  <a:cubicBezTo>
                    <a:pt x="0" y="86"/>
                    <a:pt x="0" y="66"/>
                    <a:pt x="16" y="42"/>
                  </a:cubicBezTo>
                  <a:cubicBezTo>
                    <a:pt x="44" y="0"/>
                    <a:pt x="85" y="9"/>
                    <a:pt x="85" y="9"/>
                  </a:cubicBezTo>
                  <a:close/>
                </a:path>
              </a:pathLst>
            </a:custGeom>
            <a:solidFill>
              <a:srgbClr val="8888EA"/>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8" name="Freeform 100"/>
            <p:cNvSpPr/>
            <p:nvPr/>
          </p:nvSpPr>
          <p:spPr bwMode="auto">
            <a:xfrm>
              <a:off x="2692125" y="4448128"/>
              <a:ext cx="358866" cy="582311"/>
            </a:xfrm>
            <a:custGeom>
              <a:avLst/>
              <a:gdLst>
                <a:gd name="T0" fmla="*/ 9 w 67"/>
                <a:gd name="T1" fmla="*/ 109 h 109"/>
                <a:gd name="T2" fmla="*/ 14 w 67"/>
                <a:gd name="T3" fmla="*/ 101 h 109"/>
                <a:gd name="T4" fmla="*/ 15 w 67"/>
                <a:gd name="T5" fmla="*/ 100 h 109"/>
                <a:gd name="T6" fmla="*/ 28 w 67"/>
                <a:gd name="T7" fmla="*/ 63 h 109"/>
                <a:gd name="T8" fmla="*/ 67 w 67"/>
                <a:gd name="T9" fmla="*/ 0 h 109"/>
                <a:gd name="T10" fmla="*/ 66 w 67"/>
                <a:gd name="T11" fmla="*/ 0 h 109"/>
                <a:gd name="T12" fmla="*/ 20 w 67"/>
                <a:gd name="T13" fmla="*/ 35 h 109"/>
                <a:gd name="T14" fmla="*/ 5 w 67"/>
                <a:gd name="T15" fmla="*/ 76 h 109"/>
                <a:gd name="T16" fmla="*/ 5 w 67"/>
                <a:gd name="T17" fmla="*/ 76 h 109"/>
                <a:gd name="T18" fmla="*/ 5 w 67"/>
                <a:gd name="T19" fmla="*/ 76 h 109"/>
                <a:gd name="T20" fmla="*/ 5 w 67"/>
                <a:gd name="T21" fmla="*/ 81 h 109"/>
                <a:gd name="T22" fmla="*/ 0 w 67"/>
                <a:gd name="T23" fmla="*/ 109 h 109"/>
                <a:gd name="T24" fmla="*/ 9 w 67"/>
                <a:gd name="T25"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 h="109">
                  <a:moveTo>
                    <a:pt x="9" y="109"/>
                  </a:moveTo>
                  <a:cubicBezTo>
                    <a:pt x="10" y="106"/>
                    <a:pt x="12" y="103"/>
                    <a:pt x="14" y="101"/>
                  </a:cubicBezTo>
                  <a:cubicBezTo>
                    <a:pt x="15" y="101"/>
                    <a:pt x="15" y="100"/>
                    <a:pt x="15" y="100"/>
                  </a:cubicBezTo>
                  <a:cubicBezTo>
                    <a:pt x="24" y="91"/>
                    <a:pt x="29" y="77"/>
                    <a:pt x="28" y="63"/>
                  </a:cubicBezTo>
                  <a:cubicBezTo>
                    <a:pt x="25" y="38"/>
                    <a:pt x="67" y="0"/>
                    <a:pt x="67" y="0"/>
                  </a:cubicBezTo>
                  <a:cubicBezTo>
                    <a:pt x="67" y="0"/>
                    <a:pt x="67" y="0"/>
                    <a:pt x="66" y="0"/>
                  </a:cubicBezTo>
                  <a:cubicBezTo>
                    <a:pt x="52" y="3"/>
                    <a:pt x="35" y="13"/>
                    <a:pt x="20" y="35"/>
                  </a:cubicBezTo>
                  <a:cubicBezTo>
                    <a:pt x="10" y="50"/>
                    <a:pt x="6" y="64"/>
                    <a:pt x="5" y="76"/>
                  </a:cubicBezTo>
                  <a:cubicBezTo>
                    <a:pt x="5" y="76"/>
                    <a:pt x="5" y="76"/>
                    <a:pt x="5" y="76"/>
                  </a:cubicBezTo>
                  <a:cubicBezTo>
                    <a:pt x="5" y="76"/>
                    <a:pt x="5" y="76"/>
                    <a:pt x="5" y="76"/>
                  </a:cubicBezTo>
                  <a:cubicBezTo>
                    <a:pt x="5" y="78"/>
                    <a:pt x="5" y="79"/>
                    <a:pt x="5" y="81"/>
                  </a:cubicBezTo>
                  <a:cubicBezTo>
                    <a:pt x="4" y="87"/>
                    <a:pt x="3" y="97"/>
                    <a:pt x="0" y="109"/>
                  </a:cubicBezTo>
                  <a:lnTo>
                    <a:pt x="9" y="109"/>
                  </a:ln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79" name="Freeform 101"/>
            <p:cNvSpPr/>
            <p:nvPr/>
          </p:nvSpPr>
          <p:spPr bwMode="auto">
            <a:xfrm>
              <a:off x="2466423" y="4967242"/>
              <a:ext cx="358866" cy="442376"/>
            </a:xfrm>
            <a:custGeom>
              <a:avLst/>
              <a:gdLst>
                <a:gd name="T0" fmla="*/ 47 w 67"/>
                <a:gd name="T1" fmla="*/ 83 h 83"/>
                <a:gd name="T2" fmla="*/ 67 w 67"/>
                <a:gd name="T3" fmla="*/ 63 h 83"/>
                <a:gd name="T4" fmla="*/ 67 w 67"/>
                <a:gd name="T5" fmla="*/ 63 h 83"/>
                <a:gd name="T6" fmla="*/ 67 w 67"/>
                <a:gd name="T7" fmla="*/ 0 h 83"/>
                <a:gd name="T8" fmla="*/ 0 w 67"/>
                <a:gd name="T9" fmla="*/ 0 h 83"/>
                <a:gd name="T10" fmla="*/ 0 w 67"/>
                <a:gd name="T11" fmla="*/ 63 h 83"/>
                <a:gd name="T12" fmla="*/ 0 w 67"/>
                <a:gd name="T13" fmla="*/ 63 h 83"/>
                <a:gd name="T14" fmla="*/ 21 w 67"/>
                <a:gd name="T15" fmla="*/ 83 h 83"/>
                <a:gd name="T16" fmla="*/ 47 w 67"/>
                <a:gd name="T17" fmla="*/ 83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7" h="83">
                  <a:moveTo>
                    <a:pt x="47" y="83"/>
                  </a:moveTo>
                  <a:cubicBezTo>
                    <a:pt x="58" y="83"/>
                    <a:pt x="67" y="74"/>
                    <a:pt x="67" y="63"/>
                  </a:cubicBezTo>
                  <a:cubicBezTo>
                    <a:pt x="67" y="63"/>
                    <a:pt x="67" y="63"/>
                    <a:pt x="67" y="63"/>
                  </a:cubicBezTo>
                  <a:cubicBezTo>
                    <a:pt x="67" y="0"/>
                    <a:pt x="67" y="0"/>
                    <a:pt x="67" y="0"/>
                  </a:cubicBezTo>
                  <a:cubicBezTo>
                    <a:pt x="0" y="0"/>
                    <a:pt x="0" y="0"/>
                    <a:pt x="0" y="0"/>
                  </a:cubicBezTo>
                  <a:cubicBezTo>
                    <a:pt x="0" y="63"/>
                    <a:pt x="0" y="63"/>
                    <a:pt x="0" y="63"/>
                  </a:cubicBezTo>
                  <a:cubicBezTo>
                    <a:pt x="0" y="63"/>
                    <a:pt x="0" y="63"/>
                    <a:pt x="0" y="63"/>
                  </a:cubicBezTo>
                  <a:cubicBezTo>
                    <a:pt x="0" y="74"/>
                    <a:pt x="10" y="83"/>
                    <a:pt x="21" y="83"/>
                  </a:cubicBezTo>
                  <a:lnTo>
                    <a:pt x="47" y="83"/>
                  </a:ln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80" name="Freeform 102"/>
            <p:cNvSpPr/>
            <p:nvPr/>
          </p:nvSpPr>
          <p:spPr bwMode="auto">
            <a:xfrm>
              <a:off x="2680840" y="4967242"/>
              <a:ext cx="144449" cy="442376"/>
            </a:xfrm>
            <a:custGeom>
              <a:avLst/>
              <a:gdLst>
                <a:gd name="T0" fmla="*/ 7 w 27"/>
                <a:gd name="T1" fmla="*/ 83 h 83"/>
                <a:gd name="T2" fmla="*/ 27 w 27"/>
                <a:gd name="T3" fmla="*/ 63 h 83"/>
                <a:gd name="T4" fmla="*/ 27 w 27"/>
                <a:gd name="T5" fmla="*/ 63 h 83"/>
                <a:gd name="T6" fmla="*/ 27 w 27"/>
                <a:gd name="T7" fmla="*/ 0 h 83"/>
                <a:gd name="T8" fmla="*/ 7 w 27"/>
                <a:gd name="T9" fmla="*/ 0 h 83"/>
                <a:gd name="T10" fmla="*/ 7 w 27"/>
                <a:gd name="T11" fmla="*/ 63 h 83"/>
                <a:gd name="T12" fmla="*/ 0 w 27"/>
                <a:gd name="T13" fmla="*/ 83 h 83"/>
                <a:gd name="T14" fmla="*/ 7 w 27"/>
                <a:gd name="T15" fmla="*/ 83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83">
                  <a:moveTo>
                    <a:pt x="7" y="83"/>
                  </a:moveTo>
                  <a:cubicBezTo>
                    <a:pt x="18" y="83"/>
                    <a:pt x="27" y="74"/>
                    <a:pt x="27" y="63"/>
                  </a:cubicBezTo>
                  <a:cubicBezTo>
                    <a:pt x="27" y="63"/>
                    <a:pt x="27" y="63"/>
                    <a:pt x="27" y="63"/>
                  </a:cubicBezTo>
                  <a:cubicBezTo>
                    <a:pt x="27" y="0"/>
                    <a:pt x="27" y="0"/>
                    <a:pt x="27" y="0"/>
                  </a:cubicBezTo>
                  <a:cubicBezTo>
                    <a:pt x="7" y="0"/>
                    <a:pt x="7" y="0"/>
                    <a:pt x="7" y="0"/>
                  </a:cubicBezTo>
                  <a:cubicBezTo>
                    <a:pt x="7" y="63"/>
                    <a:pt x="7" y="63"/>
                    <a:pt x="7" y="63"/>
                  </a:cubicBezTo>
                  <a:cubicBezTo>
                    <a:pt x="7" y="70"/>
                    <a:pt x="5" y="77"/>
                    <a:pt x="0" y="83"/>
                  </a:cubicBezTo>
                  <a:lnTo>
                    <a:pt x="7" y="83"/>
                  </a:lnTo>
                  <a:close/>
                </a:path>
              </a:pathLst>
            </a:custGeom>
            <a:solidFill>
              <a:srgbClr val="9696E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81" name="Rectangle 103"/>
            <p:cNvSpPr>
              <a:spLocks noChangeArrowheads="1"/>
            </p:cNvSpPr>
            <p:nvPr/>
          </p:nvSpPr>
          <p:spPr bwMode="auto">
            <a:xfrm>
              <a:off x="2466423" y="5084607"/>
              <a:ext cx="358866" cy="90281"/>
            </a:xfrm>
            <a:prstGeom prst="rect">
              <a:avLst/>
            </a:prstGeom>
            <a:solidFill>
              <a:srgbClr val="9696E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82" name="Rectangle 104"/>
            <p:cNvSpPr>
              <a:spLocks noChangeArrowheads="1"/>
            </p:cNvSpPr>
            <p:nvPr/>
          </p:nvSpPr>
          <p:spPr bwMode="auto">
            <a:xfrm>
              <a:off x="2466423" y="5073322"/>
              <a:ext cx="358866" cy="11285"/>
            </a:xfrm>
            <a:prstGeom prst="rect">
              <a:avLst/>
            </a:prstGeom>
            <a:solidFill>
              <a:srgbClr val="E4F2F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84" name="Oval 83"/>
            <p:cNvSpPr/>
            <p:nvPr/>
          </p:nvSpPr>
          <p:spPr>
            <a:xfrm>
              <a:off x="5432275" y="4707355"/>
              <a:ext cx="375487" cy="375487"/>
            </a:xfrm>
            <a:prstGeom prst="ellipse">
              <a:avLst/>
            </a:prstGeom>
            <a:solidFill>
              <a:schemeClr val="bg1"/>
            </a:solidFill>
            <a:ln w="19050">
              <a:gradFill>
                <a:gsLst>
                  <a:gs pos="0">
                    <a:schemeClr val="accent3"/>
                  </a:gs>
                  <a:gs pos="100000">
                    <a:schemeClr val="accent4"/>
                  </a:gs>
                </a:gsLst>
                <a:lin ang="5400000" scaled="1"/>
              </a:gradFill>
            </a:ln>
            <a:effectLst>
              <a:outerShdw blurRad="190500" dist="38100" dir="5400000" algn="t"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lstStyle/>
            <a:p>
              <a:pPr algn="ctr"/>
              <a:r>
                <a:rPr lang="en-US" dirty="0">
                  <a:solidFill>
                    <a:schemeClr val="accent3"/>
                  </a:solidFill>
                  <a:latin typeface="Calibri"/>
                  <a:ea typeface="微软雅黑"/>
                  <a:cs typeface="+mn-ea"/>
                  <a:sym typeface="Calibri"/>
                </a:rPr>
                <a:t></a:t>
              </a:r>
            </a:p>
          </p:txBody>
        </p:sp>
      </p:grpSp>
      <p:grpSp>
        <p:nvGrpSpPr>
          <p:cNvPr id="85" name="Group 8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4836965" y="2175425"/>
            <a:ext cx="810950" cy="686294"/>
            <a:chOff x="4461630" y="1967023"/>
            <a:chExt cx="1155556" cy="977929"/>
          </a:xfrm>
        </p:grpSpPr>
        <p:sp>
          <p:nvSpPr>
            <p:cNvPr id="86" name="Freeform 34"/>
            <p:cNvSpPr/>
            <p:nvPr/>
          </p:nvSpPr>
          <p:spPr bwMode="auto">
            <a:xfrm>
              <a:off x="4461630" y="2051172"/>
              <a:ext cx="1049515" cy="893780"/>
            </a:xfrm>
            <a:custGeom>
              <a:avLst/>
              <a:gdLst>
                <a:gd name="T0" fmla="*/ 196 w 196"/>
                <a:gd name="T1" fmla="*/ 27 h 167"/>
                <a:gd name="T2" fmla="*/ 169 w 196"/>
                <a:gd name="T3" fmla="*/ 0 h 167"/>
                <a:gd name="T4" fmla="*/ 27 w 196"/>
                <a:gd name="T5" fmla="*/ 0 h 167"/>
                <a:gd name="T6" fmla="*/ 0 w 196"/>
                <a:gd name="T7" fmla="*/ 27 h 167"/>
                <a:gd name="T8" fmla="*/ 0 w 196"/>
                <a:gd name="T9" fmla="*/ 117 h 167"/>
                <a:gd name="T10" fmla="*/ 27 w 196"/>
                <a:gd name="T11" fmla="*/ 144 h 167"/>
                <a:gd name="T12" fmla="*/ 69 w 196"/>
                <a:gd name="T13" fmla="*/ 144 h 167"/>
                <a:gd name="T14" fmla="*/ 87 w 196"/>
                <a:gd name="T15" fmla="*/ 154 h 167"/>
                <a:gd name="T16" fmla="*/ 95 w 196"/>
                <a:gd name="T17" fmla="*/ 166 h 167"/>
                <a:gd name="T18" fmla="*/ 98 w 196"/>
                <a:gd name="T19" fmla="*/ 167 h 167"/>
                <a:gd name="T20" fmla="*/ 101 w 196"/>
                <a:gd name="T21" fmla="*/ 166 h 167"/>
                <a:gd name="T22" fmla="*/ 109 w 196"/>
                <a:gd name="T23" fmla="*/ 154 h 167"/>
                <a:gd name="T24" fmla="*/ 127 w 196"/>
                <a:gd name="T25" fmla="*/ 144 h 167"/>
                <a:gd name="T26" fmla="*/ 169 w 196"/>
                <a:gd name="T27" fmla="*/ 144 h 167"/>
                <a:gd name="T28" fmla="*/ 196 w 196"/>
                <a:gd name="T29" fmla="*/ 117 h 167"/>
                <a:gd name="T30" fmla="*/ 196 w 196"/>
                <a:gd name="T31" fmla="*/ 2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167">
                  <a:moveTo>
                    <a:pt x="196" y="27"/>
                  </a:moveTo>
                  <a:cubicBezTo>
                    <a:pt x="196" y="12"/>
                    <a:pt x="184" y="0"/>
                    <a:pt x="169" y="0"/>
                  </a:cubicBezTo>
                  <a:cubicBezTo>
                    <a:pt x="27" y="0"/>
                    <a:pt x="27" y="0"/>
                    <a:pt x="27" y="0"/>
                  </a:cubicBezTo>
                  <a:cubicBezTo>
                    <a:pt x="12" y="0"/>
                    <a:pt x="0" y="12"/>
                    <a:pt x="0" y="27"/>
                  </a:cubicBezTo>
                  <a:cubicBezTo>
                    <a:pt x="0" y="117"/>
                    <a:pt x="0" y="117"/>
                    <a:pt x="0" y="117"/>
                  </a:cubicBezTo>
                  <a:cubicBezTo>
                    <a:pt x="0" y="132"/>
                    <a:pt x="12" y="144"/>
                    <a:pt x="27" y="144"/>
                  </a:cubicBezTo>
                  <a:cubicBezTo>
                    <a:pt x="69" y="144"/>
                    <a:pt x="69" y="144"/>
                    <a:pt x="69" y="144"/>
                  </a:cubicBezTo>
                  <a:cubicBezTo>
                    <a:pt x="76" y="144"/>
                    <a:pt x="83" y="148"/>
                    <a:pt x="87" y="154"/>
                  </a:cubicBezTo>
                  <a:cubicBezTo>
                    <a:pt x="95" y="166"/>
                    <a:pt x="95" y="166"/>
                    <a:pt x="95" y="166"/>
                  </a:cubicBezTo>
                  <a:cubicBezTo>
                    <a:pt x="96" y="167"/>
                    <a:pt x="97" y="167"/>
                    <a:pt x="98" y="167"/>
                  </a:cubicBezTo>
                  <a:cubicBezTo>
                    <a:pt x="99" y="167"/>
                    <a:pt x="100" y="167"/>
                    <a:pt x="101" y="166"/>
                  </a:cubicBezTo>
                  <a:cubicBezTo>
                    <a:pt x="109" y="154"/>
                    <a:pt x="109" y="154"/>
                    <a:pt x="109" y="154"/>
                  </a:cubicBezTo>
                  <a:cubicBezTo>
                    <a:pt x="113" y="148"/>
                    <a:pt x="120" y="144"/>
                    <a:pt x="127" y="144"/>
                  </a:cubicBezTo>
                  <a:cubicBezTo>
                    <a:pt x="169" y="144"/>
                    <a:pt x="169" y="144"/>
                    <a:pt x="169" y="144"/>
                  </a:cubicBezTo>
                  <a:cubicBezTo>
                    <a:pt x="184" y="144"/>
                    <a:pt x="196" y="132"/>
                    <a:pt x="196" y="117"/>
                  </a:cubicBezTo>
                  <a:lnTo>
                    <a:pt x="196" y="27"/>
                  </a:lnTo>
                  <a:close/>
                </a:path>
              </a:pathLst>
            </a:custGeom>
            <a:solidFill>
              <a:schemeClr val="bg1"/>
            </a:solidFill>
            <a:ln w="34925">
              <a:gradFill>
                <a:gsLst>
                  <a:gs pos="0">
                    <a:schemeClr val="accent3"/>
                  </a:gs>
                  <a:gs pos="100000">
                    <a:schemeClr val="accent4"/>
                  </a:gs>
                </a:gsLst>
                <a:lin ang="5400000" scaled="1"/>
              </a:gradFill>
            </a:ln>
            <a:effectLst>
              <a:outerShdw blurRad="190500" dist="38100" dir="5400000" algn="t" rotWithShape="0">
                <a:schemeClr val="accent3">
                  <a:alpha val="3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lstStyle/>
            <a:p>
              <a:endParaRPr lang="id-ID">
                <a:solidFill>
                  <a:schemeClr val="lt1"/>
                </a:solidFill>
                <a:latin typeface="Calibri"/>
                <a:ea typeface="微软雅黑"/>
                <a:cs typeface="+mn-ea"/>
                <a:sym typeface="Calibri"/>
              </a:endParaRPr>
            </a:p>
          </p:txBody>
        </p:sp>
        <p:sp>
          <p:nvSpPr>
            <p:cNvPr id="87" name="Freeform 38"/>
            <p:cNvSpPr/>
            <p:nvPr/>
          </p:nvSpPr>
          <p:spPr bwMode="auto">
            <a:xfrm>
              <a:off x="4734729" y="2249790"/>
              <a:ext cx="498802" cy="422063"/>
            </a:xfrm>
            <a:custGeom>
              <a:avLst/>
              <a:gdLst>
                <a:gd name="T0" fmla="*/ 69 w 93"/>
                <a:gd name="T1" fmla="*/ 1 h 79"/>
                <a:gd name="T2" fmla="*/ 56 w 93"/>
                <a:gd name="T3" fmla="*/ 4 h 79"/>
                <a:gd name="T4" fmla="*/ 38 w 93"/>
                <a:gd name="T5" fmla="*/ 5 h 79"/>
                <a:gd name="T6" fmla="*/ 21 w 93"/>
                <a:gd name="T7" fmla="*/ 1 h 79"/>
                <a:gd name="T8" fmla="*/ 1 w 93"/>
                <a:gd name="T9" fmla="*/ 24 h 79"/>
                <a:gd name="T10" fmla="*/ 42 w 93"/>
                <a:gd name="T11" fmla="*/ 77 h 79"/>
                <a:gd name="T12" fmla="*/ 52 w 93"/>
                <a:gd name="T13" fmla="*/ 77 h 79"/>
                <a:gd name="T14" fmla="*/ 93 w 93"/>
                <a:gd name="T15" fmla="*/ 26 h 79"/>
                <a:gd name="T16" fmla="*/ 69 w 93"/>
                <a:gd name="T17" fmla="*/ 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79">
                  <a:moveTo>
                    <a:pt x="69" y="1"/>
                  </a:moveTo>
                  <a:cubicBezTo>
                    <a:pt x="64" y="1"/>
                    <a:pt x="60" y="2"/>
                    <a:pt x="56" y="4"/>
                  </a:cubicBezTo>
                  <a:cubicBezTo>
                    <a:pt x="51" y="8"/>
                    <a:pt x="44" y="8"/>
                    <a:pt x="38" y="5"/>
                  </a:cubicBezTo>
                  <a:cubicBezTo>
                    <a:pt x="33" y="2"/>
                    <a:pt x="27" y="0"/>
                    <a:pt x="21" y="1"/>
                  </a:cubicBezTo>
                  <a:cubicBezTo>
                    <a:pt x="10" y="3"/>
                    <a:pt x="2" y="13"/>
                    <a:pt x="1" y="24"/>
                  </a:cubicBezTo>
                  <a:cubicBezTo>
                    <a:pt x="0" y="48"/>
                    <a:pt x="31" y="70"/>
                    <a:pt x="42" y="77"/>
                  </a:cubicBezTo>
                  <a:cubicBezTo>
                    <a:pt x="45" y="79"/>
                    <a:pt x="49" y="79"/>
                    <a:pt x="52" y="77"/>
                  </a:cubicBezTo>
                  <a:cubicBezTo>
                    <a:pt x="63" y="70"/>
                    <a:pt x="92" y="49"/>
                    <a:pt x="93" y="26"/>
                  </a:cubicBezTo>
                  <a:cubicBezTo>
                    <a:pt x="93" y="13"/>
                    <a:pt x="82" y="1"/>
                    <a:pt x="69" y="1"/>
                  </a:cubicBezTo>
                  <a:close/>
                </a:path>
              </a:pathLst>
            </a:custGeom>
            <a:solidFill>
              <a:srgbClr val="B0B0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88" name="Oval 41"/>
            <p:cNvSpPr>
              <a:spLocks noChangeArrowheads="1"/>
            </p:cNvSpPr>
            <p:nvPr/>
          </p:nvSpPr>
          <p:spPr bwMode="auto">
            <a:xfrm>
              <a:off x="5296689" y="1967023"/>
              <a:ext cx="320497" cy="320497"/>
            </a:xfrm>
            <a:prstGeom prst="ellipse">
              <a:avLst/>
            </a:prstGeom>
            <a:gradFill flip="none" rotWithShape="1">
              <a:gsLst>
                <a:gs pos="0">
                  <a:schemeClr val="accent3"/>
                </a:gs>
                <a:gs pos="100000">
                  <a:schemeClr val="accent4"/>
                </a:gs>
              </a:gsLst>
              <a:lin ang="2700000" scaled="1"/>
              <a:tileRect/>
            </a:gradFill>
            <a:ln>
              <a:noFill/>
            </a:ln>
            <a:effectLst>
              <a:outerShdw blurRad="190500" dist="63500" dir="5400000" sx="99000" sy="99000" algn="t" rotWithShape="0">
                <a:prstClr val="black">
                  <a:alpha val="20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id-ID">
                <a:solidFill>
                  <a:schemeClr val="lt1"/>
                </a:solidFill>
                <a:latin typeface="Calibri"/>
                <a:ea typeface="微软雅黑"/>
                <a:cs typeface="+mn-ea"/>
                <a:sym typeface="Calibri"/>
              </a:endParaRPr>
            </a:p>
          </p:txBody>
        </p:sp>
        <p:sp>
          <p:nvSpPr>
            <p:cNvPr id="89" name="Rectangle 42"/>
            <p:cNvSpPr>
              <a:spLocks noChangeArrowheads="1"/>
            </p:cNvSpPr>
            <p:nvPr/>
          </p:nvSpPr>
          <p:spPr bwMode="auto">
            <a:xfrm>
              <a:off x="5416311" y="2046019"/>
              <a:ext cx="102790" cy="241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kumimoji="0" lang="id-ID" altLang="id-ID" sz="1100" b="1" i="0" u="none" strike="noStrike" cap="none" normalizeH="0" baseline="0" dirty="0">
                  <a:ln>
                    <a:noFill/>
                  </a:ln>
                  <a:solidFill>
                    <a:srgbClr val="FFFFFF"/>
                  </a:solidFill>
                  <a:effectLst/>
                  <a:latin typeface="Calibri"/>
                  <a:ea typeface="微软雅黑"/>
                  <a:cs typeface="+mn-ea"/>
                  <a:sym typeface="Calibri"/>
                </a:rPr>
                <a:t>3</a:t>
              </a:r>
              <a:endParaRPr kumimoji="0" lang="id-ID" altLang="id-ID" sz="2800" b="0" i="0" u="none" strike="noStrike" cap="none" normalizeH="0" baseline="0" dirty="0">
                <a:ln>
                  <a:noFill/>
                </a:ln>
                <a:solidFill>
                  <a:schemeClr val="tx1"/>
                </a:solidFill>
                <a:effectLst/>
                <a:latin typeface="Calibri"/>
                <a:ea typeface="微软雅黑"/>
                <a:cs typeface="+mn-ea"/>
                <a:sym typeface="Calibri"/>
              </a:endParaRPr>
            </a:p>
          </p:txBody>
        </p:sp>
      </p:grpSp>
      <p:grpSp>
        <p:nvGrpSpPr>
          <p:cNvPr id="90" name="Group 89"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2739888" y="1228430"/>
            <a:ext cx="750788" cy="652582"/>
            <a:chOff x="2441596" y="1640395"/>
            <a:chExt cx="1069828" cy="929892"/>
          </a:xfrm>
        </p:grpSpPr>
        <p:grpSp>
          <p:nvGrpSpPr>
            <p:cNvPr id="91" name="Group 90"/>
            <p:cNvGrpSpPr/>
            <p:nvPr/>
          </p:nvGrpSpPr>
          <p:grpSpPr>
            <a:xfrm>
              <a:off x="2441596" y="1676507"/>
              <a:ext cx="1047258" cy="893780"/>
              <a:chOff x="2441596" y="1676507"/>
              <a:chExt cx="1047258" cy="893780"/>
            </a:xfrm>
          </p:grpSpPr>
          <p:sp>
            <p:nvSpPr>
              <p:cNvPr id="94" name="Freeform 32"/>
              <p:cNvSpPr/>
              <p:nvPr/>
            </p:nvSpPr>
            <p:spPr bwMode="auto">
              <a:xfrm>
                <a:off x="2441596" y="1676507"/>
                <a:ext cx="1047258" cy="893780"/>
              </a:xfrm>
              <a:custGeom>
                <a:avLst/>
                <a:gdLst>
                  <a:gd name="T0" fmla="*/ 196 w 196"/>
                  <a:gd name="T1" fmla="*/ 27 h 167"/>
                  <a:gd name="T2" fmla="*/ 169 w 196"/>
                  <a:gd name="T3" fmla="*/ 0 h 167"/>
                  <a:gd name="T4" fmla="*/ 27 w 196"/>
                  <a:gd name="T5" fmla="*/ 0 h 167"/>
                  <a:gd name="T6" fmla="*/ 0 w 196"/>
                  <a:gd name="T7" fmla="*/ 27 h 167"/>
                  <a:gd name="T8" fmla="*/ 0 w 196"/>
                  <a:gd name="T9" fmla="*/ 117 h 167"/>
                  <a:gd name="T10" fmla="*/ 27 w 196"/>
                  <a:gd name="T11" fmla="*/ 144 h 167"/>
                  <a:gd name="T12" fmla="*/ 69 w 196"/>
                  <a:gd name="T13" fmla="*/ 144 h 167"/>
                  <a:gd name="T14" fmla="*/ 87 w 196"/>
                  <a:gd name="T15" fmla="*/ 154 h 167"/>
                  <a:gd name="T16" fmla="*/ 95 w 196"/>
                  <a:gd name="T17" fmla="*/ 166 h 167"/>
                  <a:gd name="T18" fmla="*/ 98 w 196"/>
                  <a:gd name="T19" fmla="*/ 167 h 167"/>
                  <a:gd name="T20" fmla="*/ 101 w 196"/>
                  <a:gd name="T21" fmla="*/ 166 h 167"/>
                  <a:gd name="T22" fmla="*/ 109 w 196"/>
                  <a:gd name="T23" fmla="*/ 154 h 167"/>
                  <a:gd name="T24" fmla="*/ 127 w 196"/>
                  <a:gd name="T25" fmla="*/ 144 h 167"/>
                  <a:gd name="T26" fmla="*/ 169 w 196"/>
                  <a:gd name="T27" fmla="*/ 144 h 167"/>
                  <a:gd name="T28" fmla="*/ 196 w 196"/>
                  <a:gd name="T29" fmla="*/ 117 h 167"/>
                  <a:gd name="T30" fmla="*/ 196 w 196"/>
                  <a:gd name="T31" fmla="*/ 27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167">
                    <a:moveTo>
                      <a:pt x="196" y="27"/>
                    </a:moveTo>
                    <a:cubicBezTo>
                      <a:pt x="196" y="12"/>
                      <a:pt x="184" y="0"/>
                      <a:pt x="169" y="0"/>
                    </a:cubicBezTo>
                    <a:cubicBezTo>
                      <a:pt x="27" y="0"/>
                      <a:pt x="27" y="0"/>
                      <a:pt x="27" y="0"/>
                    </a:cubicBezTo>
                    <a:cubicBezTo>
                      <a:pt x="12" y="0"/>
                      <a:pt x="0" y="12"/>
                      <a:pt x="0" y="27"/>
                    </a:cubicBezTo>
                    <a:cubicBezTo>
                      <a:pt x="0" y="117"/>
                      <a:pt x="0" y="117"/>
                      <a:pt x="0" y="117"/>
                    </a:cubicBezTo>
                    <a:cubicBezTo>
                      <a:pt x="0" y="132"/>
                      <a:pt x="12" y="144"/>
                      <a:pt x="27" y="144"/>
                    </a:cubicBezTo>
                    <a:cubicBezTo>
                      <a:pt x="69" y="144"/>
                      <a:pt x="69" y="144"/>
                      <a:pt x="69" y="144"/>
                    </a:cubicBezTo>
                    <a:cubicBezTo>
                      <a:pt x="76" y="144"/>
                      <a:pt x="83" y="148"/>
                      <a:pt x="87" y="154"/>
                    </a:cubicBezTo>
                    <a:cubicBezTo>
                      <a:pt x="95" y="166"/>
                      <a:pt x="95" y="166"/>
                      <a:pt x="95" y="166"/>
                    </a:cubicBezTo>
                    <a:cubicBezTo>
                      <a:pt x="96" y="166"/>
                      <a:pt x="97" y="167"/>
                      <a:pt x="98" y="167"/>
                    </a:cubicBezTo>
                    <a:cubicBezTo>
                      <a:pt x="99" y="167"/>
                      <a:pt x="100" y="166"/>
                      <a:pt x="101" y="166"/>
                    </a:cubicBezTo>
                    <a:cubicBezTo>
                      <a:pt x="109" y="154"/>
                      <a:pt x="109" y="154"/>
                      <a:pt x="109" y="154"/>
                    </a:cubicBezTo>
                    <a:cubicBezTo>
                      <a:pt x="113" y="148"/>
                      <a:pt x="120" y="144"/>
                      <a:pt x="127" y="144"/>
                    </a:cubicBezTo>
                    <a:cubicBezTo>
                      <a:pt x="169" y="144"/>
                      <a:pt x="169" y="144"/>
                      <a:pt x="169" y="144"/>
                    </a:cubicBezTo>
                    <a:cubicBezTo>
                      <a:pt x="184" y="144"/>
                      <a:pt x="196" y="132"/>
                      <a:pt x="196" y="117"/>
                    </a:cubicBezTo>
                    <a:lnTo>
                      <a:pt x="196" y="27"/>
                    </a:lnTo>
                    <a:close/>
                  </a:path>
                </a:pathLst>
              </a:custGeom>
              <a:solidFill>
                <a:srgbClr val="4D4C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95" name="Oval 35"/>
              <p:cNvSpPr>
                <a:spLocks noChangeArrowheads="1"/>
              </p:cNvSpPr>
              <p:nvPr/>
            </p:nvSpPr>
            <p:spPr bwMode="auto">
              <a:xfrm>
                <a:off x="2852374" y="1805157"/>
                <a:ext cx="225702" cy="218931"/>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96" name="Freeform 36"/>
              <p:cNvSpPr/>
              <p:nvPr/>
            </p:nvSpPr>
            <p:spPr bwMode="auto">
              <a:xfrm>
                <a:off x="2755322" y="2089542"/>
                <a:ext cx="424320" cy="230216"/>
              </a:xfrm>
              <a:custGeom>
                <a:avLst/>
                <a:gdLst>
                  <a:gd name="T0" fmla="*/ 72 w 79"/>
                  <a:gd name="T1" fmla="*/ 43 h 43"/>
                  <a:gd name="T2" fmla="*/ 78 w 79"/>
                  <a:gd name="T3" fmla="*/ 36 h 43"/>
                  <a:gd name="T4" fmla="*/ 39 w 79"/>
                  <a:gd name="T5" fmla="*/ 0 h 43"/>
                  <a:gd name="T6" fmla="*/ 1 w 79"/>
                  <a:gd name="T7" fmla="*/ 36 h 43"/>
                  <a:gd name="T8" fmla="*/ 7 w 79"/>
                  <a:gd name="T9" fmla="*/ 43 h 43"/>
                  <a:gd name="T10" fmla="*/ 72 w 79"/>
                  <a:gd name="T11" fmla="*/ 43 h 43"/>
                </a:gdLst>
                <a:ahLst/>
                <a:cxnLst>
                  <a:cxn ang="0">
                    <a:pos x="T0" y="T1"/>
                  </a:cxn>
                  <a:cxn ang="0">
                    <a:pos x="T2" y="T3"/>
                  </a:cxn>
                  <a:cxn ang="0">
                    <a:pos x="T4" y="T5"/>
                  </a:cxn>
                  <a:cxn ang="0">
                    <a:pos x="T6" y="T7"/>
                  </a:cxn>
                  <a:cxn ang="0">
                    <a:pos x="T8" y="T9"/>
                  </a:cxn>
                  <a:cxn ang="0">
                    <a:pos x="T10" y="T11"/>
                  </a:cxn>
                </a:cxnLst>
                <a:rect l="0" t="0" r="r" b="b"/>
                <a:pathLst>
                  <a:path w="79" h="43">
                    <a:moveTo>
                      <a:pt x="72" y="43"/>
                    </a:moveTo>
                    <a:cubicBezTo>
                      <a:pt x="76" y="43"/>
                      <a:pt x="79" y="40"/>
                      <a:pt x="78" y="36"/>
                    </a:cubicBezTo>
                    <a:cubicBezTo>
                      <a:pt x="74" y="16"/>
                      <a:pt x="58" y="0"/>
                      <a:pt x="39" y="0"/>
                    </a:cubicBezTo>
                    <a:cubicBezTo>
                      <a:pt x="20" y="0"/>
                      <a:pt x="4" y="16"/>
                      <a:pt x="1" y="36"/>
                    </a:cubicBezTo>
                    <a:cubicBezTo>
                      <a:pt x="0" y="40"/>
                      <a:pt x="3" y="43"/>
                      <a:pt x="7" y="43"/>
                    </a:cubicBezTo>
                    <a:lnTo>
                      <a:pt x="72" y="43"/>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grpSp>
        <p:sp>
          <p:nvSpPr>
            <p:cNvPr id="92" name="Oval 39"/>
            <p:cNvSpPr>
              <a:spLocks noChangeArrowheads="1"/>
            </p:cNvSpPr>
            <p:nvPr/>
          </p:nvSpPr>
          <p:spPr bwMode="auto">
            <a:xfrm>
              <a:off x="3188670" y="1640395"/>
              <a:ext cx="322754" cy="320497"/>
            </a:xfrm>
            <a:prstGeom prst="ellipse">
              <a:avLst/>
            </a:prstGeom>
            <a:gradFill flip="none" rotWithShape="1">
              <a:gsLst>
                <a:gs pos="0">
                  <a:schemeClr val="accent3"/>
                </a:gs>
                <a:gs pos="100000">
                  <a:schemeClr val="accent4"/>
                </a:gs>
              </a:gsLst>
              <a:lin ang="2700000" scaled="1"/>
              <a:tileRect/>
            </a:gradFill>
            <a:ln>
              <a:noFill/>
            </a:ln>
            <a:effectLst>
              <a:outerShdw blurRad="190500" dist="63500" dir="5400000" sx="99000" sy="99000" algn="t" rotWithShape="0">
                <a:prstClr val="black">
                  <a:alpha val="20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id-ID">
                <a:solidFill>
                  <a:schemeClr val="lt1"/>
                </a:solidFill>
                <a:latin typeface="Calibri"/>
                <a:ea typeface="微软雅黑"/>
                <a:cs typeface="+mn-ea"/>
                <a:sym typeface="Calibri"/>
              </a:endParaRPr>
            </a:p>
          </p:txBody>
        </p:sp>
        <p:sp>
          <p:nvSpPr>
            <p:cNvPr id="93" name="Rectangle 40"/>
            <p:cNvSpPr>
              <a:spLocks noChangeArrowheads="1"/>
            </p:cNvSpPr>
            <p:nvPr/>
          </p:nvSpPr>
          <p:spPr bwMode="auto">
            <a:xfrm>
              <a:off x="3317320" y="1717132"/>
              <a:ext cx="102789" cy="241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kumimoji="0" lang="id-ID" altLang="id-ID" sz="1100" b="1" i="0" u="none" strike="noStrike" cap="none" normalizeH="0" baseline="0" dirty="0">
                  <a:ln>
                    <a:noFill/>
                  </a:ln>
                  <a:solidFill>
                    <a:srgbClr val="FFFFFF"/>
                  </a:solidFill>
                  <a:effectLst/>
                  <a:latin typeface="Calibri"/>
                  <a:ea typeface="微软雅黑"/>
                  <a:cs typeface="+mn-ea"/>
                  <a:sym typeface="Calibri"/>
                </a:rPr>
                <a:t>1</a:t>
              </a:r>
              <a:endParaRPr kumimoji="0" lang="id-ID" altLang="id-ID" sz="2800" b="0" i="0" u="none" strike="noStrike" cap="none" normalizeH="0" baseline="0" dirty="0">
                <a:ln>
                  <a:noFill/>
                </a:ln>
                <a:solidFill>
                  <a:schemeClr val="tx1"/>
                </a:solidFill>
                <a:effectLst/>
                <a:latin typeface="Calibri"/>
                <a:ea typeface="微软雅黑"/>
                <a:cs typeface="+mn-ea"/>
                <a:sym typeface="Calibri"/>
              </a:endParaRPr>
            </a:p>
          </p:txBody>
        </p:sp>
      </p:grpSp>
      <p:grpSp>
        <p:nvGrpSpPr>
          <p:cNvPr id="97" name="Group 96"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424339" y="2290689"/>
            <a:ext cx="761876" cy="655752"/>
            <a:chOff x="3188670" y="2683138"/>
            <a:chExt cx="1085627" cy="934406"/>
          </a:xfrm>
        </p:grpSpPr>
        <p:sp>
          <p:nvSpPr>
            <p:cNvPr id="98" name="Freeform 33"/>
            <p:cNvSpPr/>
            <p:nvPr/>
          </p:nvSpPr>
          <p:spPr bwMode="auto">
            <a:xfrm>
              <a:off x="3188670" y="2719250"/>
              <a:ext cx="1049515" cy="898294"/>
            </a:xfrm>
            <a:custGeom>
              <a:avLst/>
              <a:gdLst>
                <a:gd name="T0" fmla="*/ 196 w 196"/>
                <a:gd name="T1" fmla="*/ 27 h 168"/>
                <a:gd name="T2" fmla="*/ 169 w 196"/>
                <a:gd name="T3" fmla="*/ 0 h 168"/>
                <a:gd name="T4" fmla="*/ 27 w 196"/>
                <a:gd name="T5" fmla="*/ 0 h 168"/>
                <a:gd name="T6" fmla="*/ 0 w 196"/>
                <a:gd name="T7" fmla="*/ 27 h 168"/>
                <a:gd name="T8" fmla="*/ 0 w 196"/>
                <a:gd name="T9" fmla="*/ 118 h 168"/>
                <a:gd name="T10" fmla="*/ 27 w 196"/>
                <a:gd name="T11" fmla="*/ 145 h 168"/>
                <a:gd name="T12" fmla="*/ 69 w 196"/>
                <a:gd name="T13" fmla="*/ 145 h 168"/>
                <a:gd name="T14" fmla="*/ 87 w 196"/>
                <a:gd name="T15" fmla="*/ 154 h 168"/>
                <a:gd name="T16" fmla="*/ 95 w 196"/>
                <a:gd name="T17" fmla="*/ 166 h 168"/>
                <a:gd name="T18" fmla="*/ 98 w 196"/>
                <a:gd name="T19" fmla="*/ 168 h 168"/>
                <a:gd name="T20" fmla="*/ 100 w 196"/>
                <a:gd name="T21" fmla="*/ 166 h 168"/>
                <a:gd name="T22" fmla="*/ 109 w 196"/>
                <a:gd name="T23" fmla="*/ 154 h 168"/>
                <a:gd name="T24" fmla="*/ 127 w 196"/>
                <a:gd name="T25" fmla="*/ 145 h 168"/>
                <a:gd name="T26" fmla="*/ 169 w 196"/>
                <a:gd name="T27" fmla="*/ 145 h 168"/>
                <a:gd name="T28" fmla="*/ 196 w 196"/>
                <a:gd name="T29" fmla="*/ 118 h 168"/>
                <a:gd name="T30" fmla="*/ 196 w 196"/>
                <a:gd name="T31" fmla="*/ 2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168">
                  <a:moveTo>
                    <a:pt x="196" y="27"/>
                  </a:moveTo>
                  <a:cubicBezTo>
                    <a:pt x="196" y="12"/>
                    <a:pt x="184" y="0"/>
                    <a:pt x="169" y="0"/>
                  </a:cubicBezTo>
                  <a:cubicBezTo>
                    <a:pt x="27" y="0"/>
                    <a:pt x="27" y="0"/>
                    <a:pt x="27" y="0"/>
                  </a:cubicBezTo>
                  <a:cubicBezTo>
                    <a:pt x="12" y="0"/>
                    <a:pt x="0" y="12"/>
                    <a:pt x="0" y="27"/>
                  </a:cubicBezTo>
                  <a:cubicBezTo>
                    <a:pt x="0" y="118"/>
                    <a:pt x="0" y="118"/>
                    <a:pt x="0" y="118"/>
                  </a:cubicBezTo>
                  <a:cubicBezTo>
                    <a:pt x="0" y="133"/>
                    <a:pt x="12" y="145"/>
                    <a:pt x="27" y="145"/>
                  </a:cubicBezTo>
                  <a:cubicBezTo>
                    <a:pt x="69" y="145"/>
                    <a:pt x="69" y="145"/>
                    <a:pt x="69" y="145"/>
                  </a:cubicBezTo>
                  <a:cubicBezTo>
                    <a:pt x="76" y="145"/>
                    <a:pt x="83" y="148"/>
                    <a:pt x="87" y="154"/>
                  </a:cubicBezTo>
                  <a:cubicBezTo>
                    <a:pt x="95" y="166"/>
                    <a:pt x="95" y="166"/>
                    <a:pt x="95" y="166"/>
                  </a:cubicBezTo>
                  <a:cubicBezTo>
                    <a:pt x="95" y="167"/>
                    <a:pt x="96" y="168"/>
                    <a:pt x="98" y="168"/>
                  </a:cubicBezTo>
                  <a:cubicBezTo>
                    <a:pt x="99" y="168"/>
                    <a:pt x="100" y="167"/>
                    <a:pt x="100" y="166"/>
                  </a:cubicBezTo>
                  <a:cubicBezTo>
                    <a:pt x="109" y="154"/>
                    <a:pt x="109" y="154"/>
                    <a:pt x="109" y="154"/>
                  </a:cubicBezTo>
                  <a:cubicBezTo>
                    <a:pt x="113" y="148"/>
                    <a:pt x="119" y="145"/>
                    <a:pt x="127" y="145"/>
                  </a:cubicBezTo>
                  <a:cubicBezTo>
                    <a:pt x="169" y="145"/>
                    <a:pt x="169" y="145"/>
                    <a:pt x="169" y="145"/>
                  </a:cubicBezTo>
                  <a:cubicBezTo>
                    <a:pt x="184" y="145"/>
                    <a:pt x="196" y="133"/>
                    <a:pt x="196" y="118"/>
                  </a:cubicBezTo>
                  <a:lnTo>
                    <a:pt x="196" y="27"/>
                  </a:lnTo>
                  <a:close/>
                </a:path>
              </a:pathLst>
            </a:custGeom>
            <a:solidFill>
              <a:srgbClr val="4D4CAD"/>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99" name="Freeform 37"/>
            <p:cNvSpPr/>
            <p:nvPr/>
          </p:nvSpPr>
          <p:spPr bwMode="auto">
            <a:xfrm>
              <a:off x="3633303" y="2870471"/>
              <a:ext cx="309212" cy="458175"/>
            </a:xfrm>
            <a:custGeom>
              <a:avLst/>
              <a:gdLst>
                <a:gd name="T0" fmla="*/ 56 w 58"/>
                <a:gd name="T1" fmla="*/ 42 h 86"/>
                <a:gd name="T2" fmla="*/ 45 w 58"/>
                <a:gd name="T3" fmla="*/ 28 h 86"/>
                <a:gd name="T4" fmla="*/ 33 w 58"/>
                <a:gd name="T5" fmla="*/ 28 h 86"/>
                <a:gd name="T6" fmla="*/ 29 w 58"/>
                <a:gd name="T7" fmla="*/ 23 h 86"/>
                <a:gd name="T8" fmla="*/ 36 w 58"/>
                <a:gd name="T9" fmla="*/ 10 h 86"/>
                <a:gd name="T10" fmla="*/ 30 w 58"/>
                <a:gd name="T11" fmla="*/ 0 h 86"/>
                <a:gd name="T12" fmla="*/ 20 w 58"/>
                <a:gd name="T13" fmla="*/ 6 h 86"/>
                <a:gd name="T14" fmla="*/ 9 w 58"/>
                <a:gd name="T15" fmla="*/ 26 h 86"/>
                <a:gd name="T16" fmla="*/ 6 w 58"/>
                <a:gd name="T17" fmla="*/ 28 h 86"/>
                <a:gd name="T18" fmla="*/ 0 w 58"/>
                <a:gd name="T19" fmla="*/ 34 h 86"/>
                <a:gd name="T20" fmla="*/ 0 w 58"/>
                <a:gd name="T21" fmla="*/ 80 h 86"/>
                <a:gd name="T22" fmla="*/ 6 w 58"/>
                <a:gd name="T23" fmla="*/ 86 h 86"/>
                <a:gd name="T24" fmla="*/ 40 w 58"/>
                <a:gd name="T25" fmla="*/ 86 h 86"/>
                <a:gd name="T26" fmla="*/ 48 w 58"/>
                <a:gd name="T27" fmla="*/ 79 h 86"/>
                <a:gd name="T28" fmla="*/ 56 w 58"/>
                <a:gd name="T29" fmla="*/ 4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86">
                  <a:moveTo>
                    <a:pt x="56" y="42"/>
                  </a:moveTo>
                  <a:cubicBezTo>
                    <a:pt x="58" y="35"/>
                    <a:pt x="53" y="28"/>
                    <a:pt x="45" y="28"/>
                  </a:cubicBezTo>
                  <a:cubicBezTo>
                    <a:pt x="33" y="28"/>
                    <a:pt x="33" y="28"/>
                    <a:pt x="33" y="28"/>
                  </a:cubicBezTo>
                  <a:cubicBezTo>
                    <a:pt x="30" y="28"/>
                    <a:pt x="28" y="25"/>
                    <a:pt x="29" y="23"/>
                  </a:cubicBezTo>
                  <a:cubicBezTo>
                    <a:pt x="36" y="10"/>
                    <a:pt x="36" y="10"/>
                    <a:pt x="36" y="10"/>
                  </a:cubicBezTo>
                  <a:cubicBezTo>
                    <a:pt x="38" y="5"/>
                    <a:pt x="35" y="0"/>
                    <a:pt x="30" y="0"/>
                  </a:cubicBezTo>
                  <a:cubicBezTo>
                    <a:pt x="26" y="0"/>
                    <a:pt x="22" y="2"/>
                    <a:pt x="20" y="6"/>
                  </a:cubicBezTo>
                  <a:cubicBezTo>
                    <a:pt x="9" y="26"/>
                    <a:pt x="9" y="26"/>
                    <a:pt x="9" y="26"/>
                  </a:cubicBezTo>
                  <a:cubicBezTo>
                    <a:pt x="8" y="27"/>
                    <a:pt x="7" y="28"/>
                    <a:pt x="6" y="28"/>
                  </a:cubicBezTo>
                  <a:cubicBezTo>
                    <a:pt x="3" y="28"/>
                    <a:pt x="0" y="31"/>
                    <a:pt x="0" y="34"/>
                  </a:cubicBezTo>
                  <a:cubicBezTo>
                    <a:pt x="0" y="80"/>
                    <a:pt x="0" y="80"/>
                    <a:pt x="0" y="80"/>
                  </a:cubicBezTo>
                  <a:cubicBezTo>
                    <a:pt x="0" y="83"/>
                    <a:pt x="3" y="86"/>
                    <a:pt x="6" y="86"/>
                  </a:cubicBezTo>
                  <a:cubicBezTo>
                    <a:pt x="40" y="86"/>
                    <a:pt x="40" y="86"/>
                    <a:pt x="40" y="86"/>
                  </a:cubicBezTo>
                  <a:cubicBezTo>
                    <a:pt x="44" y="86"/>
                    <a:pt x="47" y="83"/>
                    <a:pt x="48" y="79"/>
                  </a:cubicBezTo>
                  <a:lnTo>
                    <a:pt x="56" y="42"/>
                  </a:ln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sp>
          <p:nvSpPr>
            <p:cNvPr id="100" name="Oval 43"/>
            <p:cNvSpPr>
              <a:spLocks noChangeArrowheads="1"/>
            </p:cNvSpPr>
            <p:nvPr/>
          </p:nvSpPr>
          <p:spPr bwMode="auto">
            <a:xfrm>
              <a:off x="3953800" y="2683138"/>
              <a:ext cx="320497" cy="320497"/>
            </a:xfrm>
            <a:prstGeom prst="ellipse">
              <a:avLst/>
            </a:prstGeom>
            <a:gradFill flip="none" rotWithShape="1">
              <a:gsLst>
                <a:gs pos="0">
                  <a:schemeClr val="accent3"/>
                </a:gs>
                <a:gs pos="100000">
                  <a:schemeClr val="accent4"/>
                </a:gs>
              </a:gsLst>
              <a:lin ang="2700000" scaled="1"/>
              <a:tileRect/>
            </a:gradFill>
            <a:ln>
              <a:noFill/>
            </a:ln>
            <a:effectLst>
              <a:outerShdw blurRad="190500" dist="63500" dir="5400000" sx="99000" sy="99000" algn="t" rotWithShape="0">
                <a:prstClr val="black">
                  <a:alpha val="20000"/>
                </a:prstClr>
              </a:outerShdw>
            </a:effectLst>
            <a:extLst>
              <a:ext uri="{91240B29-F687-4F45-9708-019B960494DF}">
                <a14:hiddenLine xmlns:a14="http://schemas.microsoft.com/office/drawing/2010/main" w="9525">
                  <a:solidFill>
                    <a:srgbClr val="000000"/>
                  </a:solidFill>
                  <a:rou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id-ID">
                <a:solidFill>
                  <a:schemeClr val="lt1"/>
                </a:solidFill>
                <a:latin typeface="Calibri"/>
                <a:ea typeface="微软雅黑"/>
                <a:cs typeface="+mn-ea"/>
                <a:sym typeface="Calibri"/>
              </a:endParaRPr>
            </a:p>
          </p:txBody>
        </p:sp>
        <p:sp>
          <p:nvSpPr>
            <p:cNvPr id="101" name="Rectangle 44"/>
            <p:cNvSpPr>
              <a:spLocks noChangeArrowheads="1"/>
            </p:cNvSpPr>
            <p:nvPr/>
          </p:nvSpPr>
          <p:spPr bwMode="auto">
            <a:xfrm>
              <a:off x="4059881" y="2766648"/>
              <a:ext cx="102789" cy="2412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pPr>
              <a:r>
                <a:rPr kumimoji="0" lang="id-ID" altLang="id-ID" sz="1100" b="1" i="0" u="none" strike="noStrike" cap="none" normalizeH="0" baseline="0" dirty="0">
                  <a:ln>
                    <a:noFill/>
                  </a:ln>
                  <a:solidFill>
                    <a:srgbClr val="FFFFFF"/>
                  </a:solidFill>
                  <a:effectLst/>
                  <a:latin typeface="Calibri"/>
                  <a:ea typeface="微软雅黑"/>
                  <a:cs typeface="+mn-ea"/>
                  <a:sym typeface="Calibri"/>
                </a:rPr>
                <a:t>4</a:t>
              </a:r>
              <a:endParaRPr kumimoji="0" lang="id-ID" altLang="id-ID" sz="2800" b="0" i="0" u="none" strike="noStrike" cap="none" normalizeH="0" baseline="0" dirty="0">
                <a:ln>
                  <a:noFill/>
                </a:ln>
                <a:solidFill>
                  <a:schemeClr val="tx1"/>
                </a:solidFill>
                <a:effectLst/>
                <a:latin typeface="Calibri"/>
                <a:ea typeface="微软雅黑"/>
                <a:cs typeface="+mn-ea"/>
                <a:sym typeface="Calibri"/>
              </a:endParaRPr>
            </a:p>
          </p:txBody>
        </p:sp>
        <p:sp>
          <p:nvSpPr>
            <p:cNvPr id="102" name="Freeform 54"/>
            <p:cNvSpPr/>
            <p:nvPr/>
          </p:nvSpPr>
          <p:spPr bwMode="auto">
            <a:xfrm>
              <a:off x="3434685" y="3019434"/>
              <a:ext cx="128650" cy="309212"/>
            </a:xfrm>
            <a:custGeom>
              <a:avLst/>
              <a:gdLst>
                <a:gd name="T0" fmla="*/ 18 w 24"/>
                <a:gd name="T1" fmla="*/ 58 h 58"/>
                <a:gd name="T2" fmla="*/ 7 w 24"/>
                <a:gd name="T3" fmla="*/ 58 h 58"/>
                <a:gd name="T4" fmla="*/ 0 w 24"/>
                <a:gd name="T5" fmla="*/ 51 h 58"/>
                <a:gd name="T6" fmla="*/ 0 w 24"/>
                <a:gd name="T7" fmla="*/ 7 h 58"/>
                <a:gd name="T8" fmla="*/ 7 w 24"/>
                <a:gd name="T9" fmla="*/ 0 h 58"/>
                <a:gd name="T10" fmla="*/ 18 w 24"/>
                <a:gd name="T11" fmla="*/ 0 h 58"/>
                <a:gd name="T12" fmla="*/ 24 w 24"/>
                <a:gd name="T13" fmla="*/ 7 h 58"/>
                <a:gd name="T14" fmla="*/ 24 w 24"/>
                <a:gd name="T15" fmla="*/ 51 h 58"/>
                <a:gd name="T16" fmla="*/ 18 w 24"/>
                <a:gd name="T17"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58">
                  <a:moveTo>
                    <a:pt x="18" y="58"/>
                  </a:moveTo>
                  <a:cubicBezTo>
                    <a:pt x="7" y="58"/>
                    <a:pt x="7" y="58"/>
                    <a:pt x="7" y="58"/>
                  </a:cubicBezTo>
                  <a:cubicBezTo>
                    <a:pt x="4" y="58"/>
                    <a:pt x="0" y="55"/>
                    <a:pt x="0" y="51"/>
                  </a:cubicBezTo>
                  <a:cubicBezTo>
                    <a:pt x="0" y="7"/>
                    <a:pt x="0" y="7"/>
                    <a:pt x="0" y="7"/>
                  </a:cubicBezTo>
                  <a:cubicBezTo>
                    <a:pt x="0" y="3"/>
                    <a:pt x="4" y="0"/>
                    <a:pt x="7" y="0"/>
                  </a:cubicBezTo>
                  <a:cubicBezTo>
                    <a:pt x="18" y="0"/>
                    <a:pt x="18" y="0"/>
                    <a:pt x="18" y="0"/>
                  </a:cubicBezTo>
                  <a:cubicBezTo>
                    <a:pt x="21" y="0"/>
                    <a:pt x="24" y="3"/>
                    <a:pt x="24" y="7"/>
                  </a:cubicBezTo>
                  <a:cubicBezTo>
                    <a:pt x="24" y="51"/>
                    <a:pt x="24" y="51"/>
                    <a:pt x="24" y="51"/>
                  </a:cubicBezTo>
                  <a:cubicBezTo>
                    <a:pt x="24" y="55"/>
                    <a:pt x="21" y="58"/>
                    <a:pt x="18" y="58"/>
                  </a:cubicBezTo>
                  <a:close/>
                </a:path>
              </a:pathLst>
            </a:cu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id-ID">
                <a:latin typeface="Calibri"/>
                <a:ea typeface="微软雅黑"/>
                <a:cs typeface="+mn-ea"/>
                <a:sym typeface="Calibri"/>
              </a:endParaRPr>
            </a:p>
          </p:txBody>
        </p:sp>
      </p:grpSp>
      <p:grpSp>
        <p:nvGrpSpPr>
          <p:cNvPr id="103" name="Group 102"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GrpSpPr/>
          <p:nvPr/>
        </p:nvGrpSpPr>
        <p:grpSpPr>
          <a:xfrm>
            <a:off x="3028032" y="5230671"/>
            <a:ext cx="5912767" cy="381004"/>
            <a:chOff x="3028032" y="5230671"/>
            <a:chExt cx="5912767" cy="381004"/>
          </a:xfrm>
        </p:grpSpPr>
        <p:sp>
          <p:nvSpPr>
            <p:cNvPr id="118" name="Rectangle: Top Corners Rounded 117"/>
            <p:cNvSpPr/>
            <p:nvPr/>
          </p:nvSpPr>
          <p:spPr>
            <a:xfrm flipV="1">
              <a:off x="3028032" y="5230671"/>
              <a:ext cx="5912767" cy="380999"/>
            </a:xfrm>
            <a:prstGeom prst="round2SameRect">
              <a:avLst>
                <a:gd name="adj1" fmla="val 0"/>
                <a:gd name="adj2" fmla="val 0"/>
              </a:avLst>
            </a:prstGeom>
            <a:solidFill>
              <a:schemeClr val="bg1"/>
            </a:solidFill>
            <a:ln>
              <a:noFill/>
            </a:ln>
            <a:effectLst>
              <a:outerShdw blurRad="203200" dist="38100" dir="5400000" algn="t"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d-ID">
                <a:latin typeface="Calibri"/>
                <a:ea typeface="微软雅黑"/>
                <a:cs typeface="+mn-ea"/>
                <a:sym typeface="Calibri"/>
              </a:endParaRPr>
            </a:p>
          </p:txBody>
        </p:sp>
        <p:sp>
          <p:nvSpPr>
            <p:cNvPr id="119" name="Rectangle 118"/>
            <p:cNvSpPr/>
            <p:nvPr/>
          </p:nvSpPr>
          <p:spPr>
            <a:xfrm>
              <a:off x="3144690" y="5273121"/>
              <a:ext cx="5234127" cy="338554"/>
            </a:xfrm>
            <a:prstGeom prst="rect">
              <a:avLst/>
            </a:prstGeom>
          </p:spPr>
          <p:txBody>
            <a:bodyPr wrap="square">
              <a:spAutoFit/>
            </a:bodyPr>
            <a:lstStyle/>
            <a:p>
              <a:pPr fontAlgn="base"/>
              <a:r>
                <a:rPr lang="en-US" sz="1600" dirty="0">
                  <a:solidFill>
                    <a:schemeClr val="tx1">
                      <a:lumMod val="85000"/>
                      <a:lumOff val="15000"/>
                    </a:schemeClr>
                  </a:solidFill>
                  <a:latin typeface="Calibri"/>
                  <a:ea typeface="微软雅黑"/>
                  <a:cs typeface="+mn-ea"/>
                  <a:sym typeface="Calibri"/>
                </a:rPr>
                <a:t>https://www.freeppt7.com/business/_</a:t>
              </a:r>
            </a:p>
          </p:txBody>
        </p:sp>
        <p:sp>
          <p:nvSpPr>
            <p:cNvPr id="120" name="Freeform 13"/>
            <p:cNvSpPr>
              <a:spLocks noChangeArrowheads="1"/>
            </p:cNvSpPr>
            <p:nvPr/>
          </p:nvSpPr>
          <p:spPr bwMode="auto">
            <a:xfrm>
              <a:off x="8618162" y="5332831"/>
              <a:ext cx="83292" cy="176682"/>
            </a:xfrm>
            <a:custGeom>
              <a:avLst/>
              <a:gdLst>
                <a:gd name="T0" fmla="*/ 80388 w 232"/>
                <a:gd name="T1" fmla="*/ 0 h 498"/>
                <a:gd name="T2" fmla="*/ 80388 w 232"/>
                <a:gd name="T3" fmla="*/ 0 h 498"/>
                <a:gd name="T4" fmla="*/ 100259 w 232"/>
                <a:gd name="T5" fmla="*/ 23653 h 498"/>
                <a:gd name="T6" fmla="*/ 72259 w 232"/>
                <a:gd name="T7" fmla="*/ 51323 h 498"/>
                <a:gd name="T8" fmla="*/ 48323 w 232"/>
                <a:gd name="T9" fmla="*/ 27670 h 498"/>
                <a:gd name="T10" fmla="*/ 80388 w 232"/>
                <a:gd name="T11" fmla="*/ 0 h 498"/>
                <a:gd name="T12" fmla="*/ 32516 w 232"/>
                <a:gd name="T13" fmla="*/ 221804 h 498"/>
                <a:gd name="T14" fmla="*/ 32516 w 232"/>
                <a:gd name="T15" fmla="*/ 221804 h 498"/>
                <a:gd name="T16" fmla="*/ 20323 w 232"/>
                <a:gd name="T17" fmla="*/ 181638 h 498"/>
                <a:gd name="T18" fmla="*/ 36581 w 232"/>
                <a:gd name="T19" fmla="*/ 126745 h 498"/>
                <a:gd name="T20" fmla="*/ 36581 w 232"/>
                <a:gd name="T21" fmla="*/ 114695 h 498"/>
                <a:gd name="T22" fmla="*/ 8581 w 232"/>
                <a:gd name="T23" fmla="*/ 126745 h 498"/>
                <a:gd name="T24" fmla="*/ 0 w 232"/>
                <a:gd name="T25" fmla="*/ 118712 h 498"/>
                <a:gd name="T26" fmla="*/ 76323 w 232"/>
                <a:gd name="T27" fmla="*/ 79439 h 498"/>
                <a:gd name="T28" fmla="*/ 84452 w 232"/>
                <a:gd name="T29" fmla="*/ 114695 h 498"/>
                <a:gd name="T30" fmla="*/ 68194 w 232"/>
                <a:gd name="T31" fmla="*/ 174051 h 498"/>
                <a:gd name="T32" fmla="*/ 72259 w 232"/>
                <a:gd name="T33" fmla="*/ 189671 h 498"/>
                <a:gd name="T34" fmla="*/ 96194 w 232"/>
                <a:gd name="T35" fmla="*/ 174051 h 498"/>
                <a:gd name="T36" fmla="*/ 104323 w 232"/>
                <a:gd name="T37" fmla="*/ 181638 h 498"/>
                <a:gd name="T38" fmla="*/ 32516 w 232"/>
                <a:gd name="T39" fmla="*/ 221804 h 4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32" h="498">
                  <a:moveTo>
                    <a:pt x="178" y="0"/>
                  </a:moveTo>
                  <a:lnTo>
                    <a:pt x="178" y="0"/>
                  </a:lnTo>
                  <a:cubicBezTo>
                    <a:pt x="213" y="0"/>
                    <a:pt x="222" y="27"/>
                    <a:pt x="222" y="53"/>
                  </a:cubicBezTo>
                  <a:cubicBezTo>
                    <a:pt x="222" y="80"/>
                    <a:pt x="196" y="115"/>
                    <a:pt x="160" y="115"/>
                  </a:cubicBezTo>
                  <a:cubicBezTo>
                    <a:pt x="125" y="115"/>
                    <a:pt x="107" y="97"/>
                    <a:pt x="107" y="62"/>
                  </a:cubicBezTo>
                  <a:cubicBezTo>
                    <a:pt x="107" y="35"/>
                    <a:pt x="134" y="0"/>
                    <a:pt x="178" y="0"/>
                  </a:cubicBezTo>
                  <a:close/>
                  <a:moveTo>
                    <a:pt x="72" y="497"/>
                  </a:moveTo>
                  <a:lnTo>
                    <a:pt x="72" y="497"/>
                  </a:lnTo>
                  <a:cubicBezTo>
                    <a:pt x="45" y="497"/>
                    <a:pt x="28" y="478"/>
                    <a:pt x="45" y="407"/>
                  </a:cubicBezTo>
                  <a:cubicBezTo>
                    <a:pt x="81" y="284"/>
                    <a:pt x="81" y="284"/>
                    <a:pt x="81" y="284"/>
                  </a:cubicBezTo>
                  <a:cubicBezTo>
                    <a:pt x="81" y="266"/>
                    <a:pt x="81" y="257"/>
                    <a:pt x="81" y="257"/>
                  </a:cubicBezTo>
                  <a:cubicBezTo>
                    <a:pt x="72" y="257"/>
                    <a:pt x="37" y="275"/>
                    <a:pt x="19" y="284"/>
                  </a:cubicBezTo>
                  <a:cubicBezTo>
                    <a:pt x="0" y="266"/>
                    <a:pt x="0" y="266"/>
                    <a:pt x="0" y="266"/>
                  </a:cubicBezTo>
                  <a:cubicBezTo>
                    <a:pt x="63" y="213"/>
                    <a:pt x="143" y="178"/>
                    <a:pt x="169" y="178"/>
                  </a:cubicBezTo>
                  <a:cubicBezTo>
                    <a:pt x="196" y="178"/>
                    <a:pt x="205" y="213"/>
                    <a:pt x="187" y="257"/>
                  </a:cubicBezTo>
                  <a:cubicBezTo>
                    <a:pt x="151" y="390"/>
                    <a:pt x="151" y="390"/>
                    <a:pt x="151" y="390"/>
                  </a:cubicBezTo>
                  <a:cubicBezTo>
                    <a:pt x="151" y="416"/>
                    <a:pt x="151" y="425"/>
                    <a:pt x="160" y="425"/>
                  </a:cubicBezTo>
                  <a:cubicBezTo>
                    <a:pt x="160" y="425"/>
                    <a:pt x="187" y="407"/>
                    <a:pt x="213" y="390"/>
                  </a:cubicBezTo>
                  <a:cubicBezTo>
                    <a:pt x="231" y="407"/>
                    <a:pt x="231" y="407"/>
                    <a:pt x="231" y="407"/>
                  </a:cubicBezTo>
                  <a:cubicBezTo>
                    <a:pt x="169" y="478"/>
                    <a:pt x="98" y="497"/>
                    <a:pt x="72" y="497"/>
                  </a:cubicBezTo>
                  <a:close/>
                </a:path>
              </a:pathLst>
            </a:custGeom>
            <a:solidFill>
              <a:schemeClr val="accent1"/>
            </a:solidFill>
            <a:ln>
              <a:noFill/>
            </a:ln>
            <a:effectLst/>
          </p:spPr>
          <p:txBody>
            <a:bodyPr wrap="none" lIns="34290" tIns="17145" rIns="34290" bIns="17145" anchor="ctr"/>
            <a:lstStyle/>
            <a:p>
              <a:endParaRPr lang="en-US" dirty="0">
                <a:latin typeface="Calibri"/>
                <a:ea typeface="微软雅黑"/>
                <a:cs typeface="+mn-ea"/>
                <a:sym typeface="Calibri"/>
              </a:endParaRPr>
            </a:p>
          </p:txBody>
        </p:sp>
      </p:grpSp>
      <p:sp>
        <p:nvSpPr>
          <p:cNvPr id="121" name="TextBox 12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851168" y="1165963"/>
            <a:ext cx="3610294" cy="1323439"/>
          </a:xfrm>
          <a:prstGeom prst="rect">
            <a:avLst/>
          </a:prstGeom>
          <a:noFill/>
        </p:spPr>
        <p:txBody>
          <a:bodyPr wrap="square" rtlCol="0">
            <a:spAutoFit/>
          </a:bodyPr>
          <a:lstStyle/>
          <a:p>
            <a:pPr algn="r"/>
            <a:r>
              <a:rPr lang="en-US" altLang="zh-CN" sz="4000" b="1" dirty="0">
                <a:solidFill>
                  <a:schemeClr val="tx1">
                    <a:lumMod val="85000"/>
                    <a:lumOff val="15000"/>
                  </a:schemeClr>
                </a:solidFill>
                <a:latin typeface="Calibri"/>
                <a:ea typeface="微软雅黑"/>
                <a:cs typeface="+mn-ea"/>
                <a:sym typeface="Calibri"/>
              </a:rPr>
              <a:t>Startup</a:t>
            </a:r>
            <a:br>
              <a:rPr lang="en-US" altLang="zh-CN" sz="4000" b="1" dirty="0">
                <a:solidFill>
                  <a:schemeClr val="tx1">
                    <a:lumMod val="85000"/>
                    <a:lumOff val="15000"/>
                  </a:schemeClr>
                </a:solidFill>
                <a:latin typeface="Calibri"/>
                <a:ea typeface="微软雅黑"/>
                <a:cs typeface="+mn-ea"/>
                <a:sym typeface="Calibri"/>
              </a:rPr>
            </a:br>
            <a:r>
              <a:rPr lang="en-US" altLang="zh-CN" sz="4000" b="1" i="1" dirty="0">
                <a:gradFill>
                  <a:gsLst>
                    <a:gs pos="0">
                      <a:schemeClr val="accent1"/>
                    </a:gs>
                    <a:gs pos="100000">
                      <a:schemeClr val="accent2"/>
                    </a:gs>
                  </a:gsLst>
                  <a:lin ang="2700000" scaled="0"/>
                </a:gradFill>
                <a:latin typeface="Calibri"/>
                <a:ea typeface="微软雅黑"/>
                <a:cs typeface="+mn-ea"/>
                <a:sym typeface="Calibri"/>
              </a:rPr>
              <a:t>Your</a:t>
            </a:r>
            <a:r>
              <a:rPr lang="en-US" altLang="zh-CN" sz="4000" b="1" dirty="0">
                <a:solidFill>
                  <a:schemeClr val="tx1">
                    <a:lumMod val="85000"/>
                    <a:lumOff val="15000"/>
                  </a:schemeClr>
                </a:solidFill>
                <a:latin typeface="Calibri"/>
                <a:ea typeface="微软雅黑"/>
                <a:cs typeface="+mn-ea"/>
                <a:sym typeface="Calibri"/>
              </a:rPr>
              <a:t> </a:t>
            </a:r>
            <a:r>
              <a:rPr lang="en-US" altLang="zh-CN" sz="4000" b="1" i="1" dirty="0">
                <a:gradFill>
                  <a:gsLst>
                    <a:gs pos="0">
                      <a:schemeClr val="accent1"/>
                    </a:gs>
                    <a:gs pos="100000">
                      <a:schemeClr val="accent2"/>
                    </a:gs>
                  </a:gsLst>
                  <a:lin ang="2700000" scaled="0"/>
                </a:gradFill>
                <a:latin typeface="Calibri"/>
                <a:ea typeface="微软雅黑"/>
                <a:cs typeface="+mn-ea"/>
                <a:sym typeface="Calibri"/>
              </a:rPr>
              <a:t>Project</a:t>
            </a:r>
          </a:p>
        </p:txBody>
      </p:sp>
      <p:sp>
        <p:nvSpPr>
          <p:cNvPr id="126" name="TextBox 12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txBox="1"/>
          <p:nvPr/>
        </p:nvSpPr>
        <p:spPr>
          <a:xfrm>
            <a:off x="6802982" y="3615890"/>
            <a:ext cx="3276222" cy="369332"/>
          </a:xfrm>
          <a:prstGeom prst="rect">
            <a:avLst/>
          </a:prstGeom>
          <a:noFill/>
        </p:spPr>
        <p:txBody>
          <a:bodyPr wrap="square" rtlCol="0">
            <a:spAutoFit/>
          </a:bodyPr>
          <a:lstStyle/>
          <a:p>
            <a:r>
              <a:rPr lang="en-US" b="1" dirty="0">
                <a:solidFill>
                  <a:schemeClr val="bg1"/>
                </a:solidFill>
                <a:latin typeface="Calibri"/>
                <a:ea typeface="微软雅黑"/>
                <a:cs typeface="+mn-ea"/>
                <a:sym typeface="Calibri"/>
              </a:rPr>
              <a:t>Technology is power</a:t>
            </a:r>
          </a:p>
        </p:txBody>
      </p:sp>
      <p:sp>
        <p:nvSpPr>
          <p:cNvPr id="124" name="Rectangle 8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SpPr/>
          <p:nvPr/>
        </p:nvSpPr>
        <p:spPr>
          <a:xfrm>
            <a:off x="6839286" y="4018550"/>
            <a:ext cx="4024684" cy="830997"/>
          </a:xfrm>
          <a:prstGeom prst="rect">
            <a:avLst/>
          </a:prstGeom>
        </p:spPr>
        <p:txBody>
          <a:bodyPr wrap="square">
            <a:spAutoFit/>
          </a:bodyPr>
          <a:lstStyle/>
          <a:p>
            <a:r>
              <a:rPr lang="zh-CN" altLang="en-US" sz="1200" dirty="0">
                <a:solidFill>
                  <a:schemeClr val="bg1"/>
                </a:solidFill>
                <a:latin typeface="Calibri"/>
                <a:ea typeface="微软雅黑"/>
                <a:cs typeface="+mn-ea"/>
                <a:sym typeface="Calibri"/>
              </a:rPr>
              <a:t>Hey, hey, hey! It's Fat </a:t>
            </a:r>
            <a:r>
              <a:rPr lang="en-US" altLang="zh-CN" sz="1200" dirty="0">
                <a:solidFill>
                  <a:schemeClr val="bg1"/>
                </a:solidFill>
                <a:latin typeface="Calibri"/>
                <a:ea typeface="微软雅黑"/>
                <a:cs typeface="+mn-ea"/>
                <a:sym typeface="Calibri"/>
              </a:rPr>
              <a:t>Company</a:t>
            </a:r>
            <a:r>
              <a:rPr lang="zh-CN" altLang="en-US" sz="1200" dirty="0">
                <a:solidFill>
                  <a:schemeClr val="bg1"/>
                </a:solidFill>
                <a:latin typeface="Calibri"/>
                <a:ea typeface="微软雅黑"/>
                <a:cs typeface="+mn-ea"/>
                <a:sym typeface="Calibri"/>
              </a:rPr>
              <a:t>! Now I'm gonna sing a song for you, and this is gonna show you a thing or two. You'll have some fun now With me and the gang, learning from each other While we do our thing</a:t>
            </a:r>
            <a:endParaRPr lang="en-US" sz="1200" dirty="0">
              <a:solidFill>
                <a:schemeClr val="bg1"/>
              </a:solidFill>
              <a:latin typeface="Calibri"/>
              <a:ea typeface="微软雅黑"/>
              <a:cs typeface="+mn-ea"/>
              <a:sym typeface="Calibri"/>
            </a:endParaRPr>
          </a:p>
        </p:txBody>
      </p:sp>
      <p:pic>
        <p:nvPicPr>
          <p:cNvPr id="104" name="图片 103"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75957" y="2020974"/>
            <a:ext cx="1622532" cy="1703659"/>
          </a:xfrm>
          <a:prstGeom prst="rect">
            <a:avLst/>
          </a:prstGeom>
        </p:spPr>
      </p:pic>
      <p:pic>
        <p:nvPicPr>
          <p:cNvPr id="105" name="图片 104"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883260" y="210550"/>
            <a:ext cx="1036063" cy="1036063"/>
          </a:xfrm>
          <a:prstGeom prst="rect">
            <a:avLst/>
          </a:prstGeom>
        </p:spPr>
      </p:pic>
      <p:pic>
        <p:nvPicPr>
          <p:cNvPr id="106" name="图片 105"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43197" y="5074659"/>
            <a:ext cx="1004086" cy="735477"/>
          </a:xfrm>
          <a:prstGeom prst="rect">
            <a:avLst/>
          </a:prstGeom>
        </p:spPr>
      </p:pic>
      <p:sp>
        <p:nvSpPr>
          <p:cNvPr id="107" name="e7d195523061f1c0" descr="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 hidden="1"/>
          <p:cNvSpPr txBox="1"/>
          <p:nvPr/>
        </p:nvSpPr>
        <p:spPr>
          <a:xfrm>
            <a:off x="-355600" y="1803400"/>
            <a:ext cx="293927" cy="1016000"/>
          </a:xfrm>
          <a:prstGeom prst="rect">
            <a:avLst/>
          </a:prstGeom>
          <a:noFill/>
        </p:spPr>
        <p:txBody>
          <a:bodyPr vert="wordArtVert" rtlCol="0">
            <a:spAutoFit/>
          </a:bodyPr>
          <a:lstStyle/>
          <a:p>
            <a:r>
              <a:rPr lang="en-US" altLang="zh-CN" sz="100">
                <a:latin typeface="Calibri"/>
                <a:ea typeface="微软雅黑"/>
                <a:sym typeface="Calibri"/>
              </a:rPr>
              <a:t>e7d195523061f1c03a90ee8e42cb24248e56383cd534985688F9F494128731F165EE95AB4B0C0A38076AAEA07667B1565C446FC45FF01DFB0E885BCDBDF3A284F3DB14DA61DD97F0BAB2E6C668FB4931DED5FAA0CB712CCE4D5ADF83392A44ACB80FA3430394BB368FC4442A937FBEAA755813D692D285C97FC8BC4728AD8F9CA4F58EFC1780963DBD9E3583AF6A7305</a:t>
            </a:r>
            <a:endParaRPr lang="zh-CN" altLang="en-US" sz="100">
              <a:latin typeface="Calibri"/>
              <a:ea typeface="微软雅黑"/>
              <a:sym typeface="Calibri"/>
            </a:endParaRPr>
          </a:p>
        </p:txBody>
      </p:sp>
    </p:spTree>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mntKQXTz0WUq6ElMvQaWw"/>
</p:tagLst>
</file>

<file path=ppt/theme/theme1.xml><?xml version="1.0" encoding="utf-8"?>
<a:theme xmlns:a="http://schemas.openxmlformats.org/drawingml/2006/main" name="www.freeppt7.com">
  <a:themeElements>
    <a:clrScheme name="Office">
      <a:dk1>
        <a:srgbClr val="000000"/>
      </a:dk1>
      <a:lt1>
        <a:srgbClr val="FFFFFF"/>
      </a:lt1>
      <a:dk2>
        <a:srgbClr val="778495"/>
      </a:dk2>
      <a:lt2>
        <a:srgbClr val="F0F0F0"/>
      </a:lt2>
      <a:accent1>
        <a:srgbClr val="A589C6"/>
      </a:accent1>
      <a:accent2>
        <a:srgbClr val="FD91A0"/>
      </a:accent2>
      <a:accent3>
        <a:srgbClr val="F2E9DA"/>
      </a:accent3>
      <a:accent4>
        <a:srgbClr val="DFE384"/>
      </a:accent4>
      <a:accent5>
        <a:srgbClr val="39BFCB"/>
      </a:accent5>
      <a:accent6>
        <a:srgbClr val="A6E3E8"/>
      </a:accent6>
      <a:hlink>
        <a:srgbClr val="37393A"/>
      </a:hlink>
      <a:folHlink>
        <a:srgbClr val="BFBFBF"/>
      </a:folHlink>
    </a:clrScheme>
    <a:fontScheme name="自定义 1">
      <a:majorFont>
        <a:latin typeface="Poppins SemiBold"/>
        <a:ea typeface="Poppins SemiBold"/>
        <a:cs typeface=""/>
      </a:majorFont>
      <a:minorFont>
        <a:latin typeface="Poppins "/>
        <a:ea typeface="Poppins "/>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ww.jpppt.com">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e7d195523061f1c0 xmlns="http://e7d195523061f1c0/custom/data/def">
  <_7b1dac89e7d195523061f1c0316ecb71 xmlns="">e7d195523061f1c03a90ee8e42cb24248e56383cd534985688F9F494128731F165EE95AB4B0C0A38076AAEA07667B1565C446FC45FF01DFB0E885BCDBDF3A284F3DB14DA61DD97F0BAB2E6C668FB4931B99D40B68E3E163A32636258E622DCA61F43F29646847B337F50C35A893C70635C3DDF21F745ACDFA1E795D725ED0D02859279497801B8B8</_7b1dac89e7d195523061f1c0316ecb71>
</e7d195523061f1c0>
</file>

<file path=customXml/itemProps1.xml><?xml version="1.0" encoding="utf-8"?>
<ds:datastoreItem xmlns:ds="http://schemas.openxmlformats.org/officeDocument/2006/customXml" ds:itemID="{05BB3D15-B9BC-4740-AD19-B265AB915F78}">
  <ds:schemaRefs/>
</ds:datastoreItem>
</file>

<file path=docProps/app.xml><?xml version="1.0" encoding="utf-8"?>
<Properties xmlns="http://schemas.openxmlformats.org/officeDocument/2006/extended-properties" xmlns:vt="http://schemas.openxmlformats.org/officeDocument/2006/docPropsVTypes">
  <TotalTime>64</TotalTime>
  <Words>2980</Words>
  <Application>Microsoft Office PowerPoint</Application>
  <PresentationFormat>宽屏</PresentationFormat>
  <Paragraphs>461</Paragraphs>
  <Slides>35</Slides>
  <Notes>20</Notes>
  <HiddenSlides>0</HiddenSlides>
  <MMClips>0</MMClips>
  <ScaleCrop>false</ScaleCrop>
  <HeadingPairs>
    <vt:vector size="6" baseType="variant">
      <vt:variant>
        <vt:lpstr>已用的字体</vt:lpstr>
      </vt:variant>
      <vt:variant>
        <vt:i4>9</vt:i4>
      </vt:variant>
      <vt:variant>
        <vt:lpstr>主题</vt:lpstr>
      </vt:variant>
      <vt:variant>
        <vt:i4>2</vt:i4>
      </vt:variant>
      <vt:variant>
        <vt:lpstr>幻灯片标题</vt:lpstr>
      </vt:variant>
      <vt:variant>
        <vt:i4>35</vt:i4>
      </vt:variant>
    </vt:vector>
  </HeadingPairs>
  <TitlesOfParts>
    <vt:vector size="46" baseType="lpstr">
      <vt:lpstr>Poppins </vt:lpstr>
      <vt:lpstr>等线</vt:lpstr>
      <vt:lpstr>微软雅黑</vt:lpstr>
      <vt:lpstr>Arial</vt:lpstr>
      <vt:lpstr>Calibri</vt:lpstr>
      <vt:lpstr>MS Reference Sans Serif</vt:lpstr>
      <vt:lpstr>Open Sans</vt:lpstr>
      <vt:lpstr>Poppins SemiBold</vt:lpstr>
      <vt:lpstr>Wingdings</vt:lpstr>
      <vt:lpstr>www.freeppt7.com</vt:lpstr>
      <vt:lpstr>www.jpppt.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Manager>第一PPT</Manager>
  <Company>第一PPT，www.1ppt.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欧美</dc:title>
  <dc:creator>第一PPT</dc:creator>
  <cp:keywords>www.1ppt.com</cp:keywords>
  <dc:description>www.1ppt.com</dc:description>
  <cp:lastModifiedBy>之灵</cp:lastModifiedBy>
  <cp:revision>20</cp:revision>
  <dcterms:created xsi:type="dcterms:W3CDTF">2022-01-15T15:17:00Z</dcterms:created>
  <dcterms:modified xsi:type="dcterms:W3CDTF">2024-02-26T03:0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1584F81A2E414A53AA1B543707642381_12</vt:lpwstr>
  </property>
  <property fmtid="{D5CDD505-2E9C-101B-9397-08002B2CF9AE}" pid="3" name="KSOProductBuildVer">
    <vt:lpwstr>2052-12.1.0.15712</vt:lpwstr>
  </property>
</Properties>
</file>